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275" r:id="rId3"/>
    <p:sldId id="258" r:id="rId4"/>
    <p:sldId id="276" r:id="rId5"/>
    <p:sldId id="277" r:id="rId6"/>
    <p:sldId id="271" r:id="rId7"/>
    <p:sldId id="279" r:id="rId8"/>
    <p:sldId id="280" r:id="rId9"/>
    <p:sldId id="272" r:id="rId10"/>
    <p:sldId id="281" r:id="rId11"/>
    <p:sldId id="282" r:id="rId12"/>
    <p:sldId id="273" r:id="rId13"/>
    <p:sldId id="278" r:id="rId14"/>
    <p:sldId id="283" r:id="rId15"/>
    <p:sldId id="274" r:id="rId16"/>
    <p:sldId id="284" r:id="rId17"/>
    <p:sldId id="285" r:id="rId18"/>
    <p:sldId id="261" r:id="rId19"/>
  </p:sldIdLst>
  <p:sldSz cx="12192000" cy="6858000"/>
  <p:notesSz cx="6858000" cy="9144000"/>
  <p:custDataLst>
    <p:tags r:id="rId2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0C1A"/>
    <a:srgbClr val="D24F08"/>
    <a:srgbClr val="C96807"/>
    <a:srgbClr val="F1DECB"/>
    <a:srgbClr val="1C0F33"/>
    <a:srgbClr val="311A5A"/>
    <a:srgbClr val="3D2070"/>
    <a:srgbClr val="514A88"/>
    <a:srgbClr val="A0F2FE"/>
    <a:srgbClr val="2F02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2ECF754-0E6C-40E8-9C10-D9CC518B6798}" v="247" dt="2022-09-14T00:49:01.89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966" autoAdjust="0"/>
    <p:restoredTop sz="96182" autoAdjust="0"/>
  </p:normalViewPr>
  <p:slideViewPr>
    <p:cSldViewPr snapToGrid="0">
      <p:cViewPr varScale="1">
        <p:scale>
          <a:sx n="58" d="100"/>
          <a:sy n="58" d="100"/>
        </p:scale>
        <p:origin x="644" y="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  <pc:docChgLst>
    <pc:chgData name="Soleil Yi" userId="c719b956-004a-4243-81dc-14be649b7814" providerId="ADAL" clId="{62ECF754-0E6C-40E8-9C10-D9CC518B6798}"/>
    <pc:docChg chg="custSel modSld">
      <pc:chgData name="Soleil Yi" userId="c719b956-004a-4243-81dc-14be649b7814" providerId="ADAL" clId="{62ECF754-0E6C-40E8-9C10-D9CC518B6798}" dt="2022-09-14T00:49:02.392" v="1161" actId="27636"/>
      <pc:docMkLst>
        <pc:docMk/>
      </pc:docMkLst>
      <pc:sldChg chg="modSp mod">
        <pc:chgData name="Soleil Yi" userId="c719b956-004a-4243-81dc-14be649b7814" providerId="ADAL" clId="{62ECF754-0E6C-40E8-9C10-D9CC518B6798}" dt="2022-09-14T00:48:54.344" v="60" actId="947"/>
        <pc:sldMkLst>
          <pc:docMk/>
          <pc:sldMk cId="2271741893" sldId="256"/>
        </pc:sldMkLst>
        <pc:spChg chg="mod">
          <ac:chgData name="Soleil Yi" userId="c719b956-004a-4243-81dc-14be649b7814" providerId="ADAL" clId="{62ECF754-0E6C-40E8-9C10-D9CC518B6798}" dt="2022-09-14T00:48:54.129" v="3" actId="947"/>
          <ac:spMkLst>
            <pc:docMk/>
            <pc:sldMk cId="2271741893" sldId="256"/>
            <ac:spMk id="2" creationId="{EC933494-1B63-4A32-964F-D05236799BAA}"/>
          </ac:spMkLst>
        </pc:spChg>
        <pc:spChg chg="mod">
          <ac:chgData name="Soleil Yi" userId="c719b956-004a-4243-81dc-14be649b7814" providerId="ADAL" clId="{62ECF754-0E6C-40E8-9C10-D9CC518B6798}" dt="2022-09-14T00:48:54.217" v="24" actId="947"/>
          <ac:spMkLst>
            <pc:docMk/>
            <pc:sldMk cId="2271741893" sldId="256"/>
            <ac:spMk id="4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4.213" v="22" actId="947"/>
          <ac:spMkLst>
            <pc:docMk/>
            <pc:sldMk cId="2271741893" sldId="256"/>
            <ac:spMk id="6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4.215" v="23" actId="947"/>
          <ac:spMkLst>
            <pc:docMk/>
            <pc:sldMk cId="2271741893" sldId="256"/>
            <ac:spMk id="7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4.201" v="16" actId="947"/>
          <ac:spMkLst>
            <pc:docMk/>
            <pc:sldMk cId="2271741893" sldId="256"/>
            <ac:spMk id="26" creationId="{8B96465F-F6B2-4AAD-9CB4-4E7E97340ECB}"/>
          </ac:spMkLst>
        </pc:spChg>
        <pc:spChg chg="mod">
          <ac:chgData name="Soleil Yi" userId="c719b956-004a-4243-81dc-14be649b7814" providerId="ADAL" clId="{62ECF754-0E6C-40E8-9C10-D9CC518B6798}" dt="2022-09-14T00:48:54.235" v="30" actId="947"/>
          <ac:spMkLst>
            <pc:docMk/>
            <pc:sldMk cId="2271741893" sldId="256"/>
            <ac:spMk id="27" creationId="{071DBD21-66F0-4B0A-9D0D-7FD6A332632E}"/>
          </ac:spMkLst>
        </pc:spChg>
        <pc:spChg chg="mod">
          <ac:chgData name="Soleil Yi" userId="c719b956-004a-4243-81dc-14be649b7814" providerId="ADAL" clId="{62ECF754-0E6C-40E8-9C10-D9CC518B6798}" dt="2022-09-14T00:48:54.259" v="36" actId="947"/>
          <ac:spMkLst>
            <pc:docMk/>
            <pc:sldMk cId="2271741893" sldId="256"/>
            <ac:spMk id="28" creationId="{E50709E4-91EB-4F32-8D7B-C24B8C9F946D}"/>
          </ac:spMkLst>
        </pc:spChg>
        <pc:spChg chg="mod">
          <ac:chgData name="Soleil Yi" userId="c719b956-004a-4243-81dc-14be649b7814" providerId="ADAL" clId="{62ECF754-0E6C-40E8-9C10-D9CC518B6798}" dt="2022-09-14T00:48:54.203" v="17" actId="947"/>
          <ac:spMkLst>
            <pc:docMk/>
            <pc:sldMk cId="2271741893" sldId="256"/>
            <ac:spMk id="296" creationId="{DBE900EC-E22E-4BA0-AF3B-828355CC92A6}"/>
          </ac:spMkLst>
        </pc:spChg>
        <pc:spChg chg="mod">
          <ac:chgData name="Soleil Yi" userId="c719b956-004a-4243-81dc-14be649b7814" providerId="ADAL" clId="{62ECF754-0E6C-40E8-9C10-D9CC518B6798}" dt="2022-09-14T00:48:54.245" v="32" actId="947"/>
          <ac:spMkLst>
            <pc:docMk/>
            <pc:sldMk cId="2271741893" sldId="256"/>
            <ac:spMk id="297" creationId="{CAC1966E-14C3-4724-A662-2DC6E6DAEEC6}"/>
          </ac:spMkLst>
        </pc:spChg>
        <pc:spChg chg="mod">
          <ac:chgData name="Soleil Yi" userId="c719b956-004a-4243-81dc-14be649b7814" providerId="ADAL" clId="{62ECF754-0E6C-40E8-9C10-D9CC518B6798}" dt="2022-09-14T00:48:54.270" v="40" actId="947"/>
          <ac:spMkLst>
            <pc:docMk/>
            <pc:sldMk cId="2271741893" sldId="256"/>
            <ac:spMk id="298" creationId="{908FF487-4252-4B72-89BB-5FA02E122A5E}"/>
          </ac:spMkLst>
        </pc:spChg>
        <pc:spChg chg="mod">
          <ac:chgData name="Soleil Yi" userId="c719b956-004a-4243-81dc-14be649b7814" providerId="ADAL" clId="{62ECF754-0E6C-40E8-9C10-D9CC518B6798}" dt="2022-09-14T00:48:54.286" v="44" actId="947"/>
          <ac:spMkLst>
            <pc:docMk/>
            <pc:sldMk cId="2271741893" sldId="256"/>
            <ac:spMk id="303" creationId="{98488C71-7EEE-472A-A231-E3DF720E49A8}"/>
          </ac:spMkLst>
        </pc:spChg>
        <pc:spChg chg="mod">
          <ac:chgData name="Soleil Yi" userId="c719b956-004a-4243-81dc-14be649b7814" providerId="ADAL" clId="{62ECF754-0E6C-40E8-9C10-D9CC518B6798}" dt="2022-09-14T00:48:54.301" v="48" actId="947"/>
          <ac:spMkLst>
            <pc:docMk/>
            <pc:sldMk cId="2271741893" sldId="256"/>
            <ac:spMk id="306" creationId="{4E4B33E4-6E76-40BB-BA6E-76542D36F08B}"/>
          </ac:spMkLst>
        </pc:spChg>
        <pc:spChg chg="mod">
          <ac:chgData name="Soleil Yi" userId="c719b956-004a-4243-81dc-14be649b7814" providerId="ADAL" clId="{62ECF754-0E6C-40E8-9C10-D9CC518B6798}" dt="2022-09-14T00:48:54.316" v="52" actId="947"/>
          <ac:spMkLst>
            <pc:docMk/>
            <pc:sldMk cId="2271741893" sldId="256"/>
            <ac:spMk id="307" creationId="{53604463-079A-4FB9-AA45-88D1717076F8}"/>
          </ac:spMkLst>
        </pc:spChg>
        <pc:spChg chg="mod">
          <ac:chgData name="Soleil Yi" userId="c719b956-004a-4243-81dc-14be649b7814" providerId="ADAL" clId="{62ECF754-0E6C-40E8-9C10-D9CC518B6798}" dt="2022-09-14T00:48:54.330" v="56" actId="947"/>
          <ac:spMkLst>
            <pc:docMk/>
            <pc:sldMk cId="2271741893" sldId="256"/>
            <ac:spMk id="308" creationId="{5B3785C8-D897-430E-9928-C925FB179935}"/>
          </ac:spMkLst>
        </pc:spChg>
        <pc:spChg chg="mod">
          <ac:chgData name="Soleil Yi" userId="c719b956-004a-4243-81dc-14be649b7814" providerId="ADAL" clId="{62ECF754-0E6C-40E8-9C10-D9CC518B6798}" dt="2022-09-14T00:48:54.344" v="60" actId="947"/>
          <ac:spMkLst>
            <pc:docMk/>
            <pc:sldMk cId="2271741893" sldId="256"/>
            <ac:spMk id="309" creationId="{6F9D281B-E49E-40B3-A9CD-2E6014EF6993}"/>
          </ac:spMkLst>
        </pc:spChg>
      </pc:sldChg>
      <pc:sldChg chg="modSp mod">
        <pc:chgData name="Soleil Yi" userId="c719b956-004a-4243-81dc-14be649b7814" providerId="ADAL" clId="{62ECF754-0E6C-40E8-9C10-D9CC518B6798}" dt="2022-09-14T00:48:54.494" v="124" actId="947"/>
        <pc:sldMkLst>
          <pc:docMk/>
          <pc:sldMk cId="2371597387" sldId="258"/>
        </pc:sldMkLst>
        <pc:spChg chg="mod">
          <ac:chgData name="Soleil Yi" userId="c719b956-004a-4243-81dc-14be649b7814" providerId="ADAL" clId="{62ECF754-0E6C-40E8-9C10-D9CC518B6798}" dt="2022-09-14T00:48:54.418" v="116" actId="947"/>
          <ac:spMkLst>
            <pc:docMk/>
            <pc:sldMk cId="2371597387" sldId="258"/>
            <ac:spMk id="5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4.486" v="122" actId="947"/>
          <ac:spMkLst>
            <pc:docMk/>
            <pc:sldMk cId="2371597387" sldId="258"/>
            <ac:spMk id="6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4.494" v="124" actId="947"/>
          <ac:spMkLst>
            <pc:docMk/>
            <pc:sldMk cId="2371597387" sldId="258"/>
            <ac:spMk id="9" creationId="{04F69230-F3A6-4586-9371-A858F4763E9F}"/>
          </ac:spMkLst>
        </pc:spChg>
      </pc:sldChg>
      <pc:sldChg chg="modSp mod">
        <pc:chgData name="Soleil Yi" userId="c719b956-004a-4243-81dc-14be649b7814" providerId="ADAL" clId="{62ECF754-0E6C-40E8-9C10-D9CC518B6798}" dt="2022-09-14T00:49:02.336" v="1156" actId="947"/>
        <pc:sldMkLst>
          <pc:docMk/>
          <pc:sldMk cId="1259043032" sldId="261"/>
        </pc:sldMkLst>
        <pc:spChg chg="mod">
          <ac:chgData name="Soleil Yi" userId="c719b956-004a-4243-81dc-14be649b7814" providerId="ADAL" clId="{62ECF754-0E6C-40E8-9C10-D9CC518B6798}" dt="2022-09-14T00:49:02.016" v="1112" actId="947"/>
          <ac:spMkLst>
            <pc:docMk/>
            <pc:sldMk cId="1259043032" sldId="261"/>
            <ac:spMk id="2" creationId="{FF51F16D-1BAD-46EE-A6F4-B8B94C9DF628}"/>
          </ac:spMkLst>
        </pc:spChg>
        <pc:spChg chg="mod">
          <ac:chgData name="Soleil Yi" userId="c719b956-004a-4243-81dc-14be649b7814" providerId="ADAL" clId="{62ECF754-0E6C-40E8-9C10-D9CC518B6798}" dt="2022-09-14T00:49:02.106" v="1128" actId="947"/>
          <ac:spMkLst>
            <pc:docMk/>
            <pc:sldMk cId="1259043032" sldId="261"/>
            <ac:spMk id="5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2.103" v="1126" actId="947"/>
          <ac:spMkLst>
            <pc:docMk/>
            <pc:sldMk cId="1259043032" sldId="261"/>
            <ac:spMk id="6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2.105" v="1127" actId="947"/>
          <ac:spMkLst>
            <pc:docMk/>
            <pc:sldMk cId="1259043032" sldId="261"/>
            <ac:spMk id="7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2.271" v="1148" actId="947"/>
          <ac:spMkLst>
            <pc:docMk/>
            <pc:sldMk cId="1259043032" sldId="261"/>
            <ac:spMk id="12" creationId="{4FFAF0A4-2F60-40F7-8612-4C5D2D742408}"/>
          </ac:spMkLst>
        </pc:spChg>
        <pc:spChg chg="mod">
          <ac:chgData name="Soleil Yi" userId="c719b956-004a-4243-81dc-14be649b7814" providerId="ADAL" clId="{62ECF754-0E6C-40E8-9C10-D9CC518B6798}" dt="2022-09-14T00:49:02.299" v="1152" actId="947"/>
          <ac:spMkLst>
            <pc:docMk/>
            <pc:sldMk cId="1259043032" sldId="261"/>
            <ac:spMk id="13" creationId="{A34379AC-9340-471C-862B-C510C90A2700}"/>
          </ac:spMkLst>
        </pc:spChg>
        <pc:spChg chg="mod">
          <ac:chgData name="Soleil Yi" userId="c719b956-004a-4243-81dc-14be649b7814" providerId="ADAL" clId="{62ECF754-0E6C-40E8-9C10-D9CC518B6798}" dt="2022-09-14T00:49:02.336" v="1156" actId="947"/>
          <ac:spMkLst>
            <pc:docMk/>
            <pc:sldMk cId="1259043032" sldId="261"/>
            <ac:spMk id="14" creationId="{93869789-0BB9-4210-A427-ED6E2E98E08E}"/>
          </ac:spMkLst>
        </pc:spChg>
        <pc:spChg chg="mod">
          <ac:chgData name="Soleil Yi" userId="c719b956-004a-4243-81dc-14be649b7814" providerId="ADAL" clId="{62ECF754-0E6C-40E8-9C10-D9CC518B6798}" dt="2022-09-14T00:49:02.098" v="1125" actId="947"/>
          <ac:spMkLst>
            <pc:docMk/>
            <pc:sldMk cId="1259043032" sldId="261"/>
            <ac:spMk id="15" creationId="{1F7A9E1F-B5FD-4134-A610-A8904CFE83E1}"/>
          </ac:spMkLst>
        </pc:spChg>
        <pc:spChg chg="mod">
          <ac:chgData name="Soleil Yi" userId="c719b956-004a-4243-81dc-14be649b7814" providerId="ADAL" clId="{62ECF754-0E6C-40E8-9C10-D9CC518B6798}" dt="2022-09-14T00:49:02.140" v="1132" actId="947"/>
          <ac:spMkLst>
            <pc:docMk/>
            <pc:sldMk cId="1259043032" sldId="261"/>
            <ac:spMk id="16" creationId="{2032A23D-A450-4164-80C3-3F8A1D699A73}"/>
          </ac:spMkLst>
        </pc:spChg>
        <pc:spChg chg="mod">
          <ac:chgData name="Soleil Yi" userId="c719b956-004a-4243-81dc-14be649b7814" providerId="ADAL" clId="{62ECF754-0E6C-40E8-9C10-D9CC518B6798}" dt="2022-09-14T00:49:02.170" v="1136" actId="947"/>
          <ac:spMkLst>
            <pc:docMk/>
            <pc:sldMk cId="1259043032" sldId="261"/>
            <ac:spMk id="17" creationId="{F7CB38C1-7DBF-449E-A9BE-6410D4FB76D0}"/>
          </ac:spMkLst>
        </pc:spChg>
        <pc:spChg chg="mod">
          <ac:chgData name="Soleil Yi" userId="c719b956-004a-4243-81dc-14be649b7814" providerId="ADAL" clId="{62ECF754-0E6C-40E8-9C10-D9CC518B6798}" dt="2022-09-14T00:49:02.206" v="1140" actId="947"/>
          <ac:spMkLst>
            <pc:docMk/>
            <pc:sldMk cId="1259043032" sldId="261"/>
            <ac:spMk id="18" creationId="{319763B2-07E2-4CE5-BB21-6FBB8D6030A8}"/>
          </ac:spMkLst>
        </pc:spChg>
        <pc:spChg chg="mod">
          <ac:chgData name="Soleil Yi" userId="c719b956-004a-4243-81dc-14be649b7814" providerId="ADAL" clId="{62ECF754-0E6C-40E8-9C10-D9CC518B6798}" dt="2022-09-14T00:49:02.233" v="1144" actId="947"/>
          <ac:spMkLst>
            <pc:docMk/>
            <pc:sldMk cId="1259043032" sldId="261"/>
            <ac:spMk id="19" creationId="{8EC9D0C2-68EB-478C-8120-25785AD19499}"/>
          </ac:spMkLst>
        </pc:spChg>
      </pc:sldChg>
      <pc:sldChg chg="modSp mod">
        <pc:chgData name="Soleil Yi" userId="c719b956-004a-4243-81dc-14be649b7814" providerId="ADAL" clId="{62ECF754-0E6C-40E8-9C10-D9CC518B6798}" dt="2022-09-14T00:48:55.920" v="316" actId="947"/>
        <pc:sldMkLst>
          <pc:docMk/>
          <pc:sldMk cId="803199560" sldId="271"/>
        </pc:sldMkLst>
        <pc:spChg chg="mod">
          <ac:chgData name="Soleil Yi" userId="c719b956-004a-4243-81dc-14be649b7814" providerId="ADAL" clId="{62ECF754-0E6C-40E8-9C10-D9CC518B6798}" dt="2022-09-14T00:48:55.871" v="308" actId="947"/>
          <ac:spMkLst>
            <pc:docMk/>
            <pc:sldMk cId="803199560" sldId="271"/>
            <ac:spMk id="5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5.919" v="315" actId="947"/>
          <ac:spMkLst>
            <pc:docMk/>
            <pc:sldMk cId="803199560" sldId="271"/>
            <ac:spMk id="6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5.920" v="316" actId="947"/>
          <ac:spMkLst>
            <pc:docMk/>
            <pc:sldMk cId="803199560" sldId="271"/>
            <ac:spMk id="9" creationId="{04F69230-F3A6-4586-9371-A858F4763E9F}"/>
          </ac:spMkLst>
        </pc:spChg>
      </pc:sldChg>
      <pc:sldChg chg="modSp mod">
        <pc:chgData name="Soleil Yi" userId="c719b956-004a-4243-81dc-14be649b7814" providerId="ADAL" clId="{62ECF754-0E6C-40E8-9C10-D9CC518B6798}" dt="2022-09-14T00:48:57.430" v="556" actId="947"/>
        <pc:sldMkLst>
          <pc:docMk/>
          <pc:sldMk cId="3049054400" sldId="272"/>
        </pc:sldMkLst>
        <pc:spChg chg="mod">
          <ac:chgData name="Soleil Yi" userId="c719b956-004a-4243-81dc-14be649b7814" providerId="ADAL" clId="{62ECF754-0E6C-40E8-9C10-D9CC518B6798}" dt="2022-09-14T00:48:57.372" v="548" actId="947"/>
          <ac:spMkLst>
            <pc:docMk/>
            <pc:sldMk cId="3049054400" sldId="272"/>
            <ac:spMk id="5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7.428" v="555" actId="947"/>
          <ac:spMkLst>
            <pc:docMk/>
            <pc:sldMk cId="3049054400" sldId="272"/>
            <ac:spMk id="6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7.430" v="556" actId="947"/>
          <ac:spMkLst>
            <pc:docMk/>
            <pc:sldMk cId="3049054400" sldId="272"/>
            <ac:spMk id="9" creationId="{04F69230-F3A6-4586-9371-A858F4763E9F}"/>
          </ac:spMkLst>
        </pc:spChg>
      </pc:sldChg>
      <pc:sldChg chg="modSp mod">
        <pc:chgData name="Soleil Yi" userId="c719b956-004a-4243-81dc-14be649b7814" providerId="ADAL" clId="{62ECF754-0E6C-40E8-9C10-D9CC518B6798}" dt="2022-09-14T00:48:59.450" v="760" actId="947"/>
        <pc:sldMkLst>
          <pc:docMk/>
          <pc:sldMk cId="3767662324" sldId="273"/>
        </pc:sldMkLst>
        <pc:spChg chg="mod">
          <ac:chgData name="Soleil Yi" userId="c719b956-004a-4243-81dc-14be649b7814" providerId="ADAL" clId="{62ECF754-0E6C-40E8-9C10-D9CC518B6798}" dt="2022-09-14T00:48:59.388" v="752" actId="947"/>
          <ac:spMkLst>
            <pc:docMk/>
            <pc:sldMk cId="3767662324" sldId="273"/>
            <ac:spMk id="5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9.450" v="760" actId="947"/>
          <ac:spMkLst>
            <pc:docMk/>
            <pc:sldMk cId="3767662324" sldId="273"/>
            <ac:spMk id="6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9.444" v="758" actId="947"/>
          <ac:spMkLst>
            <pc:docMk/>
            <pc:sldMk cId="3767662324" sldId="273"/>
            <ac:spMk id="9" creationId="{04F69230-F3A6-4586-9371-A858F4763E9F}"/>
          </ac:spMkLst>
        </pc:spChg>
      </pc:sldChg>
      <pc:sldChg chg="modSp mod">
        <pc:chgData name="Soleil Yi" userId="c719b956-004a-4243-81dc-14be649b7814" providerId="ADAL" clId="{62ECF754-0E6C-40E8-9C10-D9CC518B6798}" dt="2022-09-14T00:49:00.753" v="940" actId="947"/>
        <pc:sldMkLst>
          <pc:docMk/>
          <pc:sldMk cId="1320959934" sldId="274"/>
        </pc:sldMkLst>
        <pc:spChg chg="mod">
          <ac:chgData name="Soleil Yi" userId="c719b956-004a-4243-81dc-14be649b7814" providerId="ADAL" clId="{62ECF754-0E6C-40E8-9C10-D9CC518B6798}" dt="2022-09-14T00:49:00.674" v="932" actId="947"/>
          <ac:spMkLst>
            <pc:docMk/>
            <pc:sldMk cId="1320959934" sldId="274"/>
            <ac:spMk id="5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0.753" v="940" actId="947"/>
          <ac:spMkLst>
            <pc:docMk/>
            <pc:sldMk cId="1320959934" sldId="274"/>
            <ac:spMk id="6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0.750" v="939" actId="947"/>
          <ac:spMkLst>
            <pc:docMk/>
            <pc:sldMk cId="1320959934" sldId="274"/>
            <ac:spMk id="9" creationId="{04F69230-F3A6-4586-9371-A858F4763E9F}"/>
          </ac:spMkLst>
        </pc:spChg>
      </pc:sldChg>
      <pc:sldChg chg="modSp mod">
        <pc:chgData name="Soleil Yi" userId="c719b956-004a-4243-81dc-14be649b7814" providerId="ADAL" clId="{62ECF754-0E6C-40E8-9C10-D9CC518B6798}" dt="2022-09-14T00:49:02.372" v="1157" actId="27636"/>
        <pc:sldMkLst>
          <pc:docMk/>
          <pc:sldMk cId="539498938" sldId="275"/>
        </pc:sldMkLst>
        <pc:spChg chg="mod">
          <ac:chgData name="Soleil Yi" userId="c719b956-004a-4243-81dc-14be649b7814" providerId="ADAL" clId="{62ECF754-0E6C-40E8-9C10-D9CC518B6798}" dt="2022-09-14T00:48:54.365" v="72" actId="947"/>
          <ac:spMkLst>
            <pc:docMk/>
            <pc:sldMk cId="539498938" sldId="275"/>
            <ac:spMk id="7" creationId="{FCCA2619-88CC-4F4F-88F9-34B9A413B351}"/>
          </ac:spMkLst>
        </pc:spChg>
        <pc:spChg chg="mod">
          <ac:chgData name="Soleil Yi" userId="c719b956-004a-4243-81dc-14be649b7814" providerId="ADAL" clId="{62ECF754-0E6C-40E8-9C10-D9CC518B6798}" dt="2022-09-14T00:48:54.404" v="108" actId="947"/>
          <ac:spMkLst>
            <pc:docMk/>
            <pc:sldMk cId="539498938" sldId="275"/>
            <ac:spMk id="17" creationId="{7686EEC6-7317-4F3B-A67F-21B039799D83}"/>
          </ac:spMkLst>
        </pc:spChg>
        <pc:spChg chg="mod">
          <ac:chgData name="Soleil Yi" userId="c719b956-004a-4243-81dc-14be649b7814" providerId="ADAL" clId="{62ECF754-0E6C-40E8-9C10-D9CC518B6798}" dt="2022-09-14T00:48:54.407" v="112"/>
          <ac:spMkLst>
            <pc:docMk/>
            <pc:sldMk cId="539498938" sldId="275"/>
            <ac:spMk id="18" creationId="{87EB3514-D7F5-4C66-B77B-52D91FCE33B1}"/>
          </ac:spMkLst>
        </pc:spChg>
        <pc:spChg chg="mod">
          <ac:chgData name="Soleil Yi" userId="c719b956-004a-4243-81dc-14be649b7814" providerId="ADAL" clId="{62ECF754-0E6C-40E8-9C10-D9CC518B6798}" dt="2022-09-14T00:48:54.396" v="100" actId="947"/>
          <ac:spMkLst>
            <pc:docMk/>
            <pc:sldMk cId="539498938" sldId="275"/>
            <ac:spMk id="19" creationId="{079269CC-7A56-4192-95A0-277015060725}"/>
          </ac:spMkLst>
        </pc:spChg>
        <pc:spChg chg="mod">
          <ac:chgData name="Soleil Yi" userId="c719b956-004a-4243-81dc-14be649b7814" providerId="ADAL" clId="{62ECF754-0E6C-40E8-9C10-D9CC518B6798}" dt="2022-09-14T00:48:54.399" v="104"/>
          <ac:spMkLst>
            <pc:docMk/>
            <pc:sldMk cId="539498938" sldId="275"/>
            <ac:spMk id="20" creationId="{87EB3514-D7F5-4C66-B77B-52D91FCE33B1}"/>
          </ac:spMkLst>
        </pc:spChg>
        <pc:spChg chg="mod">
          <ac:chgData name="Soleil Yi" userId="c719b956-004a-4243-81dc-14be649b7814" providerId="ADAL" clId="{62ECF754-0E6C-40E8-9C10-D9CC518B6798}" dt="2022-09-14T00:49:02.372" v="1157" actId="27636"/>
          <ac:spMkLst>
            <pc:docMk/>
            <pc:sldMk cId="539498938" sldId="275"/>
            <ac:spMk id="21" creationId="{ECA78BD9-F7C1-409D-94D7-257425571C16}"/>
          </ac:spMkLst>
        </pc:spChg>
        <pc:spChg chg="mod">
          <ac:chgData name="Soleil Yi" userId="c719b956-004a-4243-81dc-14be649b7814" providerId="ADAL" clId="{62ECF754-0E6C-40E8-9C10-D9CC518B6798}" dt="2022-09-14T00:48:54.390" v="96"/>
          <ac:spMkLst>
            <pc:docMk/>
            <pc:sldMk cId="539498938" sldId="275"/>
            <ac:spMk id="22" creationId="{87EB3514-D7F5-4C66-B77B-52D91FCE33B1}"/>
          </ac:spMkLst>
        </pc:spChg>
        <pc:spChg chg="mod">
          <ac:chgData name="Soleil Yi" userId="c719b956-004a-4243-81dc-14be649b7814" providerId="ADAL" clId="{62ECF754-0E6C-40E8-9C10-D9CC518B6798}" dt="2022-09-14T00:48:54.379" v="84" actId="947"/>
          <ac:spMkLst>
            <pc:docMk/>
            <pc:sldMk cId="539498938" sldId="275"/>
            <ac:spMk id="23" creationId="{BF091657-0F52-41A6-8843-4DF47DEFFA99}"/>
          </ac:spMkLst>
        </pc:spChg>
        <pc:spChg chg="mod">
          <ac:chgData name="Soleil Yi" userId="c719b956-004a-4243-81dc-14be649b7814" providerId="ADAL" clId="{62ECF754-0E6C-40E8-9C10-D9CC518B6798}" dt="2022-09-14T00:48:54.382" v="88"/>
          <ac:spMkLst>
            <pc:docMk/>
            <pc:sldMk cId="539498938" sldId="275"/>
            <ac:spMk id="24" creationId="{87EB3514-D7F5-4C66-B77B-52D91FCE33B1}"/>
          </ac:spMkLst>
        </pc:spChg>
        <pc:spChg chg="mod">
          <ac:chgData name="Soleil Yi" userId="c719b956-004a-4243-81dc-14be649b7814" providerId="ADAL" clId="{62ECF754-0E6C-40E8-9C10-D9CC518B6798}" dt="2022-09-14T00:48:54.370" v="76" actId="947"/>
          <ac:spMkLst>
            <pc:docMk/>
            <pc:sldMk cId="539498938" sldId="275"/>
            <ac:spMk id="25" creationId="{F36562D5-B8D7-48BC-A3A7-360552C37C75}"/>
          </ac:spMkLst>
        </pc:spChg>
        <pc:spChg chg="mod">
          <ac:chgData name="Soleil Yi" userId="c719b956-004a-4243-81dc-14be649b7814" providerId="ADAL" clId="{62ECF754-0E6C-40E8-9C10-D9CC518B6798}" dt="2022-09-14T00:48:54.373" v="80"/>
          <ac:spMkLst>
            <pc:docMk/>
            <pc:sldMk cId="539498938" sldId="275"/>
            <ac:spMk id="26" creationId="{87EB3514-D7F5-4C66-B77B-52D91FCE33B1}"/>
          </ac:spMkLst>
        </pc:spChg>
        <pc:spChg chg="mod">
          <ac:chgData name="Soleil Yi" userId="c719b956-004a-4243-81dc-14be649b7814" providerId="ADAL" clId="{62ECF754-0E6C-40E8-9C10-D9CC518B6798}" dt="2022-09-14T00:48:54.355" v="64" actId="947"/>
          <ac:spMkLst>
            <pc:docMk/>
            <pc:sldMk cId="539498938" sldId="275"/>
            <ac:spMk id="27" creationId="{621A18F8-9766-493F-B5BA-C6A3710D9862}"/>
          </ac:spMkLst>
        </pc:spChg>
        <pc:spChg chg="mod">
          <ac:chgData name="Soleil Yi" userId="c719b956-004a-4243-81dc-14be649b7814" providerId="ADAL" clId="{62ECF754-0E6C-40E8-9C10-D9CC518B6798}" dt="2022-09-14T00:48:54.359" v="68" actId="947"/>
          <ac:spMkLst>
            <pc:docMk/>
            <pc:sldMk cId="539498938" sldId="275"/>
            <ac:spMk id="28" creationId="{FEABB9AB-2462-4605-B6C3-9164B505C850}"/>
          </ac:spMkLst>
        </pc:spChg>
      </pc:sldChg>
      <pc:sldChg chg="modSp mod">
        <pc:chgData name="Soleil Yi" userId="c719b956-004a-4243-81dc-14be649b7814" providerId="ADAL" clId="{62ECF754-0E6C-40E8-9C10-D9CC518B6798}" dt="2022-09-14T00:49:02.392" v="1161" actId="27636"/>
        <pc:sldMkLst>
          <pc:docMk/>
          <pc:sldMk cId="3032720227" sldId="276"/>
        </pc:sldMkLst>
        <pc:spChg chg="mod">
          <ac:chgData name="Soleil Yi" userId="c719b956-004a-4243-81dc-14be649b7814" providerId="ADAL" clId="{62ECF754-0E6C-40E8-9C10-D9CC518B6798}" dt="2022-09-14T00:48:54.511" v="128" actId="947"/>
          <ac:spMkLst>
            <pc:docMk/>
            <pc:sldMk cId="3032720227" sldId="276"/>
            <ac:spMk id="2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4.585" v="140" actId="947"/>
          <ac:spMkLst>
            <pc:docMk/>
            <pc:sldMk cId="3032720227" sldId="276"/>
            <ac:spMk id="3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4.583" v="139" actId="947"/>
          <ac:spMkLst>
            <pc:docMk/>
            <pc:sldMk cId="3032720227" sldId="276"/>
            <ac:spMk id="4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4.578" v="138" actId="947"/>
          <ac:spMkLst>
            <pc:docMk/>
            <pc:sldMk cId="3032720227" sldId="276"/>
            <ac:spMk id="6" creationId="{14D988CC-A576-405D-8C4A-CD8ABF4832F4}"/>
          </ac:spMkLst>
        </pc:spChg>
        <pc:spChg chg="mod">
          <ac:chgData name="Soleil Yi" userId="c719b956-004a-4243-81dc-14be649b7814" providerId="ADAL" clId="{62ECF754-0E6C-40E8-9C10-D9CC518B6798}" dt="2022-09-14T00:49:02.384" v="1158" actId="27636"/>
          <ac:spMkLst>
            <pc:docMk/>
            <pc:sldMk cId="3032720227" sldId="276"/>
            <ac:spMk id="8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2.387" v="1159" actId="27636"/>
          <ac:spMkLst>
            <pc:docMk/>
            <pc:sldMk cId="3032720227" sldId="276"/>
            <ac:spMk id="9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2.390" v="1160" actId="27636"/>
          <ac:spMkLst>
            <pc:docMk/>
            <pc:sldMk cId="3032720227" sldId="276"/>
            <ac:spMk id="10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2.392" v="1161" actId="27636"/>
          <ac:spMkLst>
            <pc:docMk/>
            <pc:sldMk cId="3032720227" sldId="276"/>
            <ac:spMk id="11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4.756" v="160" actId="947"/>
          <ac:spMkLst>
            <pc:docMk/>
            <pc:sldMk cId="3032720227" sldId="276"/>
            <ac:spMk id="12" creationId="{677D5A0B-CFB6-41B8-8A73-9EFB25CB65AD}"/>
          </ac:spMkLst>
        </pc:spChg>
        <pc:spChg chg="mod">
          <ac:chgData name="Soleil Yi" userId="c719b956-004a-4243-81dc-14be649b7814" providerId="ADAL" clId="{62ECF754-0E6C-40E8-9C10-D9CC518B6798}" dt="2022-09-14T00:48:54.801" v="164" actId="947"/>
          <ac:spMkLst>
            <pc:docMk/>
            <pc:sldMk cId="3032720227" sldId="276"/>
            <ac:spMk id="13" creationId="{9B5F056E-198C-47B3-BC4D-CBD89576D15E}"/>
          </ac:spMkLst>
        </pc:spChg>
        <pc:spChg chg="mod">
          <ac:chgData name="Soleil Yi" userId="c719b956-004a-4243-81dc-14be649b7814" providerId="ADAL" clId="{62ECF754-0E6C-40E8-9C10-D9CC518B6798}" dt="2022-09-14T00:48:54.851" v="168" actId="947"/>
          <ac:spMkLst>
            <pc:docMk/>
            <pc:sldMk cId="3032720227" sldId="276"/>
            <ac:spMk id="14" creationId="{677D5A0B-CFB6-41B8-8A73-9EFB25CB65AD}"/>
          </ac:spMkLst>
        </pc:spChg>
        <pc:spChg chg="mod">
          <ac:chgData name="Soleil Yi" userId="c719b956-004a-4243-81dc-14be649b7814" providerId="ADAL" clId="{62ECF754-0E6C-40E8-9C10-D9CC518B6798}" dt="2022-09-14T00:48:54.894" v="172" actId="947"/>
          <ac:spMkLst>
            <pc:docMk/>
            <pc:sldMk cId="3032720227" sldId="276"/>
            <ac:spMk id="15" creationId="{9B5F056E-198C-47B3-BC4D-CBD89576D15E}"/>
          </ac:spMkLst>
        </pc:spChg>
        <pc:spChg chg="mod">
          <ac:chgData name="Soleil Yi" userId="c719b956-004a-4243-81dc-14be649b7814" providerId="ADAL" clId="{62ECF754-0E6C-40E8-9C10-D9CC518B6798}" dt="2022-09-14T00:48:54.931" v="176" actId="947"/>
          <ac:spMkLst>
            <pc:docMk/>
            <pc:sldMk cId="3032720227" sldId="276"/>
            <ac:spMk id="16" creationId="{677D5A0B-CFB6-41B8-8A73-9EFB25CB65AD}"/>
          </ac:spMkLst>
        </pc:spChg>
        <pc:spChg chg="mod">
          <ac:chgData name="Soleil Yi" userId="c719b956-004a-4243-81dc-14be649b7814" providerId="ADAL" clId="{62ECF754-0E6C-40E8-9C10-D9CC518B6798}" dt="2022-09-14T00:48:54.972" v="180" actId="947"/>
          <ac:spMkLst>
            <pc:docMk/>
            <pc:sldMk cId="3032720227" sldId="276"/>
            <ac:spMk id="17" creationId="{9B5F056E-198C-47B3-BC4D-CBD89576D15E}"/>
          </ac:spMkLst>
        </pc:spChg>
        <pc:spChg chg="mod">
          <ac:chgData name="Soleil Yi" userId="c719b956-004a-4243-81dc-14be649b7814" providerId="ADAL" clId="{62ECF754-0E6C-40E8-9C10-D9CC518B6798}" dt="2022-09-14T00:48:55.011" v="184" actId="947"/>
          <ac:spMkLst>
            <pc:docMk/>
            <pc:sldMk cId="3032720227" sldId="276"/>
            <ac:spMk id="18" creationId="{677D5A0B-CFB6-41B8-8A73-9EFB25CB65AD}"/>
          </ac:spMkLst>
        </pc:spChg>
        <pc:spChg chg="mod">
          <ac:chgData name="Soleil Yi" userId="c719b956-004a-4243-81dc-14be649b7814" providerId="ADAL" clId="{62ECF754-0E6C-40E8-9C10-D9CC518B6798}" dt="2022-09-14T00:48:55.047" v="188" actId="947"/>
          <ac:spMkLst>
            <pc:docMk/>
            <pc:sldMk cId="3032720227" sldId="276"/>
            <ac:spMk id="19" creationId="{9B5F056E-198C-47B3-BC4D-CBD89576D15E}"/>
          </ac:spMkLst>
        </pc:spChg>
        <pc:spChg chg="mod">
          <ac:chgData name="Soleil Yi" userId="c719b956-004a-4243-81dc-14be649b7814" providerId="ADAL" clId="{62ECF754-0E6C-40E8-9C10-D9CC518B6798}" dt="2022-09-14T00:48:55.082" v="192" actId="947"/>
          <ac:spMkLst>
            <pc:docMk/>
            <pc:sldMk cId="3032720227" sldId="276"/>
            <ac:spMk id="20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5.114" v="196" actId="947"/>
          <ac:spMkLst>
            <pc:docMk/>
            <pc:sldMk cId="3032720227" sldId="276"/>
            <ac:spMk id="21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5.150" v="200" actId="947"/>
          <ac:spMkLst>
            <pc:docMk/>
            <pc:sldMk cId="3032720227" sldId="276"/>
            <ac:spMk id="22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5.183" v="204" actId="947"/>
          <ac:spMkLst>
            <pc:docMk/>
            <pc:sldMk cId="3032720227" sldId="276"/>
            <ac:spMk id="23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5.219" v="208" actId="947"/>
          <ac:spMkLst>
            <pc:docMk/>
            <pc:sldMk cId="3032720227" sldId="276"/>
            <ac:spMk id="24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5.254" v="212" actId="947"/>
          <ac:spMkLst>
            <pc:docMk/>
            <pc:sldMk cId="3032720227" sldId="276"/>
            <ac:spMk id="25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5.286" v="216" actId="947"/>
          <ac:spMkLst>
            <pc:docMk/>
            <pc:sldMk cId="3032720227" sldId="276"/>
            <ac:spMk id="26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5.318" v="220" actId="947"/>
          <ac:spMkLst>
            <pc:docMk/>
            <pc:sldMk cId="3032720227" sldId="276"/>
            <ac:spMk id="27" creationId="{00000000-0000-0000-0000-000000000000}"/>
          </ac:spMkLst>
        </pc:spChg>
      </pc:sldChg>
      <pc:sldChg chg="modSp mod">
        <pc:chgData name="Soleil Yi" userId="c719b956-004a-4243-81dc-14be649b7814" providerId="ADAL" clId="{62ECF754-0E6C-40E8-9C10-D9CC518B6798}" dt="2022-09-14T00:48:55.859" v="304"/>
        <pc:sldMkLst>
          <pc:docMk/>
          <pc:sldMk cId="2930661823" sldId="277"/>
        </pc:sldMkLst>
        <pc:spChg chg="mod">
          <ac:chgData name="Soleil Yi" userId="c719b956-004a-4243-81dc-14be649b7814" providerId="ADAL" clId="{62ECF754-0E6C-40E8-9C10-D9CC518B6798}" dt="2022-09-14T00:48:55.373" v="224" actId="947"/>
          <ac:spMkLst>
            <pc:docMk/>
            <pc:sldMk cId="2930661823" sldId="277"/>
            <ac:spMk id="2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5.428" v="236" actId="947"/>
          <ac:spMkLst>
            <pc:docMk/>
            <pc:sldMk cId="2930661823" sldId="277"/>
            <ac:spMk id="3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5.425" v="234" actId="947"/>
          <ac:spMkLst>
            <pc:docMk/>
            <pc:sldMk cId="2930661823" sldId="277"/>
            <ac:spMk id="4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5.613" v="276"/>
          <ac:spMkLst>
            <pc:docMk/>
            <pc:sldMk cId="2930661823" sldId="277"/>
            <ac:spMk id="7" creationId="{B6030910-8DD4-4339-BD65-A1E0DBD70731}"/>
          </ac:spMkLst>
        </pc:spChg>
        <pc:spChg chg="mod">
          <ac:chgData name="Soleil Yi" userId="c719b956-004a-4243-81dc-14be649b7814" providerId="ADAL" clId="{62ECF754-0E6C-40E8-9C10-D9CC518B6798}" dt="2022-09-14T00:48:55.643" v="280"/>
          <ac:spMkLst>
            <pc:docMk/>
            <pc:sldMk cId="2930661823" sldId="277"/>
            <ac:spMk id="8" creationId="{81D15CCE-8050-4898-BFDC-25A409051D42}"/>
          </ac:spMkLst>
        </pc:spChg>
        <pc:spChg chg="mod">
          <ac:chgData name="Soleil Yi" userId="c719b956-004a-4243-81dc-14be649b7814" providerId="ADAL" clId="{62ECF754-0E6C-40E8-9C10-D9CC518B6798}" dt="2022-09-14T00:48:55.671" v="284"/>
          <ac:spMkLst>
            <pc:docMk/>
            <pc:sldMk cId="2930661823" sldId="277"/>
            <ac:spMk id="9" creationId="{27E6DFC5-4059-41AA-8A90-C37211780486}"/>
          </ac:spMkLst>
        </pc:spChg>
        <pc:spChg chg="mod">
          <ac:chgData name="Soleil Yi" userId="c719b956-004a-4243-81dc-14be649b7814" providerId="ADAL" clId="{62ECF754-0E6C-40E8-9C10-D9CC518B6798}" dt="2022-09-14T00:48:55.705" v="288"/>
          <ac:spMkLst>
            <pc:docMk/>
            <pc:sldMk cId="2930661823" sldId="277"/>
            <ac:spMk id="10" creationId="{771449CD-0D4D-46F5-93D3-F4695C556931}"/>
          </ac:spMkLst>
        </pc:spChg>
        <pc:spChg chg="mod">
          <ac:chgData name="Soleil Yi" userId="c719b956-004a-4243-81dc-14be649b7814" providerId="ADAL" clId="{62ECF754-0E6C-40E8-9C10-D9CC518B6798}" dt="2022-09-14T00:48:55.739" v="292"/>
          <ac:spMkLst>
            <pc:docMk/>
            <pc:sldMk cId="2930661823" sldId="277"/>
            <ac:spMk id="11" creationId="{44A8250D-A507-4CA0-886F-19A2FBE0F76A}"/>
          </ac:spMkLst>
        </pc:spChg>
        <pc:spChg chg="mod">
          <ac:chgData name="Soleil Yi" userId="c719b956-004a-4243-81dc-14be649b7814" providerId="ADAL" clId="{62ECF754-0E6C-40E8-9C10-D9CC518B6798}" dt="2022-09-14T00:48:55.773" v="296"/>
          <ac:spMkLst>
            <pc:docMk/>
            <pc:sldMk cId="2930661823" sldId="277"/>
            <ac:spMk id="12" creationId="{B447FDF5-9D7A-4F5B-90C3-85509A313200}"/>
          </ac:spMkLst>
        </pc:spChg>
        <pc:spChg chg="mod">
          <ac:chgData name="Soleil Yi" userId="c719b956-004a-4243-81dc-14be649b7814" providerId="ADAL" clId="{62ECF754-0E6C-40E8-9C10-D9CC518B6798}" dt="2022-09-14T00:48:55.803" v="300"/>
          <ac:spMkLst>
            <pc:docMk/>
            <pc:sldMk cId="2930661823" sldId="277"/>
            <ac:spMk id="13" creationId="{210DC7F3-0D4E-4304-9A41-E84BF3F93186}"/>
          </ac:spMkLst>
        </pc:spChg>
        <pc:spChg chg="mod">
          <ac:chgData name="Soleil Yi" userId="c719b956-004a-4243-81dc-14be649b7814" providerId="ADAL" clId="{62ECF754-0E6C-40E8-9C10-D9CC518B6798}" dt="2022-09-14T00:48:55.859" v="304"/>
          <ac:spMkLst>
            <pc:docMk/>
            <pc:sldMk cId="2930661823" sldId="277"/>
            <ac:spMk id="14" creationId="{FE4994D9-D524-4FA6-BFB4-24A60BAD7FA9}"/>
          </ac:spMkLst>
        </pc:spChg>
        <pc:spChg chg="mod">
          <ac:chgData name="Soleil Yi" userId="c719b956-004a-4243-81dc-14be649b7814" providerId="ADAL" clId="{62ECF754-0E6C-40E8-9C10-D9CC518B6798}" dt="2022-09-14T00:48:55.423" v="233" actId="947"/>
          <ac:spMkLst>
            <pc:docMk/>
            <pc:sldMk cId="2930661823" sldId="277"/>
            <ac:spMk id="15" creationId="{A815EF01-9239-4291-957F-CBCBBC290254}"/>
          </ac:spMkLst>
        </pc:spChg>
        <pc:spChg chg="mod">
          <ac:chgData name="Soleil Yi" userId="c719b956-004a-4243-81dc-14be649b7814" providerId="ADAL" clId="{62ECF754-0E6C-40E8-9C10-D9CC518B6798}" dt="2022-09-14T00:48:55.496" v="256" actId="947"/>
          <ac:spMkLst>
            <pc:docMk/>
            <pc:sldMk cId="2930661823" sldId="277"/>
            <ac:spMk id="18" creationId="{3337031F-1170-4166-A2D6-A6C0E9D434BB}"/>
          </ac:spMkLst>
        </pc:spChg>
        <pc:spChg chg="mod">
          <ac:chgData name="Soleil Yi" userId="c719b956-004a-4243-81dc-14be649b7814" providerId="ADAL" clId="{62ECF754-0E6C-40E8-9C10-D9CC518B6798}" dt="2022-09-14T00:48:55.537" v="268" actId="947"/>
          <ac:spMkLst>
            <pc:docMk/>
            <pc:sldMk cId="2930661823" sldId="277"/>
            <ac:spMk id="25" creationId="{D403BE16-AB8C-41A4-AEBC-023BA9145289}"/>
          </ac:spMkLst>
        </pc:spChg>
        <pc:spChg chg="mod">
          <ac:chgData name="Soleil Yi" userId="c719b956-004a-4243-81dc-14be649b7814" providerId="ADAL" clId="{62ECF754-0E6C-40E8-9C10-D9CC518B6798}" dt="2022-09-14T00:48:55.550" v="272" actId="947"/>
          <ac:spMkLst>
            <pc:docMk/>
            <pc:sldMk cId="2930661823" sldId="277"/>
            <ac:spMk id="26" creationId="{9802348E-BEB0-49B1-9253-339E8C1D65D2}"/>
          </ac:spMkLst>
        </pc:spChg>
        <pc:spChg chg="mod">
          <ac:chgData name="Soleil Yi" userId="c719b956-004a-4243-81dc-14be649b7814" providerId="ADAL" clId="{62ECF754-0E6C-40E8-9C10-D9CC518B6798}" dt="2022-09-14T00:48:55.510" v="260" actId="947"/>
          <ac:spMkLst>
            <pc:docMk/>
            <pc:sldMk cId="2930661823" sldId="277"/>
            <ac:spMk id="27" creationId="{171819AF-0772-439F-8D1D-AB2FACDDCBBD}"/>
          </ac:spMkLst>
        </pc:spChg>
        <pc:spChg chg="mod">
          <ac:chgData name="Soleil Yi" userId="c719b956-004a-4243-81dc-14be649b7814" providerId="ADAL" clId="{62ECF754-0E6C-40E8-9C10-D9CC518B6798}" dt="2022-09-14T00:48:55.524" v="264" actId="947"/>
          <ac:spMkLst>
            <pc:docMk/>
            <pc:sldMk cId="2930661823" sldId="277"/>
            <ac:spMk id="28" creationId="{93D5FD04-7104-4A79-8331-3A69E758BE30}"/>
          </ac:spMkLst>
        </pc:spChg>
        <pc:spChg chg="mod">
          <ac:chgData name="Soleil Yi" userId="c719b956-004a-4243-81dc-14be649b7814" providerId="ADAL" clId="{62ECF754-0E6C-40E8-9C10-D9CC518B6798}" dt="2022-09-14T00:48:55.467" v="248" actId="947"/>
          <ac:spMkLst>
            <pc:docMk/>
            <pc:sldMk cId="2930661823" sldId="277"/>
            <ac:spMk id="29" creationId="{A7458D44-1041-4A04-AD15-424E1A4CEF7D}"/>
          </ac:spMkLst>
        </pc:spChg>
        <pc:spChg chg="mod">
          <ac:chgData name="Soleil Yi" userId="c719b956-004a-4243-81dc-14be649b7814" providerId="ADAL" clId="{62ECF754-0E6C-40E8-9C10-D9CC518B6798}" dt="2022-09-14T00:48:55.481" v="252" actId="947"/>
          <ac:spMkLst>
            <pc:docMk/>
            <pc:sldMk cId="2930661823" sldId="277"/>
            <ac:spMk id="30" creationId="{0A3ECE73-2F71-45D0-B5CE-20D39BD4C3A3}"/>
          </ac:spMkLst>
        </pc:spChg>
        <pc:spChg chg="mod">
          <ac:chgData name="Soleil Yi" userId="c719b956-004a-4243-81dc-14be649b7814" providerId="ADAL" clId="{62ECF754-0E6C-40E8-9C10-D9CC518B6798}" dt="2022-09-14T00:48:55.438" v="240" actId="947"/>
          <ac:spMkLst>
            <pc:docMk/>
            <pc:sldMk cId="2930661823" sldId="277"/>
            <ac:spMk id="31" creationId="{481D33CE-CC58-4ECF-AEDB-0A2B2B5C8679}"/>
          </ac:spMkLst>
        </pc:spChg>
        <pc:spChg chg="mod">
          <ac:chgData name="Soleil Yi" userId="c719b956-004a-4243-81dc-14be649b7814" providerId="ADAL" clId="{62ECF754-0E6C-40E8-9C10-D9CC518B6798}" dt="2022-09-14T00:48:55.452" v="244" actId="947"/>
          <ac:spMkLst>
            <pc:docMk/>
            <pc:sldMk cId="2930661823" sldId="277"/>
            <ac:spMk id="32" creationId="{42FA32DE-D99B-429F-B5C9-81777582F84B}"/>
          </ac:spMkLst>
        </pc:spChg>
      </pc:sldChg>
      <pc:sldChg chg="modSp mod">
        <pc:chgData name="Soleil Yi" userId="c719b956-004a-4243-81dc-14be649b7814" providerId="ADAL" clId="{62ECF754-0E6C-40E8-9C10-D9CC518B6798}" dt="2022-09-14T00:49:00.151" v="868"/>
        <pc:sldMkLst>
          <pc:docMk/>
          <pc:sldMk cId="1812302649" sldId="278"/>
        </pc:sldMkLst>
        <pc:spChg chg="mod">
          <ac:chgData name="Soleil Yi" userId="c719b956-004a-4243-81dc-14be649b7814" providerId="ADAL" clId="{62ECF754-0E6C-40E8-9C10-D9CC518B6798}" dt="2022-09-14T00:48:59.473" v="764" actId="947"/>
          <ac:spMkLst>
            <pc:docMk/>
            <pc:sldMk cId="1812302649" sldId="278"/>
            <ac:spMk id="2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9.527" v="776" actId="947"/>
          <ac:spMkLst>
            <pc:docMk/>
            <pc:sldMk cId="1812302649" sldId="278"/>
            <ac:spMk id="3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9.526" v="775" actId="947"/>
          <ac:spMkLst>
            <pc:docMk/>
            <pc:sldMk cId="1812302649" sldId="278"/>
            <ac:spMk id="4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9.557" v="784" actId="947"/>
          <ac:spMkLst>
            <pc:docMk/>
            <pc:sldMk cId="1812302649" sldId="278"/>
            <ac:spMk id="36" creationId="{FF575C4F-1D57-43A1-B4FB-F9E5B6707C45}"/>
          </ac:spMkLst>
        </pc:spChg>
        <pc:spChg chg="mod">
          <ac:chgData name="Soleil Yi" userId="c719b956-004a-4243-81dc-14be649b7814" providerId="ADAL" clId="{62ECF754-0E6C-40E8-9C10-D9CC518B6798}" dt="2022-09-14T00:48:59.579" v="788" actId="947"/>
          <ac:spMkLst>
            <pc:docMk/>
            <pc:sldMk cId="1812302649" sldId="278"/>
            <ac:spMk id="37" creationId="{96ADF540-A448-46D7-8553-9C2066FAF6FE}"/>
          </ac:spMkLst>
        </pc:spChg>
        <pc:spChg chg="mod">
          <ac:chgData name="Soleil Yi" userId="c719b956-004a-4243-81dc-14be649b7814" providerId="ADAL" clId="{62ECF754-0E6C-40E8-9C10-D9CC518B6798}" dt="2022-09-14T00:48:59.615" v="792" actId="947"/>
          <ac:spMkLst>
            <pc:docMk/>
            <pc:sldMk cId="1812302649" sldId="278"/>
            <ac:spMk id="38" creationId="{61D0163D-FBCB-4375-B1C2-4CF58054905C}"/>
          </ac:spMkLst>
        </pc:spChg>
        <pc:spChg chg="mod">
          <ac:chgData name="Soleil Yi" userId="c719b956-004a-4243-81dc-14be649b7814" providerId="ADAL" clId="{62ECF754-0E6C-40E8-9C10-D9CC518B6798}" dt="2022-09-14T00:48:59.649" v="796" actId="947"/>
          <ac:spMkLst>
            <pc:docMk/>
            <pc:sldMk cId="1812302649" sldId="278"/>
            <ac:spMk id="39" creationId="{DE316EAA-E6C8-4C66-8E26-F90CF114CBA2}"/>
          </ac:spMkLst>
        </pc:spChg>
        <pc:spChg chg="mod">
          <ac:chgData name="Soleil Yi" userId="c719b956-004a-4243-81dc-14be649b7814" providerId="ADAL" clId="{62ECF754-0E6C-40E8-9C10-D9CC518B6798}" dt="2022-09-14T00:48:59.681" v="800" actId="947"/>
          <ac:spMkLst>
            <pc:docMk/>
            <pc:sldMk cId="1812302649" sldId="278"/>
            <ac:spMk id="40" creationId="{07FAA762-8918-419C-8F84-942AD0779ACE}"/>
          </ac:spMkLst>
        </pc:spChg>
        <pc:spChg chg="mod">
          <ac:chgData name="Soleil Yi" userId="c719b956-004a-4243-81dc-14be649b7814" providerId="ADAL" clId="{62ECF754-0E6C-40E8-9C10-D9CC518B6798}" dt="2022-09-14T00:48:59.717" v="804" actId="947"/>
          <ac:spMkLst>
            <pc:docMk/>
            <pc:sldMk cId="1812302649" sldId="278"/>
            <ac:spMk id="41" creationId="{C282B3CB-F56C-4405-9C3A-D9A1D006D5CC}"/>
          </ac:spMkLst>
        </pc:spChg>
        <pc:spChg chg="mod">
          <ac:chgData name="Soleil Yi" userId="c719b956-004a-4243-81dc-14be649b7814" providerId="ADAL" clId="{62ECF754-0E6C-40E8-9C10-D9CC518B6798}" dt="2022-09-14T00:48:59.751" v="808" actId="947"/>
          <ac:spMkLst>
            <pc:docMk/>
            <pc:sldMk cId="1812302649" sldId="278"/>
            <ac:spMk id="42" creationId="{1861B460-A56C-4CEB-BF7B-7307D6DC7739}"/>
          </ac:spMkLst>
        </pc:spChg>
        <pc:spChg chg="mod">
          <ac:chgData name="Soleil Yi" userId="c719b956-004a-4243-81dc-14be649b7814" providerId="ADAL" clId="{62ECF754-0E6C-40E8-9C10-D9CC518B6798}" dt="2022-09-14T00:48:59.785" v="812" actId="947"/>
          <ac:spMkLst>
            <pc:docMk/>
            <pc:sldMk cId="1812302649" sldId="278"/>
            <ac:spMk id="43" creationId="{AAB42FAE-B423-4FDA-A4A4-5FE17F834605}"/>
          </ac:spMkLst>
        </pc:spChg>
        <pc:spChg chg="mod">
          <ac:chgData name="Soleil Yi" userId="c719b956-004a-4243-81dc-14be649b7814" providerId="ADAL" clId="{62ECF754-0E6C-40E8-9C10-D9CC518B6798}" dt="2022-09-14T00:48:59.818" v="816" actId="947"/>
          <ac:spMkLst>
            <pc:docMk/>
            <pc:sldMk cId="1812302649" sldId="278"/>
            <ac:spMk id="44" creationId="{871C6786-1D67-4653-A981-1A0672E26137}"/>
          </ac:spMkLst>
        </pc:spChg>
        <pc:spChg chg="mod">
          <ac:chgData name="Soleil Yi" userId="c719b956-004a-4243-81dc-14be649b7814" providerId="ADAL" clId="{62ECF754-0E6C-40E8-9C10-D9CC518B6798}" dt="2022-09-14T00:48:59.851" v="820" actId="947"/>
          <ac:spMkLst>
            <pc:docMk/>
            <pc:sldMk cId="1812302649" sldId="278"/>
            <ac:spMk id="45" creationId="{0FFFCEED-C437-44E0-8234-241B1BF2FE37}"/>
          </ac:spMkLst>
        </pc:spChg>
        <pc:spChg chg="mod">
          <ac:chgData name="Soleil Yi" userId="c719b956-004a-4243-81dc-14be649b7814" providerId="ADAL" clId="{62ECF754-0E6C-40E8-9C10-D9CC518B6798}" dt="2022-09-14T00:48:59.890" v="824" actId="947"/>
          <ac:spMkLst>
            <pc:docMk/>
            <pc:sldMk cId="1812302649" sldId="278"/>
            <ac:spMk id="46" creationId="{A391C613-7E67-491A-B095-0AF768984D92}"/>
          </ac:spMkLst>
        </pc:spChg>
        <pc:spChg chg="mod">
          <ac:chgData name="Soleil Yi" userId="c719b956-004a-4243-81dc-14be649b7814" providerId="ADAL" clId="{62ECF754-0E6C-40E8-9C10-D9CC518B6798}" dt="2022-09-14T00:48:59.937" v="828" actId="947"/>
          <ac:spMkLst>
            <pc:docMk/>
            <pc:sldMk cId="1812302649" sldId="278"/>
            <ac:spMk id="47" creationId="{40BEF3D9-3044-403F-8551-1ABFDB8FA694}"/>
          </ac:spMkLst>
        </pc:spChg>
        <pc:spChg chg="mod">
          <ac:chgData name="Soleil Yi" userId="c719b956-004a-4243-81dc-14be649b7814" providerId="ADAL" clId="{62ECF754-0E6C-40E8-9C10-D9CC518B6798}" dt="2022-09-14T00:48:59.988" v="832"/>
          <ac:spMkLst>
            <pc:docMk/>
            <pc:sldMk cId="1812302649" sldId="278"/>
            <ac:spMk id="48" creationId="{CBA294D7-CF15-4BC2-9483-0EAABCAA7578}"/>
          </ac:spMkLst>
        </pc:spChg>
        <pc:spChg chg="mod">
          <ac:chgData name="Soleil Yi" userId="c719b956-004a-4243-81dc-14be649b7814" providerId="ADAL" clId="{62ECF754-0E6C-40E8-9C10-D9CC518B6798}" dt="2022-09-14T00:49:00.030" v="836"/>
          <ac:spMkLst>
            <pc:docMk/>
            <pc:sldMk cId="1812302649" sldId="278"/>
            <ac:spMk id="49" creationId="{5A9F6787-AD43-4915-8E7C-BD42C105BA8B}"/>
          </ac:spMkLst>
        </pc:spChg>
        <pc:spChg chg="mod">
          <ac:chgData name="Soleil Yi" userId="c719b956-004a-4243-81dc-14be649b7814" providerId="ADAL" clId="{62ECF754-0E6C-40E8-9C10-D9CC518B6798}" dt="2022-09-14T00:49:00.140" v="864"/>
          <ac:spMkLst>
            <pc:docMk/>
            <pc:sldMk cId="1812302649" sldId="278"/>
            <ac:spMk id="53" creationId="{88E416CF-8637-4948-B958-57C0F2F8D879}"/>
          </ac:spMkLst>
        </pc:spChg>
        <pc:spChg chg="mod">
          <ac:chgData name="Soleil Yi" userId="c719b956-004a-4243-81dc-14be649b7814" providerId="ADAL" clId="{62ECF754-0E6C-40E8-9C10-D9CC518B6798}" dt="2022-09-14T00:49:00.151" v="868"/>
          <ac:spMkLst>
            <pc:docMk/>
            <pc:sldMk cId="1812302649" sldId="278"/>
            <ac:spMk id="54" creationId="{C52C1448-7B92-4B95-BE17-A8FF59333880}"/>
          </ac:spMkLst>
        </pc:spChg>
        <pc:spChg chg="mod">
          <ac:chgData name="Soleil Yi" userId="c719b956-004a-4243-81dc-14be649b7814" providerId="ADAL" clId="{62ECF754-0E6C-40E8-9C10-D9CC518B6798}" dt="2022-09-14T00:49:00.113" v="856"/>
          <ac:spMkLst>
            <pc:docMk/>
            <pc:sldMk cId="1812302649" sldId="278"/>
            <ac:spMk id="55" creationId="{28BDECF9-A923-45F0-8B74-9D680C5888AB}"/>
          </ac:spMkLst>
        </pc:spChg>
        <pc:spChg chg="mod">
          <ac:chgData name="Soleil Yi" userId="c719b956-004a-4243-81dc-14be649b7814" providerId="ADAL" clId="{62ECF754-0E6C-40E8-9C10-D9CC518B6798}" dt="2022-09-14T00:49:00.124" v="860"/>
          <ac:spMkLst>
            <pc:docMk/>
            <pc:sldMk cId="1812302649" sldId="278"/>
            <ac:spMk id="56" creationId="{35ED0C9D-49DC-4B07-A513-DE88D1ABC721}"/>
          </ac:spMkLst>
        </pc:spChg>
        <pc:spChg chg="mod">
          <ac:chgData name="Soleil Yi" userId="c719b956-004a-4243-81dc-14be649b7814" providerId="ADAL" clId="{62ECF754-0E6C-40E8-9C10-D9CC518B6798}" dt="2022-09-14T00:49:00.086" v="848"/>
          <ac:spMkLst>
            <pc:docMk/>
            <pc:sldMk cId="1812302649" sldId="278"/>
            <ac:spMk id="57" creationId="{2970CFF0-3301-49C9-AD0D-3DC1D9B747AF}"/>
          </ac:spMkLst>
        </pc:spChg>
        <pc:spChg chg="mod">
          <ac:chgData name="Soleil Yi" userId="c719b956-004a-4243-81dc-14be649b7814" providerId="ADAL" clId="{62ECF754-0E6C-40E8-9C10-D9CC518B6798}" dt="2022-09-14T00:49:00.100" v="852"/>
          <ac:spMkLst>
            <pc:docMk/>
            <pc:sldMk cId="1812302649" sldId="278"/>
            <ac:spMk id="58" creationId="{9A1C510B-A20A-4911-8308-BF2D798C2437}"/>
          </ac:spMkLst>
        </pc:spChg>
        <pc:spChg chg="mod">
          <ac:chgData name="Soleil Yi" userId="c719b956-004a-4243-81dc-14be649b7814" providerId="ADAL" clId="{62ECF754-0E6C-40E8-9C10-D9CC518B6798}" dt="2022-09-14T00:49:00.061" v="840"/>
          <ac:spMkLst>
            <pc:docMk/>
            <pc:sldMk cId="1812302649" sldId="278"/>
            <ac:spMk id="59" creationId="{517B437A-399D-41FD-B9FA-08E9C843325B}"/>
          </ac:spMkLst>
        </pc:spChg>
        <pc:spChg chg="mod">
          <ac:chgData name="Soleil Yi" userId="c719b956-004a-4243-81dc-14be649b7814" providerId="ADAL" clId="{62ECF754-0E6C-40E8-9C10-D9CC518B6798}" dt="2022-09-14T00:49:00.073" v="844"/>
          <ac:spMkLst>
            <pc:docMk/>
            <pc:sldMk cId="1812302649" sldId="278"/>
            <ac:spMk id="60" creationId="{FD09911A-96D8-466C-93C0-A151F3BCB4A1}"/>
          </ac:spMkLst>
        </pc:spChg>
        <pc:spChg chg="mod">
          <ac:chgData name="Soleil Yi" userId="c719b956-004a-4243-81dc-14be649b7814" providerId="ADAL" clId="{62ECF754-0E6C-40E8-9C10-D9CC518B6798}" dt="2022-09-14T00:48:59.522" v="773" actId="947"/>
          <ac:spMkLst>
            <pc:docMk/>
            <pc:sldMk cId="1812302649" sldId="278"/>
            <ac:spMk id="61" creationId="{7FC1F49C-2DF7-469A-AFC1-AA4D07ACEE66}"/>
          </ac:spMkLst>
        </pc:spChg>
        <pc:spChg chg="mod">
          <ac:chgData name="Soleil Yi" userId="c719b956-004a-4243-81dc-14be649b7814" providerId="ADAL" clId="{62ECF754-0E6C-40E8-9C10-D9CC518B6798}" dt="2022-09-14T00:48:59.540" v="780" actId="947"/>
          <ac:spMkLst>
            <pc:docMk/>
            <pc:sldMk cId="1812302649" sldId="278"/>
            <ac:spMk id="62" creationId="{F2DFCE6E-E72D-49A9-BED2-3F87B142B3D9}"/>
          </ac:spMkLst>
        </pc:spChg>
      </pc:sldChg>
      <pc:sldChg chg="modSp mod">
        <pc:chgData name="Soleil Yi" userId="c719b956-004a-4243-81dc-14be649b7814" providerId="ADAL" clId="{62ECF754-0E6C-40E8-9C10-D9CC518B6798}" dt="2022-09-14T00:48:56.565" v="448" actId="947"/>
        <pc:sldMkLst>
          <pc:docMk/>
          <pc:sldMk cId="4114680084" sldId="279"/>
        </pc:sldMkLst>
        <pc:spChg chg="mod">
          <ac:chgData name="Soleil Yi" userId="c719b956-004a-4243-81dc-14be649b7814" providerId="ADAL" clId="{62ECF754-0E6C-40E8-9C10-D9CC518B6798}" dt="2022-09-14T00:48:55.938" v="320" actId="947"/>
          <ac:spMkLst>
            <pc:docMk/>
            <pc:sldMk cId="4114680084" sldId="279"/>
            <ac:spMk id="2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5.993" v="328" actId="947"/>
          <ac:spMkLst>
            <pc:docMk/>
            <pc:sldMk cId="4114680084" sldId="279"/>
            <ac:spMk id="3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5.991" v="327" actId="947"/>
          <ac:spMkLst>
            <pc:docMk/>
            <pc:sldMk cId="4114680084" sldId="279"/>
            <ac:spMk id="4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6.014" v="332" actId="947"/>
          <ac:spMkLst>
            <pc:docMk/>
            <pc:sldMk cId="4114680084" sldId="279"/>
            <ac:spMk id="12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6.033" v="336" actId="947"/>
          <ac:spMkLst>
            <pc:docMk/>
            <pc:sldMk cId="4114680084" sldId="279"/>
            <ac:spMk id="13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6.052" v="340" actId="947"/>
          <ac:spMkLst>
            <pc:docMk/>
            <pc:sldMk cId="4114680084" sldId="279"/>
            <ac:spMk id="14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6.067" v="344" actId="947"/>
          <ac:spMkLst>
            <pc:docMk/>
            <pc:sldMk cId="4114680084" sldId="279"/>
            <ac:spMk id="15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6.082" v="348" actId="947"/>
          <ac:spMkLst>
            <pc:docMk/>
            <pc:sldMk cId="4114680084" sldId="279"/>
            <ac:spMk id="16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6.098" v="352" actId="947"/>
          <ac:spMkLst>
            <pc:docMk/>
            <pc:sldMk cId="4114680084" sldId="279"/>
            <ac:spMk id="17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6.300" v="404" actId="947"/>
          <ac:spMkLst>
            <pc:docMk/>
            <pc:sldMk cId="4114680084" sldId="279"/>
            <ac:spMk id="24" creationId="{716B3D2F-390A-4016-8E86-B77DD5E43194}"/>
          </ac:spMkLst>
        </pc:spChg>
        <pc:spChg chg="mod">
          <ac:chgData name="Soleil Yi" userId="c719b956-004a-4243-81dc-14be649b7814" providerId="ADAL" clId="{62ECF754-0E6C-40E8-9C10-D9CC518B6798}" dt="2022-09-14T00:48:56.314" v="408" actId="947"/>
          <ac:spMkLst>
            <pc:docMk/>
            <pc:sldMk cId="4114680084" sldId="279"/>
            <ac:spMk id="25" creationId="{716B3D2F-390A-4016-8E86-B77DD5E43194}"/>
          </ac:spMkLst>
        </pc:spChg>
        <pc:spChg chg="mod">
          <ac:chgData name="Soleil Yi" userId="c719b956-004a-4243-81dc-14be649b7814" providerId="ADAL" clId="{62ECF754-0E6C-40E8-9C10-D9CC518B6798}" dt="2022-09-14T00:48:56.328" v="412" actId="947"/>
          <ac:spMkLst>
            <pc:docMk/>
            <pc:sldMk cId="4114680084" sldId="279"/>
            <ac:spMk id="26" creationId="{716B3D2F-390A-4016-8E86-B77DD5E43194}"/>
          </ac:spMkLst>
        </pc:spChg>
        <pc:spChg chg="mod">
          <ac:chgData name="Soleil Yi" userId="c719b956-004a-4243-81dc-14be649b7814" providerId="ADAL" clId="{62ECF754-0E6C-40E8-9C10-D9CC518B6798}" dt="2022-09-14T00:48:56.342" v="416" actId="947"/>
          <ac:spMkLst>
            <pc:docMk/>
            <pc:sldMk cId="4114680084" sldId="279"/>
            <ac:spMk id="27" creationId="{716B3D2F-390A-4016-8E86-B77DD5E43194}"/>
          </ac:spMkLst>
        </pc:spChg>
        <pc:spChg chg="mod">
          <ac:chgData name="Soleil Yi" userId="c719b956-004a-4243-81dc-14be649b7814" providerId="ADAL" clId="{62ECF754-0E6C-40E8-9C10-D9CC518B6798}" dt="2022-09-14T00:48:56.356" v="420" actId="947"/>
          <ac:spMkLst>
            <pc:docMk/>
            <pc:sldMk cId="4114680084" sldId="279"/>
            <ac:spMk id="28" creationId="{716B3D2F-390A-4016-8E86-B77DD5E43194}"/>
          </ac:spMkLst>
        </pc:spChg>
        <pc:spChg chg="mod">
          <ac:chgData name="Soleil Yi" userId="c719b956-004a-4243-81dc-14be649b7814" providerId="ADAL" clId="{62ECF754-0E6C-40E8-9C10-D9CC518B6798}" dt="2022-09-14T00:48:56.369" v="424" actId="947"/>
          <ac:spMkLst>
            <pc:docMk/>
            <pc:sldMk cId="4114680084" sldId="279"/>
            <ac:spMk id="29" creationId="{716B3D2F-390A-4016-8E86-B77DD5E43194}"/>
          </ac:spMkLst>
        </pc:spChg>
        <pc:spChg chg="mod">
          <ac:chgData name="Soleil Yi" userId="c719b956-004a-4243-81dc-14be649b7814" providerId="ADAL" clId="{62ECF754-0E6C-40E8-9C10-D9CC518B6798}" dt="2022-09-14T00:48:56.383" v="428" actId="947"/>
          <ac:spMkLst>
            <pc:docMk/>
            <pc:sldMk cId="4114680084" sldId="279"/>
            <ac:spMk id="30" creationId="{716B3D2F-390A-4016-8E86-B77DD5E43194}"/>
          </ac:spMkLst>
        </pc:spChg>
        <pc:spChg chg="mod">
          <ac:chgData name="Soleil Yi" userId="c719b956-004a-4243-81dc-14be649b7814" providerId="ADAL" clId="{62ECF754-0E6C-40E8-9C10-D9CC518B6798}" dt="2022-09-14T00:48:56.406" v="432" actId="947"/>
          <ac:spMkLst>
            <pc:docMk/>
            <pc:sldMk cId="4114680084" sldId="279"/>
            <ac:spMk id="31" creationId="{716B3D2F-390A-4016-8E86-B77DD5E43194}"/>
          </ac:spMkLst>
        </pc:spChg>
        <pc:spChg chg="mod">
          <ac:chgData name="Soleil Yi" userId="c719b956-004a-4243-81dc-14be649b7814" providerId="ADAL" clId="{62ECF754-0E6C-40E8-9C10-D9CC518B6798}" dt="2022-09-14T00:48:56.429" v="436" actId="947"/>
          <ac:spMkLst>
            <pc:docMk/>
            <pc:sldMk cId="4114680084" sldId="279"/>
            <ac:spMk id="32" creationId="{716B3D2F-390A-4016-8E86-B77DD5E43194}"/>
          </ac:spMkLst>
        </pc:spChg>
        <pc:spChg chg="mod">
          <ac:chgData name="Soleil Yi" userId="c719b956-004a-4243-81dc-14be649b7814" providerId="ADAL" clId="{62ECF754-0E6C-40E8-9C10-D9CC518B6798}" dt="2022-09-14T00:48:56.454" v="440" actId="947"/>
          <ac:spMkLst>
            <pc:docMk/>
            <pc:sldMk cId="4114680084" sldId="279"/>
            <ac:spMk id="33" creationId="{716B3D2F-390A-4016-8E86-B77DD5E43194}"/>
          </ac:spMkLst>
        </pc:spChg>
        <pc:spChg chg="mod">
          <ac:chgData name="Soleil Yi" userId="c719b956-004a-4243-81dc-14be649b7814" providerId="ADAL" clId="{62ECF754-0E6C-40E8-9C10-D9CC518B6798}" dt="2022-09-14T00:48:56.504" v="444" actId="947"/>
          <ac:spMkLst>
            <pc:docMk/>
            <pc:sldMk cId="4114680084" sldId="279"/>
            <ac:spMk id="34" creationId="{716B3D2F-390A-4016-8E86-B77DD5E43194}"/>
          </ac:spMkLst>
        </pc:spChg>
        <pc:spChg chg="mod">
          <ac:chgData name="Soleil Yi" userId="c719b956-004a-4243-81dc-14be649b7814" providerId="ADAL" clId="{62ECF754-0E6C-40E8-9C10-D9CC518B6798}" dt="2022-09-14T00:48:56.565" v="448" actId="947"/>
          <ac:spMkLst>
            <pc:docMk/>
            <pc:sldMk cId="4114680084" sldId="279"/>
            <ac:spMk id="35" creationId="{716B3D2F-390A-4016-8E86-B77DD5E43194}"/>
          </ac:spMkLst>
        </pc:spChg>
        <pc:spChg chg="mod">
          <ac:chgData name="Soleil Yi" userId="c719b956-004a-4243-81dc-14be649b7814" providerId="ADAL" clId="{62ECF754-0E6C-40E8-9C10-D9CC518B6798}" dt="2022-09-14T00:48:56.271" v="396" actId="947"/>
          <ac:spMkLst>
            <pc:docMk/>
            <pc:sldMk cId="4114680084" sldId="279"/>
            <ac:spMk id="36" creationId="{0BC82D2F-D613-47FC-97CF-B7B35B44E7D0}"/>
          </ac:spMkLst>
        </pc:spChg>
        <pc:spChg chg="mod">
          <ac:chgData name="Soleil Yi" userId="c719b956-004a-4243-81dc-14be649b7814" providerId="ADAL" clId="{62ECF754-0E6C-40E8-9C10-D9CC518B6798}" dt="2022-09-14T00:48:56.287" v="400" actId="947"/>
          <ac:spMkLst>
            <pc:docMk/>
            <pc:sldMk cId="4114680084" sldId="279"/>
            <ac:spMk id="37" creationId="{32C47EEC-182A-4B4B-9247-FEBED206C96E}"/>
          </ac:spMkLst>
        </pc:spChg>
        <pc:spChg chg="mod">
          <ac:chgData name="Soleil Yi" userId="c719b956-004a-4243-81dc-14be649b7814" providerId="ADAL" clId="{62ECF754-0E6C-40E8-9C10-D9CC518B6798}" dt="2022-09-14T00:48:56.239" v="388" actId="947"/>
          <ac:spMkLst>
            <pc:docMk/>
            <pc:sldMk cId="4114680084" sldId="279"/>
            <ac:spMk id="38" creationId="{AD0F5F2F-9FAB-4933-B66F-E3FD601041C2}"/>
          </ac:spMkLst>
        </pc:spChg>
        <pc:spChg chg="mod">
          <ac:chgData name="Soleil Yi" userId="c719b956-004a-4243-81dc-14be649b7814" providerId="ADAL" clId="{62ECF754-0E6C-40E8-9C10-D9CC518B6798}" dt="2022-09-14T00:48:56.256" v="392" actId="947"/>
          <ac:spMkLst>
            <pc:docMk/>
            <pc:sldMk cId="4114680084" sldId="279"/>
            <ac:spMk id="39" creationId="{2ACFBDB4-D15A-46E2-BB81-12E9D967D69A}"/>
          </ac:spMkLst>
        </pc:spChg>
        <pc:spChg chg="mod">
          <ac:chgData name="Soleil Yi" userId="c719b956-004a-4243-81dc-14be649b7814" providerId="ADAL" clId="{62ECF754-0E6C-40E8-9C10-D9CC518B6798}" dt="2022-09-14T00:48:56.208" v="380" actId="947"/>
          <ac:spMkLst>
            <pc:docMk/>
            <pc:sldMk cId="4114680084" sldId="279"/>
            <ac:spMk id="40" creationId="{1845C12D-23A2-4C12-ACA7-7186719A3114}"/>
          </ac:spMkLst>
        </pc:spChg>
        <pc:spChg chg="mod">
          <ac:chgData name="Soleil Yi" userId="c719b956-004a-4243-81dc-14be649b7814" providerId="ADAL" clId="{62ECF754-0E6C-40E8-9C10-D9CC518B6798}" dt="2022-09-14T00:48:56.224" v="384" actId="947"/>
          <ac:spMkLst>
            <pc:docMk/>
            <pc:sldMk cId="4114680084" sldId="279"/>
            <ac:spMk id="41" creationId="{BD0A9B74-9318-49EB-A332-8B3406F94C12}"/>
          </ac:spMkLst>
        </pc:spChg>
        <pc:spChg chg="mod">
          <ac:chgData name="Soleil Yi" userId="c719b956-004a-4243-81dc-14be649b7814" providerId="ADAL" clId="{62ECF754-0E6C-40E8-9C10-D9CC518B6798}" dt="2022-09-14T00:48:56.177" v="372" actId="947"/>
          <ac:spMkLst>
            <pc:docMk/>
            <pc:sldMk cId="4114680084" sldId="279"/>
            <ac:spMk id="42" creationId="{B5C610FE-BDBE-4765-A324-F8FFE520D2D9}"/>
          </ac:spMkLst>
        </pc:spChg>
        <pc:spChg chg="mod">
          <ac:chgData name="Soleil Yi" userId="c719b956-004a-4243-81dc-14be649b7814" providerId="ADAL" clId="{62ECF754-0E6C-40E8-9C10-D9CC518B6798}" dt="2022-09-14T00:48:56.191" v="376" actId="947"/>
          <ac:spMkLst>
            <pc:docMk/>
            <pc:sldMk cId="4114680084" sldId="279"/>
            <ac:spMk id="43" creationId="{82ECF60D-67EB-4F91-9B88-9FDCB29C63D5}"/>
          </ac:spMkLst>
        </pc:spChg>
        <pc:spChg chg="mod">
          <ac:chgData name="Soleil Yi" userId="c719b956-004a-4243-81dc-14be649b7814" providerId="ADAL" clId="{62ECF754-0E6C-40E8-9C10-D9CC518B6798}" dt="2022-09-14T00:48:56.147" v="364" actId="947"/>
          <ac:spMkLst>
            <pc:docMk/>
            <pc:sldMk cId="4114680084" sldId="279"/>
            <ac:spMk id="44" creationId="{F19AB6ED-E19C-4BD1-B944-054677074EE8}"/>
          </ac:spMkLst>
        </pc:spChg>
        <pc:spChg chg="mod">
          <ac:chgData name="Soleil Yi" userId="c719b956-004a-4243-81dc-14be649b7814" providerId="ADAL" clId="{62ECF754-0E6C-40E8-9C10-D9CC518B6798}" dt="2022-09-14T00:48:56.161" v="368" actId="947"/>
          <ac:spMkLst>
            <pc:docMk/>
            <pc:sldMk cId="4114680084" sldId="279"/>
            <ac:spMk id="45" creationId="{1CA32180-4604-4C25-A79D-7FFAEC7A9C30}"/>
          </ac:spMkLst>
        </pc:spChg>
        <pc:spChg chg="mod">
          <ac:chgData name="Soleil Yi" userId="c719b956-004a-4243-81dc-14be649b7814" providerId="ADAL" clId="{62ECF754-0E6C-40E8-9C10-D9CC518B6798}" dt="2022-09-14T00:48:56.114" v="356" actId="947"/>
          <ac:spMkLst>
            <pc:docMk/>
            <pc:sldMk cId="4114680084" sldId="279"/>
            <ac:spMk id="46" creationId="{8163245C-B7EA-4976-89A5-0DBF0C461BA6}"/>
          </ac:spMkLst>
        </pc:spChg>
        <pc:spChg chg="mod">
          <ac:chgData name="Soleil Yi" userId="c719b956-004a-4243-81dc-14be649b7814" providerId="ADAL" clId="{62ECF754-0E6C-40E8-9C10-D9CC518B6798}" dt="2022-09-14T00:48:56.131" v="360" actId="947"/>
          <ac:spMkLst>
            <pc:docMk/>
            <pc:sldMk cId="4114680084" sldId="279"/>
            <ac:spMk id="47" creationId="{0B164B65-32ED-4383-9E30-2BB7767DB2E4}"/>
          </ac:spMkLst>
        </pc:spChg>
      </pc:sldChg>
      <pc:sldChg chg="modSp mod">
        <pc:chgData name="Soleil Yi" userId="c719b956-004a-4243-81dc-14be649b7814" providerId="ADAL" clId="{62ECF754-0E6C-40E8-9C10-D9CC518B6798}" dt="2022-09-14T00:48:57.332" v="544" actId="947"/>
        <pc:sldMkLst>
          <pc:docMk/>
          <pc:sldMk cId="662539263" sldId="280"/>
        </pc:sldMkLst>
        <pc:spChg chg="mod">
          <ac:chgData name="Soleil Yi" userId="c719b956-004a-4243-81dc-14be649b7814" providerId="ADAL" clId="{62ECF754-0E6C-40E8-9C10-D9CC518B6798}" dt="2022-09-14T00:48:56.586" v="452" actId="947"/>
          <ac:spMkLst>
            <pc:docMk/>
            <pc:sldMk cId="662539263" sldId="280"/>
            <ac:spMk id="2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6.699" v="464" actId="947"/>
          <ac:spMkLst>
            <pc:docMk/>
            <pc:sldMk cId="662539263" sldId="280"/>
            <ac:spMk id="3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6.698" v="463" actId="947"/>
          <ac:spMkLst>
            <pc:docMk/>
            <pc:sldMk cId="662539263" sldId="280"/>
            <ac:spMk id="4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6.691" v="462" actId="947"/>
          <ac:spMkLst>
            <pc:docMk/>
            <pc:sldMk cId="662539263" sldId="280"/>
            <ac:spMk id="6" creationId="{C4DEE7B5-B7D3-4B78-9276-2925B217FCF7}"/>
          </ac:spMkLst>
        </pc:spChg>
        <pc:spChg chg="mod">
          <ac:chgData name="Soleil Yi" userId="c719b956-004a-4243-81dc-14be649b7814" providerId="ADAL" clId="{62ECF754-0E6C-40E8-9C10-D9CC518B6798}" dt="2022-09-14T00:48:57.236" v="532" actId="947"/>
          <ac:spMkLst>
            <pc:docMk/>
            <pc:sldMk cId="662539263" sldId="280"/>
            <ac:spMk id="11" creationId="{B3D7BBED-BE23-48A9-9D8B-528346BCB675}"/>
          </ac:spMkLst>
        </pc:spChg>
        <pc:spChg chg="mod">
          <ac:chgData name="Soleil Yi" userId="c719b956-004a-4243-81dc-14be649b7814" providerId="ADAL" clId="{62ECF754-0E6C-40E8-9C10-D9CC518B6798}" dt="2022-09-14T00:48:57.268" v="536" actId="947"/>
          <ac:spMkLst>
            <pc:docMk/>
            <pc:sldMk cId="662539263" sldId="280"/>
            <ac:spMk id="12" creationId="{16C480F7-E5DC-4180-B6F0-A63C0E9DB650}"/>
          </ac:spMkLst>
        </pc:spChg>
        <pc:spChg chg="mod">
          <ac:chgData name="Soleil Yi" userId="c719b956-004a-4243-81dc-14be649b7814" providerId="ADAL" clId="{62ECF754-0E6C-40E8-9C10-D9CC518B6798}" dt="2022-09-14T00:48:57.298" v="540" actId="947"/>
          <ac:spMkLst>
            <pc:docMk/>
            <pc:sldMk cId="662539263" sldId="280"/>
            <ac:spMk id="13" creationId="{DA5BB813-9808-469C-9BD1-7BBE7C1B2B99}"/>
          </ac:spMkLst>
        </pc:spChg>
        <pc:spChg chg="mod">
          <ac:chgData name="Soleil Yi" userId="c719b956-004a-4243-81dc-14be649b7814" providerId="ADAL" clId="{62ECF754-0E6C-40E8-9C10-D9CC518B6798}" dt="2022-09-14T00:48:57.332" v="544" actId="947"/>
          <ac:spMkLst>
            <pc:docMk/>
            <pc:sldMk cId="662539263" sldId="280"/>
            <ac:spMk id="14" creationId="{25B0D42F-B669-4D7D-BEDD-C31E518CBA8A}"/>
          </ac:spMkLst>
        </pc:spChg>
        <pc:spChg chg="mod">
          <ac:chgData name="Soleil Yi" userId="c719b956-004a-4243-81dc-14be649b7814" providerId="ADAL" clId="{62ECF754-0E6C-40E8-9C10-D9CC518B6798}" dt="2022-09-14T00:48:57.173" v="524"/>
          <ac:spMkLst>
            <pc:docMk/>
            <pc:sldMk cId="662539263" sldId="280"/>
            <ac:spMk id="16" creationId="{217FEAEB-63DE-4449-8AAE-3F24883A39B5}"/>
          </ac:spMkLst>
        </pc:spChg>
        <pc:spChg chg="mod">
          <ac:chgData name="Soleil Yi" userId="c719b956-004a-4243-81dc-14be649b7814" providerId="ADAL" clId="{62ECF754-0E6C-40E8-9C10-D9CC518B6798}" dt="2022-09-14T00:48:57.206" v="528"/>
          <ac:spMkLst>
            <pc:docMk/>
            <pc:sldMk cId="662539263" sldId="280"/>
            <ac:spMk id="17" creationId="{84E21356-9EDD-4973-B3DA-B52F1637288E}"/>
          </ac:spMkLst>
        </pc:spChg>
        <pc:spChg chg="mod">
          <ac:chgData name="Soleil Yi" userId="c719b956-004a-4243-81dc-14be649b7814" providerId="ADAL" clId="{62ECF754-0E6C-40E8-9C10-D9CC518B6798}" dt="2022-09-14T00:48:57.116" v="516" actId="947"/>
          <ac:spMkLst>
            <pc:docMk/>
            <pc:sldMk cId="662539263" sldId="280"/>
            <ac:spMk id="18" creationId="{B945DC12-2DAD-4B27-B5C7-992B649295A6}"/>
          </ac:spMkLst>
        </pc:spChg>
        <pc:spChg chg="mod">
          <ac:chgData name="Soleil Yi" userId="c719b956-004a-4243-81dc-14be649b7814" providerId="ADAL" clId="{62ECF754-0E6C-40E8-9C10-D9CC518B6798}" dt="2022-09-14T00:48:57.145" v="520"/>
          <ac:spMkLst>
            <pc:docMk/>
            <pc:sldMk cId="662539263" sldId="280"/>
            <ac:spMk id="19" creationId="{5A54573D-C9A8-4D6F-9D65-F421881CCEF3}"/>
          </ac:spMkLst>
        </pc:spChg>
        <pc:spChg chg="mod">
          <ac:chgData name="Soleil Yi" userId="c719b956-004a-4243-81dc-14be649b7814" providerId="ADAL" clId="{62ECF754-0E6C-40E8-9C10-D9CC518B6798}" dt="2022-09-14T00:48:57.052" v="508"/>
          <ac:spMkLst>
            <pc:docMk/>
            <pc:sldMk cId="662539263" sldId="280"/>
            <ac:spMk id="21" creationId="{7D7AF400-D16A-4A54-8243-6B55A809A1DC}"/>
          </ac:spMkLst>
        </pc:spChg>
        <pc:spChg chg="mod">
          <ac:chgData name="Soleil Yi" userId="c719b956-004a-4243-81dc-14be649b7814" providerId="ADAL" clId="{62ECF754-0E6C-40E8-9C10-D9CC518B6798}" dt="2022-09-14T00:48:57.085" v="512"/>
          <ac:spMkLst>
            <pc:docMk/>
            <pc:sldMk cId="662539263" sldId="280"/>
            <ac:spMk id="22" creationId="{5FC67E34-4EE1-4BB8-862B-18C05F2D9DB6}"/>
          </ac:spMkLst>
        </pc:spChg>
        <pc:spChg chg="mod">
          <ac:chgData name="Soleil Yi" userId="c719b956-004a-4243-81dc-14be649b7814" providerId="ADAL" clId="{62ECF754-0E6C-40E8-9C10-D9CC518B6798}" dt="2022-09-14T00:48:56.988" v="500" actId="947"/>
          <ac:spMkLst>
            <pc:docMk/>
            <pc:sldMk cId="662539263" sldId="280"/>
            <ac:spMk id="23" creationId="{2721A403-55FE-4B95-8DB6-4BFC1B305D37}"/>
          </ac:spMkLst>
        </pc:spChg>
        <pc:spChg chg="mod">
          <ac:chgData name="Soleil Yi" userId="c719b956-004a-4243-81dc-14be649b7814" providerId="ADAL" clId="{62ECF754-0E6C-40E8-9C10-D9CC518B6798}" dt="2022-09-14T00:48:57.020" v="504"/>
          <ac:spMkLst>
            <pc:docMk/>
            <pc:sldMk cId="662539263" sldId="280"/>
            <ac:spMk id="24" creationId="{1A0CE65E-A5CF-4902-AA9A-24B4CEAE94A6}"/>
          </ac:spMkLst>
        </pc:spChg>
        <pc:spChg chg="mod">
          <ac:chgData name="Soleil Yi" userId="c719b956-004a-4243-81dc-14be649b7814" providerId="ADAL" clId="{62ECF754-0E6C-40E8-9C10-D9CC518B6798}" dt="2022-09-14T00:48:56.918" v="492"/>
          <ac:spMkLst>
            <pc:docMk/>
            <pc:sldMk cId="662539263" sldId="280"/>
            <ac:spMk id="26" creationId="{DA36A495-CEF9-441C-8AD3-990783832F5B}"/>
          </ac:spMkLst>
        </pc:spChg>
        <pc:spChg chg="mod">
          <ac:chgData name="Soleil Yi" userId="c719b956-004a-4243-81dc-14be649b7814" providerId="ADAL" clId="{62ECF754-0E6C-40E8-9C10-D9CC518B6798}" dt="2022-09-14T00:48:56.956" v="496"/>
          <ac:spMkLst>
            <pc:docMk/>
            <pc:sldMk cId="662539263" sldId="280"/>
            <ac:spMk id="27" creationId="{7F18D395-4AC7-426E-897E-25C60C1406CB}"/>
          </ac:spMkLst>
        </pc:spChg>
        <pc:spChg chg="mod">
          <ac:chgData name="Soleil Yi" userId="c719b956-004a-4243-81dc-14be649b7814" providerId="ADAL" clId="{62ECF754-0E6C-40E8-9C10-D9CC518B6798}" dt="2022-09-14T00:48:56.853" v="484" actId="947"/>
          <ac:spMkLst>
            <pc:docMk/>
            <pc:sldMk cId="662539263" sldId="280"/>
            <ac:spMk id="28" creationId="{1C3B51D6-6B16-41CB-ACD9-FED92C38CB00}"/>
          </ac:spMkLst>
        </pc:spChg>
        <pc:spChg chg="mod">
          <ac:chgData name="Soleil Yi" userId="c719b956-004a-4243-81dc-14be649b7814" providerId="ADAL" clId="{62ECF754-0E6C-40E8-9C10-D9CC518B6798}" dt="2022-09-14T00:48:56.885" v="488"/>
          <ac:spMkLst>
            <pc:docMk/>
            <pc:sldMk cId="662539263" sldId="280"/>
            <ac:spMk id="29" creationId="{C4522186-447F-4C30-A420-9D9F8408009D}"/>
          </ac:spMkLst>
        </pc:spChg>
        <pc:spChg chg="mod">
          <ac:chgData name="Soleil Yi" userId="c719b956-004a-4243-81dc-14be649b7814" providerId="ADAL" clId="{62ECF754-0E6C-40E8-9C10-D9CC518B6798}" dt="2022-09-14T00:48:56.788" v="476"/>
          <ac:spMkLst>
            <pc:docMk/>
            <pc:sldMk cId="662539263" sldId="280"/>
            <ac:spMk id="31" creationId="{E4A91C73-1604-4B01-8728-6E899BAA5864}"/>
          </ac:spMkLst>
        </pc:spChg>
        <pc:spChg chg="mod">
          <ac:chgData name="Soleil Yi" userId="c719b956-004a-4243-81dc-14be649b7814" providerId="ADAL" clId="{62ECF754-0E6C-40E8-9C10-D9CC518B6798}" dt="2022-09-14T00:48:56.820" v="480"/>
          <ac:spMkLst>
            <pc:docMk/>
            <pc:sldMk cId="662539263" sldId="280"/>
            <ac:spMk id="32" creationId="{A68AADD2-592A-4430-9323-A4A063F55D6E}"/>
          </ac:spMkLst>
        </pc:spChg>
        <pc:spChg chg="mod">
          <ac:chgData name="Soleil Yi" userId="c719b956-004a-4243-81dc-14be649b7814" providerId="ADAL" clId="{62ECF754-0E6C-40E8-9C10-D9CC518B6798}" dt="2022-09-14T00:48:56.728" v="468" actId="947"/>
          <ac:spMkLst>
            <pc:docMk/>
            <pc:sldMk cId="662539263" sldId="280"/>
            <ac:spMk id="33" creationId="{9F844233-C122-4912-B453-A2ED236B2275}"/>
          </ac:spMkLst>
        </pc:spChg>
        <pc:spChg chg="mod">
          <ac:chgData name="Soleil Yi" userId="c719b956-004a-4243-81dc-14be649b7814" providerId="ADAL" clId="{62ECF754-0E6C-40E8-9C10-D9CC518B6798}" dt="2022-09-14T00:48:56.760" v="472"/>
          <ac:spMkLst>
            <pc:docMk/>
            <pc:sldMk cId="662539263" sldId="280"/>
            <ac:spMk id="34" creationId="{8FDF85AD-B087-4815-B404-A01733DBB786}"/>
          </ac:spMkLst>
        </pc:spChg>
      </pc:sldChg>
      <pc:sldChg chg="modSp mod">
        <pc:chgData name="Soleil Yi" userId="c719b956-004a-4243-81dc-14be649b7814" providerId="ADAL" clId="{62ECF754-0E6C-40E8-9C10-D9CC518B6798}" dt="2022-09-14T00:48:58.211" v="644" actId="947"/>
        <pc:sldMkLst>
          <pc:docMk/>
          <pc:sldMk cId="364191961" sldId="281"/>
        </pc:sldMkLst>
        <pc:spChg chg="mod">
          <ac:chgData name="Soleil Yi" userId="c719b956-004a-4243-81dc-14be649b7814" providerId="ADAL" clId="{62ECF754-0E6C-40E8-9C10-D9CC518B6798}" dt="2022-09-14T00:48:57.451" v="560" actId="947"/>
          <ac:spMkLst>
            <pc:docMk/>
            <pc:sldMk cId="364191961" sldId="281"/>
            <ac:spMk id="2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7.527" v="572" actId="947"/>
          <ac:spMkLst>
            <pc:docMk/>
            <pc:sldMk cId="364191961" sldId="281"/>
            <ac:spMk id="3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7.523" v="571" actId="947"/>
          <ac:spMkLst>
            <pc:docMk/>
            <pc:sldMk cId="364191961" sldId="281"/>
            <ac:spMk id="4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7.521" v="570" actId="947"/>
          <ac:spMkLst>
            <pc:docMk/>
            <pc:sldMk cId="364191961" sldId="281"/>
            <ac:spMk id="6" creationId="{8316902B-9F15-4AE4-BBCF-5E1CB0686F18}"/>
          </ac:spMkLst>
        </pc:spChg>
        <pc:spChg chg="mod">
          <ac:chgData name="Soleil Yi" userId="c719b956-004a-4243-81dc-14be649b7814" providerId="ADAL" clId="{62ECF754-0E6C-40E8-9C10-D9CC518B6798}" dt="2022-09-14T00:48:57.553" v="576"/>
          <ac:spMkLst>
            <pc:docMk/>
            <pc:sldMk cId="364191961" sldId="281"/>
            <ac:spMk id="7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7.596" v="580" actId="947"/>
          <ac:spMkLst>
            <pc:docMk/>
            <pc:sldMk cId="364191961" sldId="281"/>
            <ac:spMk id="8" creationId="{8316902B-9F15-4AE4-BBCF-5E1CB0686F18}"/>
          </ac:spMkLst>
        </pc:spChg>
        <pc:spChg chg="mod">
          <ac:chgData name="Soleil Yi" userId="c719b956-004a-4243-81dc-14be649b7814" providerId="ADAL" clId="{62ECF754-0E6C-40E8-9C10-D9CC518B6798}" dt="2022-09-14T00:48:57.637" v="584" actId="947"/>
          <ac:spMkLst>
            <pc:docMk/>
            <pc:sldMk cId="364191961" sldId="281"/>
            <ac:spMk id="9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7.680" v="588" actId="947"/>
          <ac:spMkLst>
            <pc:docMk/>
            <pc:sldMk cId="364191961" sldId="281"/>
            <ac:spMk id="10" creationId="{8316902B-9F15-4AE4-BBCF-5E1CB0686F18}"/>
          </ac:spMkLst>
        </pc:spChg>
        <pc:spChg chg="mod">
          <ac:chgData name="Soleil Yi" userId="c719b956-004a-4243-81dc-14be649b7814" providerId="ADAL" clId="{62ECF754-0E6C-40E8-9C10-D9CC518B6798}" dt="2022-09-14T00:48:57.713" v="592"/>
          <ac:spMkLst>
            <pc:docMk/>
            <pc:sldMk cId="364191961" sldId="281"/>
            <ac:spMk id="11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7.754" v="596" actId="947"/>
          <ac:spMkLst>
            <pc:docMk/>
            <pc:sldMk cId="364191961" sldId="281"/>
            <ac:spMk id="12" creationId="{8316902B-9F15-4AE4-BBCF-5E1CB0686F18}"/>
          </ac:spMkLst>
        </pc:spChg>
        <pc:spChg chg="mod">
          <ac:chgData name="Soleil Yi" userId="c719b956-004a-4243-81dc-14be649b7814" providerId="ADAL" clId="{62ECF754-0E6C-40E8-9C10-D9CC518B6798}" dt="2022-09-14T00:48:57.790" v="600" actId="947"/>
          <ac:spMkLst>
            <pc:docMk/>
            <pc:sldMk cId="364191961" sldId="281"/>
            <ac:spMk id="13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7.823" v="604" actId="947"/>
          <ac:spMkLst>
            <pc:docMk/>
            <pc:sldMk cId="364191961" sldId="281"/>
            <ac:spMk id="14" creationId="{8316902B-9F15-4AE4-BBCF-5E1CB0686F18}"/>
          </ac:spMkLst>
        </pc:spChg>
        <pc:spChg chg="mod">
          <ac:chgData name="Soleil Yi" userId="c719b956-004a-4243-81dc-14be649b7814" providerId="ADAL" clId="{62ECF754-0E6C-40E8-9C10-D9CC518B6798}" dt="2022-09-14T00:48:57.857" v="608" actId="947"/>
          <ac:spMkLst>
            <pc:docMk/>
            <pc:sldMk cId="364191961" sldId="281"/>
            <ac:spMk id="15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7.897" v="612" actId="947"/>
          <ac:spMkLst>
            <pc:docMk/>
            <pc:sldMk cId="364191961" sldId="281"/>
            <ac:spMk id="16" creationId="{8316902B-9F15-4AE4-BBCF-5E1CB0686F18}"/>
          </ac:spMkLst>
        </pc:spChg>
        <pc:spChg chg="mod">
          <ac:chgData name="Soleil Yi" userId="c719b956-004a-4243-81dc-14be649b7814" providerId="ADAL" clId="{62ECF754-0E6C-40E8-9C10-D9CC518B6798}" dt="2022-09-14T00:48:57.928" v="616" actId="947"/>
          <ac:spMkLst>
            <pc:docMk/>
            <pc:sldMk cId="364191961" sldId="281"/>
            <ac:spMk id="17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8.211" v="644" actId="947"/>
          <ac:spMkLst>
            <pc:docMk/>
            <pc:sldMk cId="364191961" sldId="281"/>
            <ac:spMk id="21" creationId="{64DC2847-DA63-4AF3-B015-B0D0DC7F9B4A}"/>
          </ac:spMkLst>
        </pc:spChg>
        <pc:spChg chg="mod">
          <ac:chgData name="Soleil Yi" userId="c719b956-004a-4243-81dc-14be649b7814" providerId="ADAL" clId="{62ECF754-0E6C-40E8-9C10-D9CC518B6798}" dt="2022-09-14T00:48:58.070" v="632" actId="947"/>
          <ac:spMkLst>
            <pc:docMk/>
            <pc:sldMk cId="364191961" sldId="281"/>
            <ac:spMk id="22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8.111" v="636" actId="947"/>
          <ac:spMkLst>
            <pc:docMk/>
            <pc:sldMk cId="364191961" sldId="281"/>
            <ac:spMk id="23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8.167" v="640" actId="947"/>
          <ac:spMkLst>
            <pc:docMk/>
            <pc:sldMk cId="364191961" sldId="281"/>
            <ac:spMk id="24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7.973" v="620" actId="947"/>
          <ac:spMkLst>
            <pc:docMk/>
            <pc:sldMk cId="364191961" sldId="281"/>
            <ac:spMk id="25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8.006" v="624" actId="947"/>
          <ac:spMkLst>
            <pc:docMk/>
            <pc:sldMk cId="364191961" sldId="281"/>
            <ac:spMk id="26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8.039" v="628" actId="947"/>
          <ac:spMkLst>
            <pc:docMk/>
            <pc:sldMk cId="364191961" sldId="281"/>
            <ac:spMk id="27" creationId="{00000000-0000-0000-0000-000000000000}"/>
          </ac:spMkLst>
        </pc:spChg>
      </pc:sldChg>
      <pc:sldChg chg="modSp mod">
        <pc:chgData name="Soleil Yi" userId="c719b956-004a-4243-81dc-14be649b7814" providerId="ADAL" clId="{62ECF754-0E6C-40E8-9C10-D9CC518B6798}" dt="2022-09-14T00:48:59.374" v="748"/>
        <pc:sldMkLst>
          <pc:docMk/>
          <pc:sldMk cId="1699863818" sldId="282"/>
        </pc:sldMkLst>
        <pc:spChg chg="mod">
          <ac:chgData name="Soleil Yi" userId="c719b956-004a-4243-81dc-14be649b7814" providerId="ADAL" clId="{62ECF754-0E6C-40E8-9C10-D9CC518B6798}" dt="2022-09-14T00:48:58.231" v="648" actId="947"/>
          <ac:spMkLst>
            <pc:docMk/>
            <pc:sldMk cId="1699863818" sldId="282"/>
            <ac:spMk id="2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8.340" v="659" actId="947"/>
          <ac:spMkLst>
            <pc:docMk/>
            <pc:sldMk cId="1699863818" sldId="282"/>
            <ac:spMk id="3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8.343" v="660" actId="947"/>
          <ac:spMkLst>
            <pc:docMk/>
            <pc:sldMk cId="1699863818" sldId="282"/>
            <ac:spMk id="4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9.189" v="724" actId="947"/>
          <ac:spMkLst>
            <pc:docMk/>
            <pc:sldMk cId="1699863818" sldId="282"/>
            <ac:spMk id="10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9.221" v="728" actId="947"/>
          <ac:spMkLst>
            <pc:docMk/>
            <pc:sldMk cId="1699863818" sldId="282"/>
            <ac:spMk id="11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9.255" v="732" actId="947"/>
          <ac:spMkLst>
            <pc:docMk/>
            <pc:sldMk cId="1699863818" sldId="282"/>
            <ac:spMk id="12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9.285" v="736" actId="947"/>
          <ac:spMkLst>
            <pc:docMk/>
            <pc:sldMk cId="1699863818" sldId="282"/>
            <ac:spMk id="13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9.316" v="740" actId="947"/>
          <ac:spMkLst>
            <pc:docMk/>
            <pc:sldMk cId="1699863818" sldId="282"/>
            <ac:spMk id="14" creationId="{B43B4A9F-0854-41B2-8EA0-9825E45E492B}"/>
          </ac:spMkLst>
        </pc:spChg>
        <pc:spChg chg="mod">
          <ac:chgData name="Soleil Yi" userId="c719b956-004a-4243-81dc-14be649b7814" providerId="ADAL" clId="{62ECF754-0E6C-40E8-9C10-D9CC518B6798}" dt="2022-09-14T00:48:59.347" v="744"/>
          <ac:spMkLst>
            <pc:docMk/>
            <pc:sldMk cId="1699863818" sldId="282"/>
            <ac:spMk id="16" creationId="{43D1CF3A-53DA-4618-B1BC-906EB392FBEE}"/>
          </ac:spMkLst>
        </pc:spChg>
        <pc:spChg chg="mod">
          <ac:chgData name="Soleil Yi" userId="c719b956-004a-4243-81dc-14be649b7814" providerId="ADAL" clId="{62ECF754-0E6C-40E8-9C10-D9CC518B6798}" dt="2022-09-14T00:48:59.374" v="748"/>
          <ac:spMkLst>
            <pc:docMk/>
            <pc:sldMk cId="1699863818" sldId="282"/>
            <ac:spMk id="17" creationId="{A34974BB-8B6D-46D3-993F-36C359440FBE}"/>
          </ac:spMkLst>
        </pc:spChg>
        <pc:spChg chg="mod">
          <ac:chgData name="Soleil Yi" userId="c719b956-004a-4243-81dc-14be649b7814" providerId="ADAL" clId="{62ECF754-0E6C-40E8-9C10-D9CC518B6798}" dt="2022-09-14T00:48:58.818" v="696" actId="947"/>
          <ac:spMkLst>
            <pc:docMk/>
            <pc:sldMk cId="1699863818" sldId="282"/>
            <ac:spMk id="18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8.875" v="700" actId="947"/>
          <ac:spMkLst>
            <pc:docMk/>
            <pc:sldMk cId="1699863818" sldId="282"/>
            <ac:spMk id="19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8.941" v="704" actId="947"/>
          <ac:spMkLst>
            <pc:docMk/>
            <pc:sldMk cId="1699863818" sldId="282"/>
            <ac:spMk id="20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8.979" v="708" actId="947"/>
          <ac:spMkLst>
            <pc:docMk/>
            <pc:sldMk cId="1699863818" sldId="282"/>
            <ac:spMk id="21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9.025" v="712" actId="947"/>
          <ac:spMkLst>
            <pc:docMk/>
            <pc:sldMk cId="1699863818" sldId="282"/>
            <ac:spMk id="22" creationId="{AEB8E933-440A-4D14-8E47-50467A42EDB0}"/>
          </ac:spMkLst>
        </pc:spChg>
        <pc:spChg chg="mod">
          <ac:chgData name="Soleil Yi" userId="c719b956-004a-4243-81dc-14be649b7814" providerId="ADAL" clId="{62ECF754-0E6C-40E8-9C10-D9CC518B6798}" dt="2022-09-14T00:48:59.083" v="716"/>
          <ac:spMkLst>
            <pc:docMk/>
            <pc:sldMk cId="1699863818" sldId="282"/>
            <ac:spMk id="24" creationId="{994F9FB6-1752-496E-B5A4-656F7EFB958D}"/>
          </ac:spMkLst>
        </pc:spChg>
        <pc:spChg chg="mod">
          <ac:chgData name="Soleil Yi" userId="c719b956-004a-4243-81dc-14be649b7814" providerId="ADAL" clId="{62ECF754-0E6C-40E8-9C10-D9CC518B6798}" dt="2022-09-14T00:48:59.137" v="720"/>
          <ac:spMkLst>
            <pc:docMk/>
            <pc:sldMk cId="1699863818" sldId="282"/>
            <ac:spMk id="25" creationId="{138C9BF3-E4D9-493B-AF68-5FDA23015541}"/>
          </ac:spMkLst>
        </pc:spChg>
        <pc:spChg chg="mod">
          <ac:chgData name="Soleil Yi" userId="c719b956-004a-4243-81dc-14be649b7814" providerId="ADAL" clId="{62ECF754-0E6C-40E8-9C10-D9CC518B6798}" dt="2022-09-14T00:48:58.438" v="668" actId="947"/>
          <ac:spMkLst>
            <pc:docMk/>
            <pc:sldMk cId="1699863818" sldId="282"/>
            <ac:spMk id="26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8.491" v="672" actId="947"/>
          <ac:spMkLst>
            <pc:docMk/>
            <pc:sldMk cId="1699863818" sldId="282"/>
            <ac:spMk id="27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8.547" v="676" actId="947"/>
          <ac:spMkLst>
            <pc:docMk/>
            <pc:sldMk cId="1699863818" sldId="282"/>
            <ac:spMk id="28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8.605" v="680" actId="947"/>
          <ac:spMkLst>
            <pc:docMk/>
            <pc:sldMk cId="1699863818" sldId="282"/>
            <ac:spMk id="29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8:58.654" v="684" actId="947"/>
          <ac:spMkLst>
            <pc:docMk/>
            <pc:sldMk cId="1699863818" sldId="282"/>
            <ac:spMk id="30" creationId="{A2DF57C9-6F32-417C-AE51-7E5BC33292C9}"/>
          </ac:spMkLst>
        </pc:spChg>
        <pc:spChg chg="mod">
          <ac:chgData name="Soleil Yi" userId="c719b956-004a-4243-81dc-14be649b7814" providerId="ADAL" clId="{62ECF754-0E6C-40E8-9C10-D9CC518B6798}" dt="2022-09-14T00:48:58.711" v="688"/>
          <ac:spMkLst>
            <pc:docMk/>
            <pc:sldMk cId="1699863818" sldId="282"/>
            <ac:spMk id="32" creationId="{A70B6A9C-E454-42A3-99EF-A99D0DADEFDC}"/>
          </ac:spMkLst>
        </pc:spChg>
        <pc:spChg chg="mod">
          <ac:chgData name="Soleil Yi" userId="c719b956-004a-4243-81dc-14be649b7814" providerId="ADAL" clId="{62ECF754-0E6C-40E8-9C10-D9CC518B6798}" dt="2022-09-14T00:48:58.774" v="692"/>
          <ac:spMkLst>
            <pc:docMk/>
            <pc:sldMk cId="1699863818" sldId="282"/>
            <ac:spMk id="33" creationId="{F261DDCC-7A12-4753-A96D-A66BF6D90F72}"/>
          </ac:spMkLst>
        </pc:spChg>
        <pc:spChg chg="mod">
          <ac:chgData name="Soleil Yi" userId="c719b956-004a-4243-81dc-14be649b7814" providerId="ADAL" clId="{62ECF754-0E6C-40E8-9C10-D9CC518B6798}" dt="2022-09-14T00:48:58.329" v="657" actId="947"/>
          <ac:spMkLst>
            <pc:docMk/>
            <pc:sldMk cId="1699863818" sldId="282"/>
            <ac:spMk id="34" creationId="{1D99C0E4-AEC2-4C3C-8A6D-70F417A1ED04}"/>
          </ac:spMkLst>
        </pc:spChg>
        <pc:spChg chg="mod">
          <ac:chgData name="Soleil Yi" userId="c719b956-004a-4243-81dc-14be649b7814" providerId="ADAL" clId="{62ECF754-0E6C-40E8-9C10-D9CC518B6798}" dt="2022-09-14T00:48:58.381" v="664" actId="947"/>
          <ac:spMkLst>
            <pc:docMk/>
            <pc:sldMk cId="1699863818" sldId="282"/>
            <ac:spMk id="35" creationId="{050CB7EA-030C-49B9-8366-6B1546EDC5A6}"/>
          </ac:spMkLst>
        </pc:spChg>
      </pc:sldChg>
      <pc:sldChg chg="modSp mod">
        <pc:chgData name="Soleil Yi" userId="c719b956-004a-4243-81dc-14be649b7814" providerId="ADAL" clId="{62ECF754-0E6C-40E8-9C10-D9CC518B6798}" dt="2022-09-14T00:49:00.649" v="928"/>
        <pc:sldMkLst>
          <pc:docMk/>
          <pc:sldMk cId="762001100" sldId="283"/>
        </pc:sldMkLst>
        <pc:spChg chg="mod">
          <ac:chgData name="Soleil Yi" userId="c719b956-004a-4243-81dc-14be649b7814" providerId="ADAL" clId="{62ECF754-0E6C-40E8-9C10-D9CC518B6798}" dt="2022-09-14T00:49:00.167" v="872" actId="947"/>
          <ac:spMkLst>
            <pc:docMk/>
            <pc:sldMk cId="762001100" sldId="283"/>
            <ac:spMk id="2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0.219" v="882" actId="947"/>
          <ac:spMkLst>
            <pc:docMk/>
            <pc:sldMk cId="762001100" sldId="283"/>
            <ac:spMk id="3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0.222" v="883" actId="947"/>
          <ac:spMkLst>
            <pc:docMk/>
            <pc:sldMk cId="762001100" sldId="283"/>
            <ac:spMk id="4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0.223" v="884" actId="947"/>
          <ac:spMkLst>
            <pc:docMk/>
            <pc:sldMk cId="762001100" sldId="283"/>
            <ac:spMk id="6" creationId="{FCBB9E97-02B0-497A-BD8E-CC4A598CCBAE}"/>
          </ac:spMkLst>
        </pc:spChg>
        <pc:spChg chg="mod">
          <ac:chgData name="Soleil Yi" userId="c719b956-004a-4243-81dc-14be649b7814" providerId="ADAL" clId="{62ECF754-0E6C-40E8-9C10-D9CC518B6798}" dt="2022-09-14T00:49:00.264" v="888" actId="947"/>
          <ac:spMkLst>
            <pc:docMk/>
            <pc:sldMk cId="762001100" sldId="283"/>
            <ac:spMk id="7" creationId="{66B9E057-5AA8-469A-8A56-03A9D1917075}"/>
          </ac:spMkLst>
        </pc:spChg>
        <pc:spChg chg="mod">
          <ac:chgData name="Soleil Yi" userId="c719b956-004a-4243-81dc-14be649b7814" providerId="ADAL" clId="{62ECF754-0E6C-40E8-9C10-D9CC518B6798}" dt="2022-09-14T00:49:00.301" v="892" actId="947"/>
          <ac:spMkLst>
            <pc:docMk/>
            <pc:sldMk cId="762001100" sldId="283"/>
            <ac:spMk id="8" creationId="{33E1874B-7678-4637-8C2B-DA86995D683C}"/>
          </ac:spMkLst>
        </pc:spChg>
        <pc:spChg chg="mod">
          <ac:chgData name="Soleil Yi" userId="c719b956-004a-4243-81dc-14be649b7814" providerId="ADAL" clId="{62ECF754-0E6C-40E8-9C10-D9CC518B6798}" dt="2022-09-14T00:49:00.334" v="896" actId="947"/>
          <ac:spMkLst>
            <pc:docMk/>
            <pc:sldMk cId="762001100" sldId="283"/>
            <ac:spMk id="9" creationId="{E4708E33-C03C-41F2-AB93-CDE686C01891}"/>
          </ac:spMkLst>
        </pc:spChg>
        <pc:spChg chg="mod">
          <ac:chgData name="Soleil Yi" userId="c719b956-004a-4243-81dc-14be649b7814" providerId="ADAL" clId="{62ECF754-0E6C-40E8-9C10-D9CC518B6798}" dt="2022-09-14T00:49:00.374" v="900" actId="947"/>
          <ac:spMkLst>
            <pc:docMk/>
            <pc:sldMk cId="762001100" sldId="283"/>
            <ac:spMk id="10" creationId="{B48B7E20-CBF7-4DF0-B2C0-FCB6E6F6950A}"/>
          </ac:spMkLst>
        </pc:spChg>
        <pc:spChg chg="mod">
          <ac:chgData name="Soleil Yi" userId="c719b956-004a-4243-81dc-14be649b7814" providerId="ADAL" clId="{62ECF754-0E6C-40E8-9C10-D9CC518B6798}" dt="2022-09-14T00:49:00.421" v="904" actId="947"/>
          <ac:spMkLst>
            <pc:docMk/>
            <pc:sldMk cId="762001100" sldId="283"/>
            <ac:spMk id="11" creationId="{8CAA3D72-6CBC-40B9-B760-775CE07BA3E6}"/>
          </ac:spMkLst>
        </pc:spChg>
        <pc:spChg chg="mod">
          <ac:chgData name="Soleil Yi" userId="c719b956-004a-4243-81dc-14be649b7814" providerId="ADAL" clId="{62ECF754-0E6C-40E8-9C10-D9CC518B6798}" dt="2022-09-14T00:49:00.487" v="908" actId="947"/>
          <ac:spMkLst>
            <pc:docMk/>
            <pc:sldMk cId="762001100" sldId="283"/>
            <ac:spMk id="17" creationId="{EA5EBD6D-73E7-40F5-8045-47903A9853D1}"/>
          </ac:spMkLst>
        </pc:spChg>
        <pc:spChg chg="mod">
          <ac:chgData name="Soleil Yi" userId="c719b956-004a-4243-81dc-14be649b7814" providerId="ADAL" clId="{62ECF754-0E6C-40E8-9C10-D9CC518B6798}" dt="2022-09-14T00:49:00.522" v="912"/>
          <ac:spMkLst>
            <pc:docMk/>
            <pc:sldMk cId="762001100" sldId="283"/>
            <ac:spMk id="18" creationId="{B54DD809-0E44-4107-B578-9BA3A06487EB}"/>
          </ac:spMkLst>
        </pc:spChg>
        <pc:spChg chg="mod">
          <ac:chgData name="Soleil Yi" userId="c719b956-004a-4243-81dc-14be649b7814" providerId="ADAL" clId="{62ECF754-0E6C-40E8-9C10-D9CC518B6798}" dt="2022-09-14T00:49:00.554" v="916"/>
          <ac:spMkLst>
            <pc:docMk/>
            <pc:sldMk cId="762001100" sldId="283"/>
            <ac:spMk id="19" creationId="{940F8B8D-C970-4C04-B2CD-95E362FC0D81}"/>
          </ac:spMkLst>
        </pc:spChg>
        <pc:spChg chg="mod">
          <ac:chgData name="Soleil Yi" userId="c719b956-004a-4243-81dc-14be649b7814" providerId="ADAL" clId="{62ECF754-0E6C-40E8-9C10-D9CC518B6798}" dt="2022-09-14T00:49:00.584" v="920"/>
          <ac:spMkLst>
            <pc:docMk/>
            <pc:sldMk cId="762001100" sldId="283"/>
            <ac:spMk id="20" creationId="{790B3E31-9081-4218-8CDE-FA276984A3B0}"/>
          </ac:spMkLst>
        </pc:spChg>
        <pc:spChg chg="mod">
          <ac:chgData name="Soleil Yi" userId="c719b956-004a-4243-81dc-14be649b7814" providerId="ADAL" clId="{62ECF754-0E6C-40E8-9C10-D9CC518B6798}" dt="2022-09-14T00:49:00.618" v="924"/>
          <ac:spMkLst>
            <pc:docMk/>
            <pc:sldMk cId="762001100" sldId="283"/>
            <ac:spMk id="21" creationId="{909BF763-1828-41EC-ACAC-B45825B65905}"/>
          </ac:spMkLst>
        </pc:spChg>
        <pc:spChg chg="mod">
          <ac:chgData name="Soleil Yi" userId="c719b956-004a-4243-81dc-14be649b7814" providerId="ADAL" clId="{62ECF754-0E6C-40E8-9C10-D9CC518B6798}" dt="2022-09-14T00:49:00.649" v="928"/>
          <ac:spMkLst>
            <pc:docMk/>
            <pc:sldMk cId="762001100" sldId="283"/>
            <ac:spMk id="22" creationId="{C6B781CF-EF48-4896-BAC7-BC1D0CC950C6}"/>
          </ac:spMkLst>
        </pc:spChg>
      </pc:sldChg>
      <pc:sldChg chg="modSp mod">
        <pc:chgData name="Soleil Yi" userId="c719b956-004a-4243-81dc-14be649b7814" providerId="ADAL" clId="{62ECF754-0E6C-40E8-9C10-D9CC518B6798}" dt="2022-09-14T00:49:01.201" v="1000"/>
        <pc:sldMkLst>
          <pc:docMk/>
          <pc:sldMk cId="476461785" sldId="284"/>
        </pc:sldMkLst>
        <pc:spChg chg="mod">
          <ac:chgData name="Soleil Yi" userId="c719b956-004a-4243-81dc-14be649b7814" providerId="ADAL" clId="{62ECF754-0E6C-40E8-9C10-D9CC518B6798}" dt="2022-09-14T00:49:00.762" v="944" actId="947"/>
          <ac:spMkLst>
            <pc:docMk/>
            <pc:sldMk cId="476461785" sldId="284"/>
            <ac:spMk id="2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0.833" v="955" actId="947"/>
          <ac:spMkLst>
            <pc:docMk/>
            <pc:sldMk cId="476461785" sldId="284"/>
            <ac:spMk id="3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0.835" v="956" actId="947"/>
          <ac:spMkLst>
            <pc:docMk/>
            <pc:sldMk cId="476461785" sldId="284"/>
            <ac:spMk id="4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1.167" v="996" actId="947"/>
          <ac:spMkLst>
            <pc:docMk/>
            <pc:sldMk cId="476461785" sldId="284"/>
            <ac:spMk id="16" creationId="{2E8AD77C-C146-4233-8AD9-50D40483773B}"/>
          </ac:spMkLst>
        </pc:spChg>
        <pc:spChg chg="mod">
          <ac:chgData name="Soleil Yi" userId="c719b956-004a-4243-81dc-14be649b7814" providerId="ADAL" clId="{62ECF754-0E6C-40E8-9C10-D9CC518B6798}" dt="2022-09-14T00:49:01.201" v="1000"/>
          <ac:spMkLst>
            <pc:docMk/>
            <pc:sldMk cId="476461785" sldId="284"/>
            <ac:spMk id="17" creationId="{11999563-BE26-4B91-B16D-EFA792BBCE8B}"/>
          </ac:spMkLst>
        </pc:spChg>
        <pc:spChg chg="mod">
          <ac:chgData name="Soleil Yi" userId="c719b956-004a-4243-81dc-14be649b7814" providerId="ADAL" clId="{62ECF754-0E6C-40E8-9C10-D9CC518B6798}" dt="2022-09-14T00:49:01.104" v="988" actId="947"/>
          <ac:spMkLst>
            <pc:docMk/>
            <pc:sldMk cId="476461785" sldId="284"/>
            <ac:spMk id="18" creationId="{B002188E-8768-4BA0-A4DC-DA041360FD45}"/>
          </ac:spMkLst>
        </pc:spChg>
        <pc:spChg chg="mod">
          <ac:chgData name="Soleil Yi" userId="c719b956-004a-4243-81dc-14be649b7814" providerId="ADAL" clId="{62ECF754-0E6C-40E8-9C10-D9CC518B6798}" dt="2022-09-14T00:49:01.133" v="992"/>
          <ac:spMkLst>
            <pc:docMk/>
            <pc:sldMk cId="476461785" sldId="284"/>
            <ac:spMk id="19" creationId="{C9968A13-3C83-4D54-A3A5-F9C129CC5169}"/>
          </ac:spMkLst>
        </pc:spChg>
        <pc:spChg chg="mod">
          <ac:chgData name="Soleil Yi" userId="c719b956-004a-4243-81dc-14be649b7814" providerId="ADAL" clId="{62ECF754-0E6C-40E8-9C10-D9CC518B6798}" dt="2022-09-14T00:49:01.037" v="980" actId="947"/>
          <ac:spMkLst>
            <pc:docMk/>
            <pc:sldMk cId="476461785" sldId="284"/>
            <ac:spMk id="20" creationId="{4280360F-A4B1-45A9-A4B7-8C03D8F624A5}"/>
          </ac:spMkLst>
        </pc:spChg>
        <pc:spChg chg="mod">
          <ac:chgData name="Soleil Yi" userId="c719b956-004a-4243-81dc-14be649b7814" providerId="ADAL" clId="{62ECF754-0E6C-40E8-9C10-D9CC518B6798}" dt="2022-09-14T00:49:01.070" v="984"/>
          <ac:spMkLst>
            <pc:docMk/>
            <pc:sldMk cId="476461785" sldId="284"/>
            <ac:spMk id="21" creationId="{4A6B9980-732C-41D4-9BCE-B29D3A2E7523}"/>
          </ac:spMkLst>
        </pc:spChg>
        <pc:spChg chg="mod">
          <ac:chgData name="Soleil Yi" userId="c719b956-004a-4243-81dc-14be649b7814" providerId="ADAL" clId="{62ECF754-0E6C-40E8-9C10-D9CC518B6798}" dt="2022-09-14T00:49:00.970" v="972" actId="947"/>
          <ac:spMkLst>
            <pc:docMk/>
            <pc:sldMk cId="476461785" sldId="284"/>
            <ac:spMk id="22" creationId="{73D61A32-B76E-47E0-89FE-8786A0281FDE}"/>
          </ac:spMkLst>
        </pc:spChg>
        <pc:spChg chg="mod">
          <ac:chgData name="Soleil Yi" userId="c719b956-004a-4243-81dc-14be649b7814" providerId="ADAL" clId="{62ECF754-0E6C-40E8-9C10-D9CC518B6798}" dt="2022-09-14T00:49:01.003" v="976"/>
          <ac:spMkLst>
            <pc:docMk/>
            <pc:sldMk cId="476461785" sldId="284"/>
            <ac:spMk id="23" creationId="{693C97FB-F1E6-4A33-AA5E-EF9FDB6C766F}"/>
          </ac:spMkLst>
        </pc:spChg>
        <pc:spChg chg="mod">
          <ac:chgData name="Soleil Yi" userId="c719b956-004a-4243-81dc-14be649b7814" providerId="ADAL" clId="{62ECF754-0E6C-40E8-9C10-D9CC518B6798}" dt="2022-09-14T00:49:00.892" v="964" actId="947"/>
          <ac:spMkLst>
            <pc:docMk/>
            <pc:sldMk cId="476461785" sldId="284"/>
            <ac:spMk id="24" creationId="{7B116EFC-9290-4D35-A9B8-E690D8306646}"/>
          </ac:spMkLst>
        </pc:spChg>
        <pc:spChg chg="mod">
          <ac:chgData name="Soleil Yi" userId="c719b956-004a-4243-81dc-14be649b7814" providerId="ADAL" clId="{62ECF754-0E6C-40E8-9C10-D9CC518B6798}" dt="2022-09-14T00:49:00.932" v="968" actId="947"/>
          <ac:spMkLst>
            <pc:docMk/>
            <pc:sldMk cId="476461785" sldId="284"/>
            <ac:spMk id="25" creationId="{664182BB-551D-458C-B3DF-705453FCFC94}"/>
          </ac:spMkLst>
        </pc:spChg>
        <pc:spChg chg="mod">
          <ac:chgData name="Soleil Yi" userId="c719b956-004a-4243-81dc-14be649b7814" providerId="ADAL" clId="{62ECF754-0E6C-40E8-9C10-D9CC518B6798}" dt="2022-09-14T00:49:00.825" v="954" actId="947"/>
          <ac:spMkLst>
            <pc:docMk/>
            <pc:sldMk cId="476461785" sldId="284"/>
            <ac:spMk id="26" creationId="{7E6D9122-4AE6-42BB-9643-E152297CF10E}"/>
          </ac:spMkLst>
        </pc:spChg>
        <pc:spChg chg="mod">
          <ac:chgData name="Soleil Yi" userId="c719b956-004a-4243-81dc-14be649b7814" providerId="ADAL" clId="{62ECF754-0E6C-40E8-9C10-D9CC518B6798}" dt="2022-09-14T00:49:00.859" v="960" actId="947"/>
          <ac:spMkLst>
            <pc:docMk/>
            <pc:sldMk cId="476461785" sldId="284"/>
            <ac:spMk id="27" creationId="{3FA94E72-DDDF-4D6C-A43C-D04736B6CF2C}"/>
          </ac:spMkLst>
        </pc:spChg>
      </pc:sldChg>
      <pc:sldChg chg="modSp mod">
        <pc:chgData name="Soleil Yi" userId="c719b956-004a-4243-81dc-14be649b7814" providerId="ADAL" clId="{62ECF754-0E6C-40E8-9C10-D9CC518B6798}" dt="2022-09-14T00:49:02.002" v="1108" actId="947"/>
        <pc:sldMkLst>
          <pc:docMk/>
          <pc:sldMk cId="3898923191" sldId="285"/>
        </pc:sldMkLst>
        <pc:spChg chg="mod">
          <ac:chgData name="Soleil Yi" userId="c719b956-004a-4243-81dc-14be649b7814" providerId="ADAL" clId="{62ECF754-0E6C-40E8-9C10-D9CC518B6798}" dt="2022-09-14T00:49:01.250" v="1004" actId="947"/>
          <ac:spMkLst>
            <pc:docMk/>
            <pc:sldMk cId="3898923191" sldId="285"/>
            <ac:spMk id="2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1.308" v="1015" actId="947"/>
          <ac:spMkLst>
            <pc:docMk/>
            <pc:sldMk cId="3898923191" sldId="285"/>
            <ac:spMk id="3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1.309" v="1016" actId="947"/>
          <ac:spMkLst>
            <pc:docMk/>
            <pc:sldMk cId="3898923191" sldId="285"/>
            <ac:spMk id="4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1.954" v="1104" actId="947"/>
          <ac:spMkLst>
            <pc:docMk/>
            <pc:sldMk cId="3898923191" sldId="285"/>
            <ac:spMk id="19" creationId="{1AA88852-8B07-4CC8-A41B-7F624B7DFF69}"/>
          </ac:spMkLst>
        </pc:spChg>
        <pc:spChg chg="mod">
          <ac:chgData name="Soleil Yi" userId="c719b956-004a-4243-81dc-14be649b7814" providerId="ADAL" clId="{62ECF754-0E6C-40E8-9C10-D9CC518B6798}" dt="2022-09-14T00:49:02.002" v="1108" actId="947"/>
          <ac:spMkLst>
            <pc:docMk/>
            <pc:sldMk cId="3898923191" sldId="285"/>
            <ac:spMk id="20" creationId="{C05E9FE2-9963-41EC-927A-E0555CECBB6C}"/>
          </ac:spMkLst>
        </pc:spChg>
        <pc:spChg chg="mod">
          <ac:chgData name="Soleil Yi" userId="c719b956-004a-4243-81dc-14be649b7814" providerId="ADAL" clId="{62ECF754-0E6C-40E8-9C10-D9CC518B6798}" dt="2022-09-14T00:49:01.865" v="1096"/>
          <ac:spMkLst>
            <pc:docMk/>
            <pc:sldMk cId="3898923191" sldId="285"/>
            <ac:spMk id="21" creationId="{87EB3514-D7F5-4C66-B77B-52D91FCE33B1}"/>
          </ac:spMkLst>
        </pc:spChg>
        <pc:spChg chg="mod">
          <ac:chgData name="Soleil Yi" userId="c719b956-004a-4243-81dc-14be649b7814" providerId="ADAL" clId="{62ECF754-0E6C-40E8-9C10-D9CC518B6798}" dt="2022-09-14T00:49:01.899" v="1100"/>
          <ac:spMkLst>
            <pc:docMk/>
            <pc:sldMk cId="3898923191" sldId="285"/>
            <ac:spMk id="22" creationId="{6FA8394A-C750-42B5-8172-8693CBBD3803}"/>
          </ac:spMkLst>
        </pc:spChg>
        <pc:spChg chg="mod">
          <ac:chgData name="Soleil Yi" userId="c719b956-004a-4243-81dc-14be649b7814" providerId="ADAL" clId="{62ECF754-0E6C-40E8-9C10-D9CC518B6798}" dt="2022-09-14T00:49:01.834" v="1092" actId="947"/>
          <ac:spMkLst>
            <pc:docMk/>
            <pc:sldMk cId="3898923191" sldId="285"/>
            <ac:spMk id="24" creationId="{AFB1C86E-5398-4C70-98E2-78296E0D2DCD}"/>
          </ac:spMkLst>
        </pc:spChg>
        <pc:spChg chg="mod">
          <ac:chgData name="Soleil Yi" userId="c719b956-004a-4243-81dc-14be649b7814" providerId="ADAL" clId="{62ECF754-0E6C-40E8-9C10-D9CC518B6798}" dt="2022-09-14T00:49:01.761" v="1084" actId="947"/>
          <ac:spMkLst>
            <pc:docMk/>
            <pc:sldMk cId="3898923191" sldId="285"/>
            <ac:spMk id="25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1.803" v="1088" actId="947"/>
          <ac:spMkLst>
            <pc:docMk/>
            <pc:sldMk cId="3898923191" sldId="285"/>
            <ac:spMk id="26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1.697" v="1076"/>
          <ac:spMkLst>
            <pc:docMk/>
            <pc:sldMk cId="3898923191" sldId="285"/>
            <ac:spMk id="27" creationId="{87EB3514-D7F5-4C66-B77B-52D91FCE33B1}"/>
          </ac:spMkLst>
        </pc:spChg>
        <pc:spChg chg="mod">
          <ac:chgData name="Soleil Yi" userId="c719b956-004a-4243-81dc-14be649b7814" providerId="ADAL" clId="{62ECF754-0E6C-40E8-9C10-D9CC518B6798}" dt="2022-09-14T00:49:01.730" v="1080"/>
          <ac:spMkLst>
            <pc:docMk/>
            <pc:sldMk cId="3898923191" sldId="285"/>
            <ac:spMk id="28" creationId="{6FA8394A-C750-42B5-8172-8693CBBD3803}"/>
          </ac:spMkLst>
        </pc:spChg>
        <pc:spChg chg="mod">
          <ac:chgData name="Soleil Yi" userId="c719b956-004a-4243-81dc-14be649b7814" providerId="ADAL" clId="{62ECF754-0E6C-40E8-9C10-D9CC518B6798}" dt="2022-09-14T00:49:01.660" v="1072" actId="947"/>
          <ac:spMkLst>
            <pc:docMk/>
            <pc:sldMk cId="3898923191" sldId="285"/>
            <ac:spMk id="30" creationId="{D1DCEE3C-B3C5-4830-B9B3-CFB80D73F65F}"/>
          </ac:spMkLst>
        </pc:spChg>
        <pc:spChg chg="mod">
          <ac:chgData name="Soleil Yi" userId="c719b956-004a-4243-81dc-14be649b7814" providerId="ADAL" clId="{62ECF754-0E6C-40E8-9C10-D9CC518B6798}" dt="2022-09-14T00:49:01.589" v="1064" actId="947"/>
          <ac:spMkLst>
            <pc:docMk/>
            <pc:sldMk cId="3898923191" sldId="285"/>
            <ac:spMk id="31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1.619" v="1068" actId="947"/>
          <ac:spMkLst>
            <pc:docMk/>
            <pc:sldMk cId="3898923191" sldId="285"/>
            <ac:spMk id="32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1.530" v="1056"/>
          <ac:spMkLst>
            <pc:docMk/>
            <pc:sldMk cId="3898923191" sldId="285"/>
            <ac:spMk id="33" creationId="{87EB3514-D7F5-4C66-B77B-52D91FCE33B1}"/>
          </ac:spMkLst>
        </pc:spChg>
        <pc:spChg chg="mod">
          <ac:chgData name="Soleil Yi" userId="c719b956-004a-4243-81dc-14be649b7814" providerId="ADAL" clId="{62ECF754-0E6C-40E8-9C10-D9CC518B6798}" dt="2022-09-14T00:49:01.558" v="1060"/>
          <ac:spMkLst>
            <pc:docMk/>
            <pc:sldMk cId="3898923191" sldId="285"/>
            <ac:spMk id="34" creationId="{6FA8394A-C750-42B5-8172-8693CBBD3803}"/>
          </ac:spMkLst>
        </pc:spChg>
        <pc:spChg chg="mod">
          <ac:chgData name="Soleil Yi" userId="c719b956-004a-4243-81dc-14be649b7814" providerId="ADAL" clId="{62ECF754-0E6C-40E8-9C10-D9CC518B6798}" dt="2022-09-14T00:49:01.502" v="1052" actId="947"/>
          <ac:spMkLst>
            <pc:docMk/>
            <pc:sldMk cId="3898923191" sldId="285"/>
            <ac:spMk id="36" creationId="{83DE6770-C823-4644-B62B-526FBA778978}"/>
          </ac:spMkLst>
        </pc:spChg>
        <pc:spChg chg="mod">
          <ac:chgData name="Soleil Yi" userId="c719b956-004a-4243-81dc-14be649b7814" providerId="ADAL" clId="{62ECF754-0E6C-40E8-9C10-D9CC518B6798}" dt="2022-09-14T00:49:01.439" v="1044" actId="947"/>
          <ac:spMkLst>
            <pc:docMk/>
            <pc:sldMk cId="3898923191" sldId="285"/>
            <ac:spMk id="37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1.470" v="1048" actId="947"/>
          <ac:spMkLst>
            <pc:docMk/>
            <pc:sldMk cId="3898923191" sldId="285"/>
            <ac:spMk id="38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1.380" v="1036"/>
          <ac:spMkLst>
            <pc:docMk/>
            <pc:sldMk cId="3898923191" sldId="285"/>
            <ac:spMk id="39" creationId="{87EB3514-D7F5-4C66-B77B-52D91FCE33B1}"/>
          </ac:spMkLst>
        </pc:spChg>
        <pc:spChg chg="mod">
          <ac:chgData name="Soleil Yi" userId="c719b956-004a-4243-81dc-14be649b7814" providerId="ADAL" clId="{62ECF754-0E6C-40E8-9C10-D9CC518B6798}" dt="2022-09-14T00:49:01.409" v="1040"/>
          <ac:spMkLst>
            <pc:docMk/>
            <pc:sldMk cId="3898923191" sldId="285"/>
            <ac:spMk id="40" creationId="{6FA8394A-C750-42B5-8172-8693CBBD3803}"/>
          </ac:spMkLst>
        </pc:spChg>
        <pc:spChg chg="mod">
          <ac:chgData name="Soleil Yi" userId="c719b956-004a-4243-81dc-14be649b7814" providerId="ADAL" clId="{62ECF754-0E6C-40E8-9C10-D9CC518B6798}" dt="2022-09-14T00:49:01.364" v="1032" actId="947"/>
          <ac:spMkLst>
            <pc:docMk/>
            <pc:sldMk cId="3898923191" sldId="285"/>
            <ac:spMk id="42" creationId="{930E5361-E6FA-460C-8097-354E825A0668}"/>
          </ac:spMkLst>
        </pc:spChg>
        <pc:spChg chg="mod">
          <ac:chgData name="Soleil Yi" userId="c719b956-004a-4243-81dc-14be649b7814" providerId="ADAL" clId="{62ECF754-0E6C-40E8-9C10-D9CC518B6798}" dt="2022-09-14T00:49:01.338" v="1024" actId="947"/>
          <ac:spMkLst>
            <pc:docMk/>
            <pc:sldMk cId="3898923191" sldId="285"/>
            <ac:spMk id="43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1.351" v="1028" actId="947"/>
          <ac:spMkLst>
            <pc:docMk/>
            <pc:sldMk cId="3898923191" sldId="285"/>
            <ac:spMk id="44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1.306" v="1014" actId="947"/>
          <ac:spMkLst>
            <pc:docMk/>
            <pc:sldMk cId="3898923191" sldId="285"/>
            <ac:spMk id="45" creationId="{00000000-0000-0000-0000-000000000000}"/>
          </ac:spMkLst>
        </pc:spChg>
        <pc:spChg chg="mod">
          <ac:chgData name="Soleil Yi" userId="c719b956-004a-4243-81dc-14be649b7814" providerId="ADAL" clId="{62ECF754-0E6C-40E8-9C10-D9CC518B6798}" dt="2022-09-14T00:49:01.324" v="1020" actId="947"/>
          <ac:spMkLst>
            <pc:docMk/>
            <pc:sldMk cId="3898923191" sldId="285"/>
            <ac:spMk id="46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9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9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-34105" y="-18668"/>
            <a:ext cx="12231025" cy="69057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939" name="组合 938">
            <a:extLst>
              <a:ext uri="{FF2B5EF4-FFF2-40B4-BE49-F238E27FC236}">
                <a16:creationId xmlns:a16="http://schemas.microsoft.com/office/drawing/2014/main" id="{B253B2FB-DF58-4A98-A28E-8DD76823E655}"/>
              </a:ext>
            </a:extLst>
          </p:cNvPr>
          <p:cNvGrpSpPr/>
          <p:nvPr userDrawn="1"/>
        </p:nvGrpSpPr>
        <p:grpSpPr>
          <a:xfrm>
            <a:off x="0" y="-19256"/>
            <a:ext cx="12192000" cy="6877256"/>
            <a:chOff x="0" y="-9627"/>
            <a:chExt cx="12192000" cy="6877256"/>
          </a:xfrm>
        </p:grpSpPr>
        <p:grpSp>
          <p:nvGrpSpPr>
            <p:cNvPr id="940" name="组合 939">
              <a:extLst>
                <a:ext uri="{FF2B5EF4-FFF2-40B4-BE49-F238E27FC236}">
                  <a16:creationId xmlns:a16="http://schemas.microsoft.com/office/drawing/2014/main" id="{D4976723-D0A9-4003-8CE7-71FD1DCD72E6}"/>
                </a:ext>
              </a:extLst>
            </p:cNvPr>
            <p:cNvGrpSpPr/>
            <p:nvPr/>
          </p:nvGrpSpPr>
          <p:grpSpPr>
            <a:xfrm>
              <a:off x="0" y="317500"/>
              <a:ext cx="12192000" cy="6096000"/>
              <a:chOff x="0" y="317500"/>
              <a:chExt cx="12192000" cy="6096000"/>
            </a:xfrm>
          </p:grpSpPr>
          <p:cxnSp>
            <p:nvCxnSpPr>
              <p:cNvPr id="955" name="直接连接符 954">
                <a:extLst>
                  <a:ext uri="{FF2B5EF4-FFF2-40B4-BE49-F238E27FC236}">
                    <a16:creationId xmlns:a16="http://schemas.microsoft.com/office/drawing/2014/main" id="{4D448E46-1518-43DA-9888-A5A541F1DD1E}"/>
                  </a:ext>
                </a:extLst>
              </p:cNvPr>
              <p:cNvCxnSpPr/>
              <p:nvPr/>
            </p:nvCxnSpPr>
            <p:spPr>
              <a:xfrm>
                <a:off x="0" y="31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6" name="直接连接符 955">
                <a:extLst>
                  <a:ext uri="{FF2B5EF4-FFF2-40B4-BE49-F238E27FC236}">
                    <a16:creationId xmlns:a16="http://schemas.microsoft.com/office/drawing/2014/main" id="{39901DE0-A52E-4BBE-99B1-3E568A4B477B}"/>
                  </a:ext>
                </a:extLst>
              </p:cNvPr>
              <p:cNvCxnSpPr/>
              <p:nvPr/>
            </p:nvCxnSpPr>
            <p:spPr>
              <a:xfrm>
                <a:off x="0" y="133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7" name="直接连接符 956">
                <a:extLst>
                  <a:ext uri="{FF2B5EF4-FFF2-40B4-BE49-F238E27FC236}">
                    <a16:creationId xmlns:a16="http://schemas.microsoft.com/office/drawing/2014/main" id="{1242C849-EBF3-4610-8348-C103CD3E731B}"/>
                  </a:ext>
                </a:extLst>
              </p:cNvPr>
              <p:cNvCxnSpPr/>
              <p:nvPr/>
            </p:nvCxnSpPr>
            <p:spPr>
              <a:xfrm>
                <a:off x="0" y="234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8" name="直接连接符 957">
                <a:extLst>
                  <a:ext uri="{FF2B5EF4-FFF2-40B4-BE49-F238E27FC236}">
                    <a16:creationId xmlns:a16="http://schemas.microsoft.com/office/drawing/2014/main" id="{2CBF7C39-E1FE-461B-AFC7-43A174409D43}"/>
                  </a:ext>
                </a:extLst>
              </p:cNvPr>
              <p:cNvCxnSpPr/>
              <p:nvPr/>
            </p:nvCxnSpPr>
            <p:spPr>
              <a:xfrm>
                <a:off x="0" y="336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9" name="直接连接符 958">
                <a:extLst>
                  <a:ext uri="{FF2B5EF4-FFF2-40B4-BE49-F238E27FC236}">
                    <a16:creationId xmlns:a16="http://schemas.microsoft.com/office/drawing/2014/main" id="{619086D4-18BD-4CCF-B936-708C0408B049}"/>
                  </a:ext>
                </a:extLst>
              </p:cNvPr>
              <p:cNvCxnSpPr/>
              <p:nvPr/>
            </p:nvCxnSpPr>
            <p:spPr>
              <a:xfrm>
                <a:off x="0" y="438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0" name="直接连接符 959">
                <a:extLst>
                  <a:ext uri="{FF2B5EF4-FFF2-40B4-BE49-F238E27FC236}">
                    <a16:creationId xmlns:a16="http://schemas.microsoft.com/office/drawing/2014/main" id="{2091E993-0962-440C-AF43-1A58AB02BD8C}"/>
                  </a:ext>
                </a:extLst>
              </p:cNvPr>
              <p:cNvCxnSpPr/>
              <p:nvPr/>
            </p:nvCxnSpPr>
            <p:spPr>
              <a:xfrm>
                <a:off x="0" y="539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1" name="直接连接符 960">
                <a:extLst>
                  <a:ext uri="{FF2B5EF4-FFF2-40B4-BE49-F238E27FC236}">
                    <a16:creationId xmlns:a16="http://schemas.microsoft.com/office/drawing/2014/main" id="{1B885C7A-3133-4C05-A761-9CDA11E2B0AE}"/>
                  </a:ext>
                </a:extLst>
              </p:cNvPr>
              <p:cNvCxnSpPr/>
              <p:nvPr/>
            </p:nvCxnSpPr>
            <p:spPr>
              <a:xfrm>
                <a:off x="0" y="641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1" name="组合 940">
              <a:extLst>
                <a:ext uri="{FF2B5EF4-FFF2-40B4-BE49-F238E27FC236}">
                  <a16:creationId xmlns:a16="http://schemas.microsoft.com/office/drawing/2014/main" id="{6037FD99-9D95-45C0-9BF2-66F26D676DEE}"/>
                </a:ext>
              </a:extLst>
            </p:cNvPr>
            <p:cNvGrpSpPr/>
            <p:nvPr/>
          </p:nvGrpSpPr>
          <p:grpSpPr>
            <a:xfrm rot="5400000">
              <a:off x="6007203" y="1401815"/>
              <a:ext cx="6867629" cy="4064000"/>
              <a:chOff x="0" y="1841500"/>
              <a:chExt cx="12192000" cy="4064000"/>
            </a:xfrm>
          </p:grpSpPr>
          <p:cxnSp>
            <p:nvCxnSpPr>
              <p:cNvPr id="950" name="直接连接符 949">
                <a:extLst>
                  <a:ext uri="{FF2B5EF4-FFF2-40B4-BE49-F238E27FC236}">
                    <a16:creationId xmlns:a16="http://schemas.microsoft.com/office/drawing/2014/main" id="{E90DF121-A208-4ADD-A0A7-F7AB88C3D6C3}"/>
                  </a:ext>
                </a:extLst>
              </p:cNvPr>
              <p:cNvCxnSpPr/>
              <p:nvPr/>
            </p:nvCxnSpPr>
            <p:spPr>
              <a:xfrm>
                <a:off x="0" y="184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1" name="直接连接符 950">
                <a:extLst>
                  <a:ext uri="{FF2B5EF4-FFF2-40B4-BE49-F238E27FC236}">
                    <a16:creationId xmlns:a16="http://schemas.microsoft.com/office/drawing/2014/main" id="{2311886A-42CC-4C8F-ABB2-7B2F13863D42}"/>
                  </a:ext>
                </a:extLst>
              </p:cNvPr>
              <p:cNvCxnSpPr/>
              <p:nvPr/>
            </p:nvCxnSpPr>
            <p:spPr>
              <a:xfrm>
                <a:off x="0" y="285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2" name="直接连接符 951">
                <a:extLst>
                  <a:ext uri="{FF2B5EF4-FFF2-40B4-BE49-F238E27FC236}">
                    <a16:creationId xmlns:a16="http://schemas.microsoft.com/office/drawing/2014/main" id="{D8C0A059-09D4-49B8-808A-38EF3B284E2D}"/>
                  </a:ext>
                </a:extLst>
              </p:cNvPr>
              <p:cNvCxnSpPr/>
              <p:nvPr/>
            </p:nvCxnSpPr>
            <p:spPr>
              <a:xfrm>
                <a:off x="0" y="387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3" name="直接连接符 952">
                <a:extLst>
                  <a:ext uri="{FF2B5EF4-FFF2-40B4-BE49-F238E27FC236}">
                    <a16:creationId xmlns:a16="http://schemas.microsoft.com/office/drawing/2014/main" id="{CBEF105D-F0EE-4415-81F6-84A14724001A}"/>
                  </a:ext>
                </a:extLst>
              </p:cNvPr>
              <p:cNvCxnSpPr/>
              <p:nvPr/>
            </p:nvCxnSpPr>
            <p:spPr>
              <a:xfrm>
                <a:off x="0" y="488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4" name="直接连接符 953">
                <a:extLst>
                  <a:ext uri="{FF2B5EF4-FFF2-40B4-BE49-F238E27FC236}">
                    <a16:creationId xmlns:a16="http://schemas.microsoft.com/office/drawing/2014/main" id="{41CDC5D0-1516-4497-80F7-8F0E97367904}"/>
                  </a:ext>
                </a:extLst>
              </p:cNvPr>
              <p:cNvCxnSpPr/>
              <p:nvPr/>
            </p:nvCxnSpPr>
            <p:spPr>
              <a:xfrm>
                <a:off x="0" y="590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2" name="组合 941">
              <a:extLst>
                <a:ext uri="{FF2B5EF4-FFF2-40B4-BE49-F238E27FC236}">
                  <a16:creationId xmlns:a16="http://schemas.microsoft.com/office/drawing/2014/main" id="{899F56DF-9901-47A0-8993-C7BB268D3F3F}"/>
                </a:ext>
              </a:extLst>
            </p:cNvPr>
            <p:cNvGrpSpPr/>
            <p:nvPr/>
          </p:nvGrpSpPr>
          <p:grpSpPr>
            <a:xfrm rot="5400000">
              <a:off x="-76099" y="376188"/>
              <a:ext cx="6867629" cy="6096000"/>
              <a:chOff x="0" y="317500"/>
              <a:chExt cx="12192000" cy="6096000"/>
            </a:xfrm>
          </p:grpSpPr>
          <p:cxnSp>
            <p:nvCxnSpPr>
              <p:cNvPr id="943" name="直接连接符 942">
                <a:extLst>
                  <a:ext uri="{FF2B5EF4-FFF2-40B4-BE49-F238E27FC236}">
                    <a16:creationId xmlns:a16="http://schemas.microsoft.com/office/drawing/2014/main" id="{7EA366F7-EE0F-4F79-AB01-59F086A129DE}"/>
                  </a:ext>
                </a:extLst>
              </p:cNvPr>
              <p:cNvCxnSpPr/>
              <p:nvPr/>
            </p:nvCxnSpPr>
            <p:spPr>
              <a:xfrm>
                <a:off x="0" y="31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4" name="直接连接符 943">
                <a:extLst>
                  <a:ext uri="{FF2B5EF4-FFF2-40B4-BE49-F238E27FC236}">
                    <a16:creationId xmlns:a16="http://schemas.microsoft.com/office/drawing/2014/main" id="{7480D64C-30D8-4BD2-B26A-5FDCA5DBB1C9}"/>
                  </a:ext>
                </a:extLst>
              </p:cNvPr>
              <p:cNvCxnSpPr/>
              <p:nvPr/>
            </p:nvCxnSpPr>
            <p:spPr>
              <a:xfrm>
                <a:off x="0" y="133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5" name="直接连接符 944">
                <a:extLst>
                  <a:ext uri="{FF2B5EF4-FFF2-40B4-BE49-F238E27FC236}">
                    <a16:creationId xmlns:a16="http://schemas.microsoft.com/office/drawing/2014/main" id="{73FE882B-F18D-42C7-847F-2158F660681B}"/>
                  </a:ext>
                </a:extLst>
              </p:cNvPr>
              <p:cNvCxnSpPr/>
              <p:nvPr/>
            </p:nvCxnSpPr>
            <p:spPr>
              <a:xfrm>
                <a:off x="0" y="234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6" name="直接连接符 945">
                <a:extLst>
                  <a:ext uri="{FF2B5EF4-FFF2-40B4-BE49-F238E27FC236}">
                    <a16:creationId xmlns:a16="http://schemas.microsoft.com/office/drawing/2014/main" id="{842B1655-0BBE-4549-A376-21DCC1586C87}"/>
                  </a:ext>
                </a:extLst>
              </p:cNvPr>
              <p:cNvCxnSpPr/>
              <p:nvPr/>
            </p:nvCxnSpPr>
            <p:spPr>
              <a:xfrm>
                <a:off x="0" y="336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7" name="直接连接符 946">
                <a:extLst>
                  <a:ext uri="{FF2B5EF4-FFF2-40B4-BE49-F238E27FC236}">
                    <a16:creationId xmlns:a16="http://schemas.microsoft.com/office/drawing/2014/main" id="{20715CD2-1DDE-4679-8C97-6009728D287D}"/>
                  </a:ext>
                </a:extLst>
              </p:cNvPr>
              <p:cNvCxnSpPr/>
              <p:nvPr/>
            </p:nvCxnSpPr>
            <p:spPr>
              <a:xfrm>
                <a:off x="0" y="438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8" name="直接连接符 947">
                <a:extLst>
                  <a:ext uri="{FF2B5EF4-FFF2-40B4-BE49-F238E27FC236}">
                    <a16:creationId xmlns:a16="http://schemas.microsoft.com/office/drawing/2014/main" id="{0F8D4ACA-64A8-4798-AA43-EE2F54D6A05E}"/>
                  </a:ext>
                </a:extLst>
              </p:cNvPr>
              <p:cNvCxnSpPr/>
              <p:nvPr/>
            </p:nvCxnSpPr>
            <p:spPr>
              <a:xfrm>
                <a:off x="0" y="539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9" name="直接连接符 948">
                <a:extLst>
                  <a:ext uri="{FF2B5EF4-FFF2-40B4-BE49-F238E27FC236}">
                    <a16:creationId xmlns:a16="http://schemas.microsoft.com/office/drawing/2014/main" id="{4B780CE2-126F-47CC-B8E6-62345EC5DD8F}"/>
                  </a:ext>
                </a:extLst>
              </p:cNvPr>
              <p:cNvCxnSpPr/>
              <p:nvPr/>
            </p:nvCxnSpPr>
            <p:spPr>
              <a:xfrm>
                <a:off x="0" y="641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3578351"/>
            <a:ext cx="5873174" cy="1211996"/>
          </a:xfrm>
        </p:spPr>
        <p:txBody>
          <a:bodyPr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2800" b="0" i="1" kern="120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5286104"/>
            <a:ext cx="587317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0" y="5582375"/>
            <a:ext cx="587317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683626" y="880746"/>
            <a:ext cx="3835275" cy="459946"/>
          </a:xfrm>
          <a:prstGeom prst="rect">
            <a:avLst/>
          </a:prstGeom>
          <a:noFill/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lick to edit Master subtitle style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5ECAD1DB-2FC6-4F1B-B094-A9CBF6022B30}"/>
              </a:ext>
            </a:extLst>
          </p:cNvPr>
          <p:cNvGrpSpPr/>
          <p:nvPr userDrawn="1"/>
        </p:nvGrpSpPr>
        <p:grpSpPr>
          <a:xfrm>
            <a:off x="5750169" y="968493"/>
            <a:ext cx="6003258" cy="5078946"/>
            <a:chOff x="5750169" y="968493"/>
            <a:chExt cx="6003258" cy="5078946"/>
          </a:xfrm>
        </p:grpSpPr>
        <p:grpSp>
          <p:nvGrpSpPr>
            <p:cNvPr id="460" name="组合 459">
              <a:extLst>
                <a:ext uri="{FF2B5EF4-FFF2-40B4-BE49-F238E27FC236}">
                  <a16:creationId xmlns:a16="http://schemas.microsoft.com/office/drawing/2014/main" id="{8543307B-8BCA-474C-8E4D-6AAE02A69313}"/>
                </a:ext>
              </a:extLst>
            </p:cNvPr>
            <p:cNvGrpSpPr/>
            <p:nvPr/>
          </p:nvGrpSpPr>
          <p:grpSpPr>
            <a:xfrm>
              <a:off x="5750169" y="968493"/>
              <a:ext cx="6003258" cy="5078946"/>
              <a:chOff x="4973370" y="2273395"/>
              <a:chExt cx="5801067" cy="3692873"/>
            </a:xfrm>
            <a:solidFill>
              <a:schemeClr val="bg1">
                <a:alpha val="21000"/>
              </a:schemeClr>
            </a:solidFill>
          </p:grpSpPr>
          <p:sp>
            <p:nvSpPr>
              <p:cNvPr id="933" name="任意多边形: 形状 932">
                <a:extLst>
                  <a:ext uri="{FF2B5EF4-FFF2-40B4-BE49-F238E27FC236}">
                    <a16:creationId xmlns:a16="http://schemas.microsoft.com/office/drawing/2014/main" id="{01065328-EE65-4B15-BAA6-841E6217EF22}"/>
                  </a:ext>
                </a:extLst>
              </p:cNvPr>
              <p:cNvSpPr/>
              <p:nvPr userDrawn="1"/>
            </p:nvSpPr>
            <p:spPr bwMode="auto">
              <a:xfrm>
                <a:off x="4973370" y="2273395"/>
                <a:ext cx="5801067" cy="3650427"/>
              </a:xfrm>
              <a:custGeom>
                <a:avLst/>
                <a:gdLst>
                  <a:gd name="T0" fmla="*/ 4584 w 4584"/>
                  <a:gd name="T1" fmla="*/ 1816 h 2888"/>
                  <a:gd name="T2" fmla="*/ 3511 w 4584"/>
                  <a:gd name="T3" fmla="*/ 2888 h 2888"/>
                  <a:gd name="T4" fmla="*/ 3342 w 4584"/>
                  <a:gd name="T5" fmla="*/ 2874 h 2888"/>
                  <a:gd name="T6" fmla="*/ 1643 w 4584"/>
                  <a:gd name="T7" fmla="*/ 2874 h 2888"/>
                  <a:gd name="T8" fmla="*/ 1445 w 4584"/>
                  <a:gd name="T9" fmla="*/ 2888 h 2888"/>
                  <a:gd name="T10" fmla="*/ 1304 w 4584"/>
                  <a:gd name="T11" fmla="*/ 2881 h 2888"/>
                  <a:gd name="T12" fmla="*/ 1 w 4584"/>
                  <a:gd name="T13" fmla="*/ 1444 h 2888"/>
                  <a:gd name="T14" fmla="*/ 1445 w 4584"/>
                  <a:gd name="T15" fmla="*/ 0 h 2888"/>
                  <a:gd name="T16" fmla="*/ 2819 w 4584"/>
                  <a:gd name="T17" fmla="*/ 999 h 2888"/>
                  <a:gd name="T18" fmla="*/ 3512 w 4584"/>
                  <a:gd name="T19" fmla="*/ 744 h 2888"/>
                  <a:gd name="T20" fmla="*/ 4584 w 4584"/>
                  <a:gd name="T21" fmla="*/ 1816 h 2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84" h="2888">
                    <a:moveTo>
                      <a:pt x="4584" y="1816"/>
                    </a:moveTo>
                    <a:cubicBezTo>
                      <a:pt x="4583" y="2408"/>
                      <a:pt x="4103" y="2888"/>
                      <a:pt x="3511" y="2888"/>
                    </a:cubicBezTo>
                    <a:cubicBezTo>
                      <a:pt x="3454" y="2888"/>
                      <a:pt x="3398" y="2883"/>
                      <a:pt x="3342" y="2874"/>
                    </a:cubicBezTo>
                    <a:cubicBezTo>
                      <a:pt x="1643" y="2874"/>
                      <a:pt x="1643" y="2874"/>
                      <a:pt x="1643" y="2874"/>
                    </a:cubicBezTo>
                    <a:cubicBezTo>
                      <a:pt x="1577" y="2883"/>
                      <a:pt x="1511" y="2888"/>
                      <a:pt x="1445" y="2888"/>
                    </a:cubicBezTo>
                    <a:cubicBezTo>
                      <a:pt x="1397" y="2888"/>
                      <a:pt x="1350" y="2885"/>
                      <a:pt x="1304" y="2881"/>
                    </a:cubicBezTo>
                    <a:cubicBezTo>
                      <a:pt x="564" y="2809"/>
                      <a:pt x="0" y="2187"/>
                      <a:pt x="1" y="1444"/>
                    </a:cubicBezTo>
                    <a:cubicBezTo>
                      <a:pt x="1" y="646"/>
                      <a:pt x="648" y="0"/>
                      <a:pt x="1445" y="0"/>
                    </a:cubicBezTo>
                    <a:cubicBezTo>
                      <a:pt x="2087" y="0"/>
                      <a:pt x="2632" y="419"/>
                      <a:pt x="2819" y="999"/>
                    </a:cubicBezTo>
                    <a:cubicBezTo>
                      <a:pt x="3013" y="834"/>
                      <a:pt x="3258" y="744"/>
                      <a:pt x="3512" y="744"/>
                    </a:cubicBezTo>
                    <a:cubicBezTo>
                      <a:pt x="4104" y="744"/>
                      <a:pt x="4584" y="1224"/>
                      <a:pt x="4584" y="1816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4" name="任意多边形: 形状 933">
                <a:extLst>
                  <a:ext uri="{FF2B5EF4-FFF2-40B4-BE49-F238E27FC236}">
                    <a16:creationId xmlns:a16="http://schemas.microsoft.com/office/drawing/2014/main" id="{201E8B6D-8D28-41D1-AE37-04C3C9D72B46}"/>
                  </a:ext>
                </a:extLst>
              </p:cNvPr>
              <p:cNvSpPr/>
              <p:nvPr userDrawn="1"/>
            </p:nvSpPr>
            <p:spPr bwMode="auto">
              <a:xfrm>
                <a:off x="5060032" y="4010177"/>
                <a:ext cx="5192662" cy="1956091"/>
              </a:xfrm>
              <a:custGeom>
                <a:avLst/>
                <a:gdLst>
                  <a:gd name="T0" fmla="*/ 4104 w 4104"/>
                  <a:gd name="T1" fmla="*/ 1286 h 1547"/>
                  <a:gd name="T2" fmla="*/ 3274 w 4104"/>
                  <a:gd name="T3" fmla="*/ 1500 h 1547"/>
                  <a:gd name="T4" fmla="*/ 1575 w 4104"/>
                  <a:gd name="T5" fmla="*/ 1500 h 1547"/>
                  <a:gd name="T6" fmla="*/ 1377 w 4104"/>
                  <a:gd name="T7" fmla="*/ 1514 h 1547"/>
                  <a:gd name="T8" fmla="*/ 1236 w 4104"/>
                  <a:gd name="T9" fmla="*/ 1507 h 1547"/>
                  <a:gd name="T10" fmla="*/ 0 w 4104"/>
                  <a:gd name="T11" fmla="*/ 506 h 1547"/>
                  <a:gd name="T12" fmla="*/ 910 w 4104"/>
                  <a:gd name="T13" fmla="*/ 0 h 1547"/>
                  <a:gd name="T14" fmla="*/ 1810 w 4104"/>
                  <a:gd name="T15" fmla="*/ 484 h 1547"/>
                  <a:gd name="T16" fmla="*/ 2026 w 4104"/>
                  <a:gd name="T17" fmla="*/ 464 h 1547"/>
                  <a:gd name="T18" fmla="*/ 2941 w 4104"/>
                  <a:gd name="T19" fmla="*/ 979 h 1547"/>
                  <a:gd name="T20" fmla="*/ 3286 w 4104"/>
                  <a:gd name="T21" fmla="*/ 928 h 1547"/>
                  <a:gd name="T22" fmla="*/ 4104 w 4104"/>
                  <a:gd name="T23" fmla="*/ 1286 h 1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04" h="1547">
                    <a:moveTo>
                      <a:pt x="4104" y="1286"/>
                    </a:moveTo>
                    <a:cubicBezTo>
                      <a:pt x="3869" y="1470"/>
                      <a:pt x="3568" y="1547"/>
                      <a:pt x="3274" y="1500"/>
                    </a:cubicBezTo>
                    <a:cubicBezTo>
                      <a:pt x="1575" y="1500"/>
                      <a:pt x="1575" y="1500"/>
                      <a:pt x="1575" y="1500"/>
                    </a:cubicBezTo>
                    <a:cubicBezTo>
                      <a:pt x="1509" y="1509"/>
                      <a:pt x="1443" y="1514"/>
                      <a:pt x="1377" y="1514"/>
                    </a:cubicBezTo>
                    <a:cubicBezTo>
                      <a:pt x="1329" y="1514"/>
                      <a:pt x="1282" y="1511"/>
                      <a:pt x="1236" y="1507"/>
                    </a:cubicBezTo>
                    <a:cubicBezTo>
                      <a:pt x="661" y="1450"/>
                      <a:pt x="175" y="1057"/>
                      <a:pt x="0" y="506"/>
                    </a:cubicBezTo>
                    <a:cubicBezTo>
                      <a:pt x="138" y="210"/>
                      <a:pt x="494" y="0"/>
                      <a:pt x="910" y="0"/>
                    </a:cubicBezTo>
                    <a:cubicBezTo>
                      <a:pt x="1316" y="0"/>
                      <a:pt x="1664" y="200"/>
                      <a:pt x="1810" y="484"/>
                    </a:cubicBezTo>
                    <a:cubicBezTo>
                      <a:pt x="1881" y="471"/>
                      <a:pt x="1954" y="464"/>
                      <a:pt x="2026" y="464"/>
                    </a:cubicBezTo>
                    <a:cubicBezTo>
                      <a:pt x="2447" y="464"/>
                      <a:pt x="2805" y="679"/>
                      <a:pt x="2941" y="979"/>
                    </a:cubicBezTo>
                    <a:cubicBezTo>
                      <a:pt x="3053" y="945"/>
                      <a:pt x="3169" y="928"/>
                      <a:pt x="3286" y="928"/>
                    </a:cubicBezTo>
                    <a:cubicBezTo>
                      <a:pt x="3630" y="928"/>
                      <a:pt x="3931" y="1071"/>
                      <a:pt x="4104" y="1286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461" name="组合 460">
              <a:extLst>
                <a:ext uri="{FF2B5EF4-FFF2-40B4-BE49-F238E27FC236}">
                  <a16:creationId xmlns:a16="http://schemas.microsoft.com/office/drawing/2014/main" id="{06125A2A-0368-4189-8839-4AEF489D6A22}"/>
                </a:ext>
              </a:extLst>
            </p:cNvPr>
            <p:cNvGrpSpPr/>
            <p:nvPr/>
          </p:nvGrpSpPr>
          <p:grpSpPr>
            <a:xfrm>
              <a:off x="5905500" y="2290887"/>
              <a:ext cx="5613400" cy="3738563"/>
              <a:chOff x="3278188" y="1557338"/>
              <a:chExt cx="5613400" cy="3738563"/>
            </a:xfrm>
          </p:grpSpPr>
          <p:sp>
            <p:nvSpPr>
              <p:cNvPr id="462" name="矩形 461">
                <a:extLst>
                  <a:ext uri="{FF2B5EF4-FFF2-40B4-BE49-F238E27FC236}">
                    <a16:creationId xmlns:a16="http://schemas.microsoft.com/office/drawing/2014/main" id="{BCEE36E7-81B6-40E7-B549-33C19DF1C9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00451" y="1733551"/>
                <a:ext cx="838200" cy="121602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3" name="矩形 462">
                <a:extLst>
                  <a:ext uri="{FF2B5EF4-FFF2-40B4-BE49-F238E27FC236}">
                    <a16:creationId xmlns:a16="http://schemas.microsoft.com/office/drawing/2014/main" id="{289D3170-0A4C-4256-A99C-E6E1C86EE4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6001" y="1733551"/>
                <a:ext cx="839788" cy="1216025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4" name="矩形 463">
                <a:extLst>
                  <a:ext uri="{FF2B5EF4-FFF2-40B4-BE49-F238E27FC236}">
                    <a16:creationId xmlns:a16="http://schemas.microsoft.com/office/drawing/2014/main" id="{EFF19749-51C5-4FD4-88B6-77761A4356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2363" y="1866901"/>
                <a:ext cx="630238" cy="9509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5" name="任意多边形: 形状 464">
                <a:extLst>
                  <a:ext uri="{FF2B5EF4-FFF2-40B4-BE49-F238E27FC236}">
                    <a16:creationId xmlns:a16="http://schemas.microsoft.com/office/drawing/2014/main" id="{8D1FF7CA-9006-4B5B-8020-34F90ECA55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9188" y="1863726"/>
                <a:ext cx="633413" cy="955675"/>
              </a:xfrm>
              <a:custGeom>
                <a:avLst/>
                <a:gdLst>
                  <a:gd name="T0" fmla="*/ 277 w 277"/>
                  <a:gd name="T1" fmla="*/ 417 h 418"/>
                  <a:gd name="T2" fmla="*/ 277 w 277"/>
                  <a:gd name="T3" fmla="*/ 415 h 418"/>
                  <a:gd name="T4" fmla="*/ 276 w 277"/>
                  <a:gd name="T5" fmla="*/ 409 h 418"/>
                  <a:gd name="T6" fmla="*/ 276 w 277"/>
                  <a:gd name="T7" fmla="*/ 387 h 418"/>
                  <a:gd name="T8" fmla="*/ 276 w 277"/>
                  <a:gd name="T9" fmla="*/ 301 h 418"/>
                  <a:gd name="T10" fmla="*/ 276 w 277"/>
                  <a:gd name="T11" fmla="*/ 1 h 418"/>
                  <a:gd name="T12" fmla="*/ 277 w 277"/>
                  <a:gd name="T13" fmla="*/ 2 h 418"/>
                  <a:gd name="T14" fmla="*/ 1 w 277"/>
                  <a:gd name="T15" fmla="*/ 2 h 418"/>
                  <a:gd name="T16" fmla="*/ 1 w 277"/>
                  <a:gd name="T17" fmla="*/ 2 h 418"/>
                  <a:gd name="T18" fmla="*/ 2 w 277"/>
                  <a:gd name="T19" fmla="*/ 1 h 418"/>
                  <a:gd name="T20" fmla="*/ 2 w 277"/>
                  <a:gd name="T21" fmla="*/ 417 h 418"/>
                  <a:gd name="T22" fmla="*/ 1 w 277"/>
                  <a:gd name="T23" fmla="*/ 417 h 418"/>
                  <a:gd name="T24" fmla="*/ 202 w 277"/>
                  <a:gd name="T25" fmla="*/ 417 h 418"/>
                  <a:gd name="T26" fmla="*/ 257 w 277"/>
                  <a:gd name="T27" fmla="*/ 417 h 418"/>
                  <a:gd name="T28" fmla="*/ 272 w 277"/>
                  <a:gd name="T29" fmla="*/ 417 h 418"/>
                  <a:gd name="T30" fmla="*/ 277 w 277"/>
                  <a:gd name="T31" fmla="*/ 417 h 418"/>
                  <a:gd name="T32" fmla="*/ 272 w 277"/>
                  <a:gd name="T33" fmla="*/ 418 h 418"/>
                  <a:gd name="T34" fmla="*/ 257 w 277"/>
                  <a:gd name="T35" fmla="*/ 418 h 418"/>
                  <a:gd name="T36" fmla="*/ 202 w 277"/>
                  <a:gd name="T37" fmla="*/ 418 h 418"/>
                  <a:gd name="T38" fmla="*/ 1 w 277"/>
                  <a:gd name="T39" fmla="*/ 418 h 418"/>
                  <a:gd name="T40" fmla="*/ 0 w 277"/>
                  <a:gd name="T41" fmla="*/ 418 h 418"/>
                  <a:gd name="T42" fmla="*/ 0 w 277"/>
                  <a:gd name="T43" fmla="*/ 417 h 418"/>
                  <a:gd name="T44" fmla="*/ 0 w 277"/>
                  <a:gd name="T45" fmla="*/ 1 h 418"/>
                  <a:gd name="T46" fmla="*/ 0 w 277"/>
                  <a:gd name="T47" fmla="*/ 0 h 418"/>
                  <a:gd name="T48" fmla="*/ 1 w 277"/>
                  <a:gd name="T49" fmla="*/ 0 h 418"/>
                  <a:gd name="T50" fmla="*/ 1 w 277"/>
                  <a:gd name="T51" fmla="*/ 0 h 418"/>
                  <a:gd name="T52" fmla="*/ 277 w 277"/>
                  <a:gd name="T53" fmla="*/ 0 h 418"/>
                  <a:gd name="T54" fmla="*/ 277 w 277"/>
                  <a:gd name="T55" fmla="*/ 0 h 418"/>
                  <a:gd name="T56" fmla="*/ 277 w 277"/>
                  <a:gd name="T57" fmla="*/ 1 h 418"/>
                  <a:gd name="T58" fmla="*/ 277 w 277"/>
                  <a:gd name="T59" fmla="*/ 301 h 418"/>
                  <a:gd name="T60" fmla="*/ 277 w 277"/>
                  <a:gd name="T61" fmla="*/ 387 h 418"/>
                  <a:gd name="T62" fmla="*/ 277 w 277"/>
                  <a:gd name="T63" fmla="*/ 410 h 418"/>
                  <a:gd name="T64" fmla="*/ 277 w 277"/>
                  <a:gd name="T65" fmla="*/ 416 h 418"/>
                  <a:gd name="T66" fmla="*/ 277 w 277"/>
                  <a:gd name="T67" fmla="*/ 417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7" h="418">
                    <a:moveTo>
                      <a:pt x="277" y="417"/>
                    </a:moveTo>
                    <a:cubicBezTo>
                      <a:pt x="277" y="417"/>
                      <a:pt x="277" y="417"/>
                      <a:pt x="277" y="415"/>
                    </a:cubicBezTo>
                    <a:cubicBezTo>
                      <a:pt x="276" y="414"/>
                      <a:pt x="276" y="412"/>
                      <a:pt x="276" y="409"/>
                    </a:cubicBezTo>
                    <a:cubicBezTo>
                      <a:pt x="276" y="404"/>
                      <a:pt x="276" y="397"/>
                      <a:pt x="276" y="387"/>
                    </a:cubicBezTo>
                    <a:cubicBezTo>
                      <a:pt x="276" y="367"/>
                      <a:pt x="276" y="338"/>
                      <a:pt x="276" y="301"/>
                    </a:cubicBezTo>
                    <a:cubicBezTo>
                      <a:pt x="276" y="227"/>
                      <a:pt x="276" y="123"/>
                      <a:pt x="276" y="1"/>
                    </a:cubicBezTo>
                    <a:cubicBezTo>
                      <a:pt x="277" y="2"/>
                      <a:pt x="277" y="2"/>
                      <a:pt x="277" y="2"/>
                    </a:cubicBezTo>
                    <a:cubicBezTo>
                      <a:pt x="192" y="2"/>
                      <a:pt x="99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58"/>
                      <a:pt x="2" y="303"/>
                      <a:pt x="2" y="417"/>
                    </a:cubicBezTo>
                    <a:cubicBezTo>
                      <a:pt x="1" y="417"/>
                      <a:pt x="1" y="417"/>
                      <a:pt x="1" y="417"/>
                    </a:cubicBezTo>
                    <a:cubicBezTo>
                      <a:pt x="85" y="417"/>
                      <a:pt x="154" y="417"/>
                      <a:pt x="202" y="417"/>
                    </a:cubicBezTo>
                    <a:cubicBezTo>
                      <a:pt x="225" y="417"/>
                      <a:pt x="244" y="417"/>
                      <a:pt x="257" y="417"/>
                    </a:cubicBezTo>
                    <a:cubicBezTo>
                      <a:pt x="263" y="417"/>
                      <a:pt x="268" y="417"/>
                      <a:pt x="272" y="417"/>
                    </a:cubicBezTo>
                    <a:cubicBezTo>
                      <a:pt x="275" y="417"/>
                      <a:pt x="277" y="417"/>
                      <a:pt x="277" y="417"/>
                    </a:cubicBezTo>
                    <a:cubicBezTo>
                      <a:pt x="277" y="417"/>
                      <a:pt x="275" y="418"/>
                      <a:pt x="272" y="418"/>
                    </a:cubicBezTo>
                    <a:cubicBezTo>
                      <a:pt x="268" y="418"/>
                      <a:pt x="264" y="418"/>
                      <a:pt x="257" y="418"/>
                    </a:cubicBezTo>
                    <a:cubicBezTo>
                      <a:pt x="245" y="418"/>
                      <a:pt x="226" y="418"/>
                      <a:pt x="202" y="418"/>
                    </a:cubicBezTo>
                    <a:cubicBezTo>
                      <a:pt x="154" y="418"/>
                      <a:pt x="85" y="418"/>
                      <a:pt x="1" y="418"/>
                    </a:cubicBezTo>
                    <a:cubicBezTo>
                      <a:pt x="0" y="418"/>
                      <a:pt x="0" y="418"/>
                      <a:pt x="0" y="418"/>
                    </a:cubicBezTo>
                    <a:cubicBezTo>
                      <a:pt x="0" y="417"/>
                      <a:pt x="0" y="417"/>
                      <a:pt x="0" y="417"/>
                    </a:cubicBezTo>
                    <a:cubicBezTo>
                      <a:pt x="0" y="303"/>
                      <a:pt x="0" y="158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99" y="0"/>
                      <a:pt x="192" y="0"/>
                      <a:pt x="277" y="0"/>
                    </a:cubicBezTo>
                    <a:cubicBezTo>
                      <a:pt x="277" y="0"/>
                      <a:pt x="277" y="0"/>
                      <a:pt x="277" y="0"/>
                    </a:cubicBezTo>
                    <a:cubicBezTo>
                      <a:pt x="277" y="1"/>
                      <a:pt x="277" y="1"/>
                      <a:pt x="277" y="1"/>
                    </a:cubicBezTo>
                    <a:cubicBezTo>
                      <a:pt x="277" y="124"/>
                      <a:pt x="277" y="228"/>
                      <a:pt x="277" y="301"/>
                    </a:cubicBezTo>
                    <a:cubicBezTo>
                      <a:pt x="277" y="338"/>
                      <a:pt x="277" y="367"/>
                      <a:pt x="277" y="387"/>
                    </a:cubicBezTo>
                    <a:cubicBezTo>
                      <a:pt x="277" y="397"/>
                      <a:pt x="277" y="405"/>
                      <a:pt x="277" y="410"/>
                    </a:cubicBezTo>
                    <a:cubicBezTo>
                      <a:pt x="277" y="412"/>
                      <a:pt x="277" y="414"/>
                      <a:pt x="277" y="416"/>
                    </a:cubicBezTo>
                    <a:cubicBezTo>
                      <a:pt x="277" y="417"/>
                      <a:pt x="277" y="417"/>
                      <a:pt x="277" y="41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6" name="任意多边形: 形状 465">
                <a:extLst>
                  <a:ext uri="{FF2B5EF4-FFF2-40B4-BE49-F238E27FC236}">
                    <a16:creationId xmlns:a16="http://schemas.microsoft.com/office/drawing/2014/main" id="{36595954-99A7-4D6E-89FE-EF6D0799D2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3076" y="1733551"/>
                <a:ext cx="114300" cy="139700"/>
              </a:xfrm>
              <a:custGeom>
                <a:avLst/>
                <a:gdLst>
                  <a:gd name="T0" fmla="*/ 50 w 50"/>
                  <a:gd name="T1" fmla="*/ 0 h 61"/>
                  <a:gd name="T2" fmla="*/ 44 w 50"/>
                  <a:gd name="T3" fmla="*/ 10 h 61"/>
                  <a:gd name="T4" fmla="*/ 26 w 50"/>
                  <a:gd name="T5" fmla="*/ 31 h 61"/>
                  <a:gd name="T6" fmla="*/ 8 w 50"/>
                  <a:gd name="T7" fmla="*/ 53 h 61"/>
                  <a:gd name="T8" fmla="*/ 0 w 50"/>
                  <a:gd name="T9" fmla="*/ 61 h 61"/>
                  <a:gd name="T10" fmla="*/ 7 w 50"/>
                  <a:gd name="T11" fmla="*/ 52 h 61"/>
                  <a:gd name="T12" fmla="*/ 25 w 50"/>
                  <a:gd name="T13" fmla="*/ 30 h 61"/>
                  <a:gd name="T14" fmla="*/ 43 w 50"/>
                  <a:gd name="T15" fmla="*/ 9 h 61"/>
                  <a:gd name="T16" fmla="*/ 50 w 50"/>
                  <a:gd name="T17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61">
                    <a:moveTo>
                      <a:pt x="50" y="0"/>
                    </a:moveTo>
                    <a:cubicBezTo>
                      <a:pt x="50" y="0"/>
                      <a:pt x="48" y="4"/>
                      <a:pt x="44" y="10"/>
                    </a:cubicBezTo>
                    <a:cubicBezTo>
                      <a:pt x="39" y="15"/>
                      <a:pt x="33" y="23"/>
                      <a:pt x="26" y="31"/>
                    </a:cubicBezTo>
                    <a:cubicBezTo>
                      <a:pt x="20" y="40"/>
                      <a:pt x="13" y="47"/>
                      <a:pt x="8" y="53"/>
                    </a:cubicBezTo>
                    <a:cubicBezTo>
                      <a:pt x="4" y="58"/>
                      <a:pt x="0" y="61"/>
                      <a:pt x="0" y="61"/>
                    </a:cubicBezTo>
                    <a:cubicBezTo>
                      <a:pt x="0" y="61"/>
                      <a:pt x="3" y="57"/>
                      <a:pt x="7" y="52"/>
                    </a:cubicBezTo>
                    <a:cubicBezTo>
                      <a:pt x="12" y="46"/>
                      <a:pt x="18" y="38"/>
                      <a:pt x="25" y="30"/>
                    </a:cubicBezTo>
                    <a:cubicBezTo>
                      <a:pt x="32" y="22"/>
                      <a:pt x="38" y="15"/>
                      <a:pt x="43" y="9"/>
                    </a:cubicBezTo>
                    <a:cubicBezTo>
                      <a:pt x="47" y="3"/>
                      <a:pt x="50" y="0"/>
                      <a:pt x="5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7" name="任意多边形: 形状 466">
                <a:extLst>
                  <a:ext uri="{FF2B5EF4-FFF2-40B4-BE49-F238E27FC236}">
                    <a16:creationId xmlns:a16="http://schemas.microsoft.com/office/drawing/2014/main" id="{BA4547DF-D12B-427F-A7E2-F0F8CAEB15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5776" y="2814638"/>
                <a:ext cx="109538" cy="138113"/>
              </a:xfrm>
              <a:custGeom>
                <a:avLst/>
                <a:gdLst>
                  <a:gd name="T0" fmla="*/ 0 w 48"/>
                  <a:gd name="T1" fmla="*/ 0 h 60"/>
                  <a:gd name="T2" fmla="*/ 48 w 48"/>
                  <a:gd name="T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8" h="60">
                    <a:moveTo>
                      <a:pt x="0" y="0"/>
                    </a:moveTo>
                    <a:cubicBezTo>
                      <a:pt x="14" y="22"/>
                      <a:pt x="30" y="42"/>
                      <a:pt x="48" y="6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8" name="任意多边形: 形状 467">
                <a:extLst>
                  <a:ext uri="{FF2B5EF4-FFF2-40B4-BE49-F238E27FC236}">
                    <a16:creationId xmlns:a16="http://schemas.microsoft.com/office/drawing/2014/main" id="{60E59D48-57AF-45F3-9784-B79E020E66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5776" y="2814638"/>
                <a:ext cx="109538" cy="138113"/>
              </a:xfrm>
              <a:custGeom>
                <a:avLst/>
                <a:gdLst>
                  <a:gd name="T0" fmla="*/ 48 w 48"/>
                  <a:gd name="T1" fmla="*/ 60 h 60"/>
                  <a:gd name="T2" fmla="*/ 40 w 48"/>
                  <a:gd name="T3" fmla="*/ 53 h 60"/>
                  <a:gd name="T4" fmla="*/ 22 w 48"/>
                  <a:gd name="T5" fmla="*/ 32 h 60"/>
                  <a:gd name="T6" fmla="*/ 6 w 48"/>
                  <a:gd name="T7" fmla="*/ 10 h 60"/>
                  <a:gd name="T8" fmla="*/ 0 w 48"/>
                  <a:gd name="T9" fmla="*/ 0 h 60"/>
                  <a:gd name="T10" fmla="*/ 7 w 48"/>
                  <a:gd name="T11" fmla="*/ 9 h 60"/>
                  <a:gd name="T12" fmla="*/ 23 w 48"/>
                  <a:gd name="T13" fmla="*/ 31 h 60"/>
                  <a:gd name="T14" fmla="*/ 41 w 48"/>
                  <a:gd name="T15" fmla="*/ 52 h 60"/>
                  <a:gd name="T16" fmla="*/ 48 w 48"/>
                  <a:gd name="T1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60">
                    <a:moveTo>
                      <a:pt x="48" y="60"/>
                    </a:moveTo>
                    <a:cubicBezTo>
                      <a:pt x="48" y="60"/>
                      <a:pt x="45" y="58"/>
                      <a:pt x="40" y="53"/>
                    </a:cubicBezTo>
                    <a:cubicBezTo>
                      <a:pt x="35" y="48"/>
                      <a:pt x="28" y="41"/>
                      <a:pt x="22" y="32"/>
                    </a:cubicBezTo>
                    <a:cubicBezTo>
                      <a:pt x="15" y="24"/>
                      <a:pt x="9" y="16"/>
                      <a:pt x="6" y="10"/>
                    </a:cubicBezTo>
                    <a:cubicBezTo>
                      <a:pt x="2" y="4"/>
                      <a:pt x="0" y="0"/>
                      <a:pt x="0" y="0"/>
                    </a:cubicBezTo>
                    <a:cubicBezTo>
                      <a:pt x="0" y="0"/>
                      <a:pt x="3" y="3"/>
                      <a:pt x="7" y="9"/>
                    </a:cubicBezTo>
                    <a:cubicBezTo>
                      <a:pt x="11" y="15"/>
                      <a:pt x="16" y="23"/>
                      <a:pt x="23" y="31"/>
                    </a:cubicBezTo>
                    <a:cubicBezTo>
                      <a:pt x="30" y="39"/>
                      <a:pt x="36" y="46"/>
                      <a:pt x="41" y="52"/>
                    </a:cubicBezTo>
                    <a:cubicBezTo>
                      <a:pt x="45" y="57"/>
                      <a:pt x="48" y="60"/>
                      <a:pt x="48" y="6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9" name="任意多边形: 形状 468">
                <a:extLst>
                  <a:ext uri="{FF2B5EF4-FFF2-40B4-BE49-F238E27FC236}">
                    <a16:creationId xmlns:a16="http://schemas.microsoft.com/office/drawing/2014/main" id="{C9815ECB-5E46-4DD8-A515-7CAEA39570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2813051"/>
                <a:ext cx="109538" cy="136525"/>
              </a:xfrm>
              <a:custGeom>
                <a:avLst/>
                <a:gdLst>
                  <a:gd name="T0" fmla="*/ 0 w 48"/>
                  <a:gd name="T1" fmla="*/ 60 h 60"/>
                  <a:gd name="T2" fmla="*/ 48 w 48"/>
                  <a:gd name="T3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8" h="60">
                    <a:moveTo>
                      <a:pt x="0" y="60"/>
                    </a:moveTo>
                    <a:cubicBezTo>
                      <a:pt x="16" y="40"/>
                      <a:pt x="32" y="20"/>
                      <a:pt x="48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0" name="任意多边形: 形状 469">
                <a:extLst>
                  <a:ext uri="{FF2B5EF4-FFF2-40B4-BE49-F238E27FC236}">
                    <a16:creationId xmlns:a16="http://schemas.microsoft.com/office/drawing/2014/main" id="{1D3F99C5-6D54-4435-9B7A-C6C995388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2813051"/>
                <a:ext cx="112713" cy="136525"/>
              </a:xfrm>
              <a:custGeom>
                <a:avLst/>
                <a:gdLst>
                  <a:gd name="T0" fmla="*/ 48 w 49"/>
                  <a:gd name="T1" fmla="*/ 0 h 60"/>
                  <a:gd name="T2" fmla="*/ 25 w 49"/>
                  <a:gd name="T3" fmla="*/ 31 h 60"/>
                  <a:gd name="T4" fmla="*/ 0 w 49"/>
                  <a:gd name="T5" fmla="*/ 60 h 60"/>
                  <a:gd name="T6" fmla="*/ 23 w 49"/>
                  <a:gd name="T7" fmla="*/ 29 h 60"/>
                  <a:gd name="T8" fmla="*/ 48 w 49"/>
                  <a:gd name="T9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0">
                    <a:moveTo>
                      <a:pt x="48" y="0"/>
                    </a:moveTo>
                    <a:cubicBezTo>
                      <a:pt x="49" y="1"/>
                      <a:pt x="38" y="14"/>
                      <a:pt x="25" y="31"/>
                    </a:cubicBezTo>
                    <a:cubicBezTo>
                      <a:pt x="12" y="47"/>
                      <a:pt x="1" y="60"/>
                      <a:pt x="0" y="60"/>
                    </a:cubicBezTo>
                    <a:cubicBezTo>
                      <a:pt x="0" y="59"/>
                      <a:pt x="10" y="46"/>
                      <a:pt x="23" y="29"/>
                    </a:cubicBezTo>
                    <a:cubicBezTo>
                      <a:pt x="37" y="13"/>
                      <a:pt x="48" y="0"/>
                      <a:pt x="4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1" name="任意多边形: 形状 470">
                <a:extLst>
                  <a:ext uri="{FF2B5EF4-FFF2-40B4-BE49-F238E27FC236}">
                    <a16:creationId xmlns:a16="http://schemas.microsoft.com/office/drawing/2014/main" id="{CAE1B543-8BE9-4534-95CC-942B7B0077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1733551"/>
                <a:ext cx="106363" cy="133350"/>
              </a:xfrm>
              <a:custGeom>
                <a:avLst/>
                <a:gdLst>
                  <a:gd name="T0" fmla="*/ 0 w 46"/>
                  <a:gd name="T1" fmla="*/ 0 h 58"/>
                  <a:gd name="T2" fmla="*/ 24 w 46"/>
                  <a:gd name="T3" fmla="*/ 28 h 58"/>
                  <a:gd name="T4" fmla="*/ 45 w 46"/>
                  <a:gd name="T5" fmla="*/ 57 h 58"/>
                  <a:gd name="T6" fmla="*/ 22 w 46"/>
                  <a:gd name="T7" fmla="*/ 29 h 58"/>
                  <a:gd name="T8" fmla="*/ 0 w 46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58">
                    <a:moveTo>
                      <a:pt x="0" y="0"/>
                    </a:moveTo>
                    <a:cubicBezTo>
                      <a:pt x="1" y="0"/>
                      <a:pt x="11" y="12"/>
                      <a:pt x="24" y="28"/>
                    </a:cubicBezTo>
                    <a:cubicBezTo>
                      <a:pt x="36" y="44"/>
                      <a:pt x="46" y="57"/>
                      <a:pt x="45" y="57"/>
                    </a:cubicBezTo>
                    <a:cubicBezTo>
                      <a:pt x="45" y="58"/>
                      <a:pt x="34" y="45"/>
                      <a:pt x="22" y="29"/>
                    </a:cubicBezTo>
                    <a:cubicBezTo>
                      <a:pt x="9" y="14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2" name="矩形 471">
                <a:extLst>
                  <a:ext uri="{FF2B5EF4-FFF2-40B4-BE49-F238E27FC236}">
                    <a16:creationId xmlns:a16="http://schemas.microsoft.com/office/drawing/2014/main" id="{5208BF60-853A-42CA-8B4F-0D6988EB21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3026" y="2058988"/>
                <a:ext cx="212725" cy="60007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3" name="任意多边形: 形状 472">
                <a:extLst>
                  <a:ext uri="{FF2B5EF4-FFF2-40B4-BE49-F238E27FC236}">
                    <a16:creationId xmlns:a16="http://schemas.microsoft.com/office/drawing/2014/main" id="{77A0981B-59F6-4A75-A99E-6AC93ED170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8376" y="1557338"/>
                <a:ext cx="790575" cy="533400"/>
              </a:xfrm>
              <a:custGeom>
                <a:avLst/>
                <a:gdLst>
                  <a:gd name="T0" fmla="*/ 498 w 498"/>
                  <a:gd name="T1" fmla="*/ 0 h 336"/>
                  <a:gd name="T2" fmla="*/ 498 w 498"/>
                  <a:gd name="T3" fmla="*/ 336 h 336"/>
                  <a:gd name="T4" fmla="*/ 17 w 498"/>
                  <a:gd name="T5" fmla="*/ 336 h 336"/>
                  <a:gd name="T6" fmla="*/ 0 w 498"/>
                  <a:gd name="T7" fmla="*/ 2 h 336"/>
                  <a:gd name="T8" fmla="*/ 498 w 498"/>
                  <a:gd name="T9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8" h="336">
                    <a:moveTo>
                      <a:pt x="498" y="0"/>
                    </a:moveTo>
                    <a:lnTo>
                      <a:pt x="498" y="336"/>
                    </a:lnTo>
                    <a:lnTo>
                      <a:pt x="17" y="336"/>
                    </a:lnTo>
                    <a:lnTo>
                      <a:pt x="0" y="2"/>
                    </a:lnTo>
                    <a:lnTo>
                      <a:pt x="498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4" name="矩形 473">
                <a:extLst>
                  <a:ext uri="{FF2B5EF4-FFF2-40B4-BE49-F238E27FC236}">
                    <a16:creationId xmlns:a16="http://schemas.microsoft.com/office/drawing/2014/main" id="{43430D82-416A-4918-8515-52CB185F02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78376" y="1560513"/>
                <a:ext cx="763588" cy="5270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5" name="任意多边形: 形状 474">
                <a:extLst>
                  <a:ext uri="{FF2B5EF4-FFF2-40B4-BE49-F238E27FC236}">
                    <a16:creationId xmlns:a16="http://schemas.microsoft.com/office/drawing/2014/main" id="{1CD7B28B-F35B-4EE9-888D-A11F2346C5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3613" y="1557338"/>
                <a:ext cx="773113" cy="534988"/>
              </a:xfrm>
              <a:custGeom>
                <a:avLst/>
                <a:gdLst>
                  <a:gd name="T0" fmla="*/ 487 w 487"/>
                  <a:gd name="T1" fmla="*/ 337 h 337"/>
                  <a:gd name="T2" fmla="*/ 0 w 487"/>
                  <a:gd name="T3" fmla="*/ 337 h 337"/>
                  <a:gd name="T4" fmla="*/ 0 w 487"/>
                  <a:gd name="T5" fmla="*/ 0 h 337"/>
                  <a:gd name="T6" fmla="*/ 487 w 487"/>
                  <a:gd name="T7" fmla="*/ 0 h 337"/>
                  <a:gd name="T8" fmla="*/ 487 w 487"/>
                  <a:gd name="T9" fmla="*/ 337 h 337"/>
                  <a:gd name="T10" fmla="*/ 4 w 487"/>
                  <a:gd name="T11" fmla="*/ 332 h 337"/>
                  <a:gd name="T12" fmla="*/ 482 w 487"/>
                  <a:gd name="T13" fmla="*/ 332 h 337"/>
                  <a:gd name="T14" fmla="*/ 482 w 487"/>
                  <a:gd name="T15" fmla="*/ 5 h 337"/>
                  <a:gd name="T16" fmla="*/ 4 w 487"/>
                  <a:gd name="T17" fmla="*/ 5 h 337"/>
                  <a:gd name="T18" fmla="*/ 4 w 487"/>
                  <a:gd name="T19" fmla="*/ 332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7" h="337">
                    <a:moveTo>
                      <a:pt x="487" y="337"/>
                    </a:moveTo>
                    <a:lnTo>
                      <a:pt x="0" y="337"/>
                    </a:lnTo>
                    <a:lnTo>
                      <a:pt x="0" y="0"/>
                    </a:lnTo>
                    <a:lnTo>
                      <a:pt x="487" y="0"/>
                    </a:lnTo>
                    <a:lnTo>
                      <a:pt x="487" y="337"/>
                    </a:lnTo>
                    <a:close/>
                    <a:moveTo>
                      <a:pt x="4" y="332"/>
                    </a:moveTo>
                    <a:lnTo>
                      <a:pt x="482" y="332"/>
                    </a:lnTo>
                    <a:lnTo>
                      <a:pt x="482" y="5"/>
                    </a:lnTo>
                    <a:lnTo>
                      <a:pt x="4" y="5"/>
                    </a:lnTo>
                    <a:lnTo>
                      <a:pt x="4" y="33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6" name="矩形 475">
                <a:extLst>
                  <a:ext uri="{FF2B5EF4-FFF2-40B4-BE49-F238E27FC236}">
                    <a16:creationId xmlns:a16="http://schemas.microsoft.com/office/drawing/2014/main" id="{1EECB443-CFD3-4358-B2A7-6CDC3E2AA2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59338" y="1627188"/>
                <a:ext cx="600075" cy="3952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7" name="任意多边形: 形状 476">
                <a:extLst>
                  <a:ext uri="{FF2B5EF4-FFF2-40B4-BE49-F238E27FC236}">
                    <a16:creationId xmlns:a16="http://schemas.microsoft.com/office/drawing/2014/main" id="{BCD7DC84-93AB-4CCF-8FF2-C357935AC1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751" y="1624013"/>
                <a:ext cx="603250" cy="400050"/>
              </a:xfrm>
              <a:custGeom>
                <a:avLst/>
                <a:gdLst>
                  <a:gd name="T0" fmla="*/ 263 w 264"/>
                  <a:gd name="T1" fmla="*/ 1 h 175"/>
                  <a:gd name="T2" fmla="*/ 262 w 264"/>
                  <a:gd name="T3" fmla="*/ 1 h 175"/>
                  <a:gd name="T4" fmla="*/ 258 w 264"/>
                  <a:gd name="T5" fmla="*/ 1 h 175"/>
                  <a:gd name="T6" fmla="*/ 244 w 264"/>
                  <a:gd name="T7" fmla="*/ 1 h 175"/>
                  <a:gd name="T8" fmla="*/ 190 w 264"/>
                  <a:gd name="T9" fmla="*/ 1 h 175"/>
                  <a:gd name="T10" fmla="*/ 1 w 264"/>
                  <a:gd name="T11" fmla="*/ 2 h 175"/>
                  <a:gd name="T12" fmla="*/ 2 w 264"/>
                  <a:gd name="T13" fmla="*/ 1 h 175"/>
                  <a:gd name="T14" fmla="*/ 2 w 264"/>
                  <a:gd name="T15" fmla="*/ 174 h 175"/>
                  <a:gd name="T16" fmla="*/ 2 w 264"/>
                  <a:gd name="T17" fmla="*/ 174 h 175"/>
                  <a:gd name="T18" fmla="*/ 1 w 264"/>
                  <a:gd name="T19" fmla="*/ 174 h 175"/>
                  <a:gd name="T20" fmla="*/ 263 w 264"/>
                  <a:gd name="T21" fmla="*/ 174 h 175"/>
                  <a:gd name="T22" fmla="*/ 262 w 264"/>
                  <a:gd name="T23" fmla="*/ 174 h 175"/>
                  <a:gd name="T24" fmla="*/ 263 w 264"/>
                  <a:gd name="T25" fmla="*/ 48 h 175"/>
                  <a:gd name="T26" fmla="*/ 263 w 264"/>
                  <a:gd name="T27" fmla="*/ 13 h 175"/>
                  <a:gd name="T28" fmla="*/ 263 w 264"/>
                  <a:gd name="T29" fmla="*/ 4 h 175"/>
                  <a:gd name="T30" fmla="*/ 263 w 264"/>
                  <a:gd name="T31" fmla="*/ 1 h 175"/>
                  <a:gd name="T32" fmla="*/ 263 w 264"/>
                  <a:gd name="T33" fmla="*/ 4 h 175"/>
                  <a:gd name="T34" fmla="*/ 263 w 264"/>
                  <a:gd name="T35" fmla="*/ 13 h 175"/>
                  <a:gd name="T36" fmla="*/ 263 w 264"/>
                  <a:gd name="T37" fmla="*/ 48 h 175"/>
                  <a:gd name="T38" fmla="*/ 264 w 264"/>
                  <a:gd name="T39" fmla="*/ 174 h 175"/>
                  <a:gd name="T40" fmla="*/ 264 w 264"/>
                  <a:gd name="T41" fmla="*/ 175 h 175"/>
                  <a:gd name="T42" fmla="*/ 263 w 264"/>
                  <a:gd name="T43" fmla="*/ 175 h 175"/>
                  <a:gd name="T44" fmla="*/ 1 w 264"/>
                  <a:gd name="T45" fmla="*/ 175 h 175"/>
                  <a:gd name="T46" fmla="*/ 0 w 264"/>
                  <a:gd name="T47" fmla="*/ 175 h 175"/>
                  <a:gd name="T48" fmla="*/ 0 w 264"/>
                  <a:gd name="T49" fmla="*/ 174 h 175"/>
                  <a:gd name="T50" fmla="*/ 0 w 264"/>
                  <a:gd name="T51" fmla="*/ 174 h 175"/>
                  <a:gd name="T52" fmla="*/ 0 w 264"/>
                  <a:gd name="T53" fmla="*/ 1 h 175"/>
                  <a:gd name="T54" fmla="*/ 0 w 264"/>
                  <a:gd name="T55" fmla="*/ 0 h 175"/>
                  <a:gd name="T56" fmla="*/ 1 w 264"/>
                  <a:gd name="T57" fmla="*/ 0 h 175"/>
                  <a:gd name="T58" fmla="*/ 190 w 264"/>
                  <a:gd name="T59" fmla="*/ 1 h 175"/>
                  <a:gd name="T60" fmla="*/ 244 w 264"/>
                  <a:gd name="T61" fmla="*/ 1 h 175"/>
                  <a:gd name="T62" fmla="*/ 258 w 264"/>
                  <a:gd name="T63" fmla="*/ 1 h 175"/>
                  <a:gd name="T64" fmla="*/ 262 w 264"/>
                  <a:gd name="T65" fmla="*/ 1 h 175"/>
                  <a:gd name="T66" fmla="*/ 263 w 264"/>
                  <a:gd name="T67" fmla="*/ 1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64" h="175">
                    <a:moveTo>
                      <a:pt x="263" y="1"/>
                    </a:moveTo>
                    <a:cubicBezTo>
                      <a:pt x="263" y="1"/>
                      <a:pt x="263" y="1"/>
                      <a:pt x="262" y="1"/>
                    </a:cubicBezTo>
                    <a:cubicBezTo>
                      <a:pt x="261" y="1"/>
                      <a:pt x="260" y="1"/>
                      <a:pt x="258" y="1"/>
                    </a:cubicBezTo>
                    <a:cubicBezTo>
                      <a:pt x="255" y="1"/>
                      <a:pt x="250" y="1"/>
                      <a:pt x="244" y="1"/>
                    </a:cubicBezTo>
                    <a:cubicBezTo>
                      <a:pt x="231" y="1"/>
                      <a:pt x="213" y="1"/>
                      <a:pt x="190" y="1"/>
                    </a:cubicBezTo>
                    <a:cubicBezTo>
                      <a:pt x="143" y="1"/>
                      <a:pt x="78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54"/>
                      <a:pt x="2" y="113"/>
                      <a:pt x="2" y="174"/>
                    </a:cubicBezTo>
                    <a:cubicBezTo>
                      <a:pt x="2" y="174"/>
                      <a:pt x="2" y="174"/>
                      <a:pt x="2" y="174"/>
                    </a:cubicBezTo>
                    <a:cubicBezTo>
                      <a:pt x="1" y="174"/>
                      <a:pt x="1" y="174"/>
                      <a:pt x="1" y="174"/>
                    </a:cubicBezTo>
                    <a:cubicBezTo>
                      <a:pt x="100" y="174"/>
                      <a:pt x="191" y="174"/>
                      <a:pt x="263" y="174"/>
                    </a:cubicBezTo>
                    <a:cubicBezTo>
                      <a:pt x="262" y="174"/>
                      <a:pt x="262" y="174"/>
                      <a:pt x="262" y="174"/>
                    </a:cubicBezTo>
                    <a:cubicBezTo>
                      <a:pt x="262" y="122"/>
                      <a:pt x="263" y="78"/>
                      <a:pt x="263" y="48"/>
                    </a:cubicBezTo>
                    <a:cubicBezTo>
                      <a:pt x="263" y="33"/>
                      <a:pt x="263" y="21"/>
                      <a:pt x="263" y="13"/>
                    </a:cubicBezTo>
                    <a:cubicBezTo>
                      <a:pt x="263" y="9"/>
                      <a:pt x="263" y="6"/>
                      <a:pt x="263" y="4"/>
                    </a:cubicBezTo>
                    <a:cubicBezTo>
                      <a:pt x="263" y="2"/>
                      <a:pt x="263" y="1"/>
                      <a:pt x="263" y="1"/>
                    </a:cubicBezTo>
                    <a:cubicBezTo>
                      <a:pt x="263" y="1"/>
                      <a:pt x="263" y="2"/>
                      <a:pt x="263" y="4"/>
                    </a:cubicBezTo>
                    <a:cubicBezTo>
                      <a:pt x="263" y="6"/>
                      <a:pt x="263" y="9"/>
                      <a:pt x="263" y="13"/>
                    </a:cubicBezTo>
                    <a:cubicBezTo>
                      <a:pt x="263" y="21"/>
                      <a:pt x="263" y="33"/>
                      <a:pt x="263" y="48"/>
                    </a:cubicBezTo>
                    <a:cubicBezTo>
                      <a:pt x="263" y="78"/>
                      <a:pt x="264" y="121"/>
                      <a:pt x="264" y="174"/>
                    </a:cubicBezTo>
                    <a:cubicBezTo>
                      <a:pt x="264" y="175"/>
                      <a:pt x="264" y="175"/>
                      <a:pt x="264" y="175"/>
                    </a:cubicBezTo>
                    <a:cubicBezTo>
                      <a:pt x="263" y="175"/>
                      <a:pt x="263" y="175"/>
                      <a:pt x="263" y="175"/>
                    </a:cubicBezTo>
                    <a:cubicBezTo>
                      <a:pt x="191" y="175"/>
                      <a:pt x="100" y="175"/>
                      <a:pt x="1" y="175"/>
                    </a:cubicBezTo>
                    <a:cubicBezTo>
                      <a:pt x="0" y="175"/>
                      <a:pt x="0" y="175"/>
                      <a:pt x="0" y="175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0" y="113"/>
                      <a:pt x="0" y="5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78" y="0"/>
                      <a:pt x="144" y="0"/>
                      <a:pt x="190" y="1"/>
                    </a:cubicBezTo>
                    <a:cubicBezTo>
                      <a:pt x="213" y="1"/>
                      <a:pt x="231" y="1"/>
                      <a:pt x="244" y="1"/>
                    </a:cubicBezTo>
                    <a:cubicBezTo>
                      <a:pt x="250" y="1"/>
                      <a:pt x="255" y="1"/>
                      <a:pt x="258" y="1"/>
                    </a:cubicBezTo>
                    <a:cubicBezTo>
                      <a:pt x="260" y="1"/>
                      <a:pt x="261" y="1"/>
                      <a:pt x="262" y="1"/>
                    </a:cubicBezTo>
                    <a:cubicBezTo>
                      <a:pt x="263" y="1"/>
                      <a:pt x="263" y="1"/>
                      <a:pt x="263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8" name="任意多边形: 形状 477">
                <a:extLst>
                  <a:ext uri="{FF2B5EF4-FFF2-40B4-BE49-F238E27FC236}">
                    <a16:creationId xmlns:a16="http://schemas.microsoft.com/office/drawing/2014/main" id="{1470538D-2BC2-415B-988D-5DEF25D8A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5201" y="1557338"/>
                <a:ext cx="84138" cy="69850"/>
              </a:xfrm>
              <a:custGeom>
                <a:avLst/>
                <a:gdLst>
                  <a:gd name="T0" fmla="*/ 1 w 37"/>
                  <a:gd name="T1" fmla="*/ 1 h 30"/>
                  <a:gd name="T2" fmla="*/ 6 w 37"/>
                  <a:gd name="T3" fmla="*/ 4 h 30"/>
                  <a:gd name="T4" fmla="*/ 20 w 37"/>
                  <a:gd name="T5" fmla="*/ 14 h 30"/>
                  <a:gd name="T6" fmla="*/ 32 w 37"/>
                  <a:gd name="T7" fmla="*/ 25 h 30"/>
                  <a:gd name="T8" fmla="*/ 37 w 37"/>
                  <a:gd name="T9" fmla="*/ 30 h 30"/>
                  <a:gd name="T10" fmla="*/ 19 w 37"/>
                  <a:gd name="T11" fmla="*/ 16 h 30"/>
                  <a:gd name="T12" fmla="*/ 1 w 37"/>
                  <a:gd name="T13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30">
                    <a:moveTo>
                      <a:pt x="1" y="1"/>
                    </a:moveTo>
                    <a:cubicBezTo>
                      <a:pt x="1" y="0"/>
                      <a:pt x="3" y="2"/>
                      <a:pt x="6" y="4"/>
                    </a:cubicBezTo>
                    <a:cubicBezTo>
                      <a:pt x="10" y="7"/>
                      <a:pt x="15" y="10"/>
                      <a:pt x="20" y="14"/>
                    </a:cubicBezTo>
                    <a:cubicBezTo>
                      <a:pt x="25" y="18"/>
                      <a:pt x="29" y="22"/>
                      <a:pt x="32" y="25"/>
                    </a:cubicBezTo>
                    <a:cubicBezTo>
                      <a:pt x="35" y="28"/>
                      <a:pt x="37" y="30"/>
                      <a:pt x="37" y="30"/>
                    </a:cubicBezTo>
                    <a:cubicBezTo>
                      <a:pt x="37" y="30"/>
                      <a:pt x="29" y="24"/>
                      <a:pt x="19" y="16"/>
                    </a:cubicBezTo>
                    <a:cubicBezTo>
                      <a:pt x="8" y="8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9" name="任意多边形: 形状 478">
                <a:extLst>
                  <a:ext uri="{FF2B5EF4-FFF2-40B4-BE49-F238E27FC236}">
                    <a16:creationId xmlns:a16="http://schemas.microsoft.com/office/drawing/2014/main" id="{B7871E5B-E705-4B97-8820-0998D75F01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9413" y="1560513"/>
                <a:ext cx="84138" cy="66675"/>
              </a:xfrm>
              <a:custGeom>
                <a:avLst/>
                <a:gdLst>
                  <a:gd name="T0" fmla="*/ 36 w 37"/>
                  <a:gd name="T1" fmla="*/ 0 h 29"/>
                  <a:gd name="T2" fmla="*/ 19 w 37"/>
                  <a:gd name="T3" fmla="*/ 15 h 29"/>
                  <a:gd name="T4" fmla="*/ 0 w 37"/>
                  <a:gd name="T5" fmla="*/ 29 h 29"/>
                  <a:gd name="T6" fmla="*/ 18 w 37"/>
                  <a:gd name="T7" fmla="*/ 14 h 29"/>
                  <a:gd name="T8" fmla="*/ 36 w 37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9">
                    <a:moveTo>
                      <a:pt x="36" y="0"/>
                    </a:moveTo>
                    <a:cubicBezTo>
                      <a:pt x="37" y="1"/>
                      <a:pt x="29" y="7"/>
                      <a:pt x="19" y="15"/>
                    </a:cubicBezTo>
                    <a:cubicBezTo>
                      <a:pt x="9" y="23"/>
                      <a:pt x="0" y="29"/>
                      <a:pt x="0" y="29"/>
                    </a:cubicBezTo>
                    <a:cubicBezTo>
                      <a:pt x="0" y="29"/>
                      <a:pt x="8" y="22"/>
                      <a:pt x="18" y="14"/>
                    </a:cubicBezTo>
                    <a:cubicBezTo>
                      <a:pt x="28" y="6"/>
                      <a:pt x="36" y="0"/>
                      <a:pt x="36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0" name="任意多边形: 形状 479">
                <a:extLst>
                  <a:ext uri="{FF2B5EF4-FFF2-40B4-BE49-F238E27FC236}">
                    <a16:creationId xmlns:a16="http://schemas.microsoft.com/office/drawing/2014/main" id="{C8F17853-FDD5-49AE-BF28-41C25409C9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6238" y="2019301"/>
                <a:ext cx="85725" cy="68263"/>
              </a:xfrm>
              <a:custGeom>
                <a:avLst/>
                <a:gdLst>
                  <a:gd name="T0" fmla="*/ 37 w 37"/>
                  <a:gd name="T1" fmla="*/ 30 h 30"/>
                  <a:gd name="T2" fmla="*/ 0 w 37"/>
                  <a:gd name="T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7" h="30">
                    <a:moveTo>
                      <a:pt x="37" y="30"/>
                    </a:moveTo>
                    <a:cubicBezTo>
                      <a:pt x="25" y="20"/>
                      <a:pt x="12" y="1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1" name="任意多边形: 形状 480">
                <a:extLst>
                  <a:ext uri="{FF2B5EF4-FFF2-40B4-BE49-F238E27FC236}">
                    <a16:creationId xmlns:a16="http://schemas.microsoft.com/office/drawing/2014/main" id="{A2690228-0B81-420B-8D37-DE44065371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4651" y="2019301"/>
                <a:ext cx="87313" cy="68263"/>
              </a:xfrm>
              <a:custGeom>
                <a:avLst/>
                <a:gdLst>
                  <a:gd name="T0" fmla="*/ 1 w 38"/>
                  <a:gd name="T1" fmla="*/ 0 h 30"/>
                  <a:gd name="T2" fmla="*/ 20 w 38"/>
                  <a:gd name="T3" fmla="*/ 14 h 30"/>
                  <a:gd name="T4" fmla="*/ 38 w 38"/>
                  <a:gd name="T5" fmla="*/ 30 h 30"/>
                  <a:gd name="T6" fmla="*/ 19 w 38"/>
                  <a:gd name="T7" fmla="*/ 16 h 30"/>
                  <a:gd name="T8" fmla="*/ 1 w 38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30">
                    <a:moveTo>
                      <a:pt x="1" y="0"/>
                    </a:moveTo>
                    <a:cubicBezTo>
                      <a:pt x="1" y="0"/>
                      <a:pt x="10" y="6"/>
                      <a:pt x="20" y="14"/>
                    </a:cubicBezTo>
                    <a:cubicBezTo>
                      <a:pt x="30" y="23"/>
                      <a:pt x="38" y="30"/>
                      <a:pt x="38" y="30"/>
                    </a:cubicBezTo>
                    <a:cubicBezTo>
                      <a:pt x="38" y="30"/>
                      <a:pt x="29" y="24"/>
                      <a:pt x="19" y="16"/>
                    </a:cubicBezTo>
                    <a:cubicBezTo>
                      <a:pt x="8" y="7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2" name="任意多边形: 形状 481">
                <a:extLst>
                  <a:ext uri="{FF2B5EF4-FFF2-40B4-BE49-F238E27FC236}">
                    <a16:creationId xmlns:a16="http://schemas.microsoft.com/office/drawing/2014/main" id="{7EFAD75F-F852-4BAA-B46D-4723EA0C5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5201" y="2022476"/>
                <a:ext cx="84138" cy="65088"/>
              </a:xfrm>
              <a:custGeom>
                <a:avLst/>
                <a:gdLst>
                  <a:gd name="T0" fmla="*/ 1 w 37"/>
                  <a:gd name="T1" fmla="*/ 29 h 29"/>
                  <a:gd name="T2" fmla="*/ 18 w 37"/>
                  <a:gd name="T3" fmla="*/ 14 h 29"/>
                  <a:gd name="T4" fmla="*/ 37 w 37"/>
                  <a:gd name="T5" fmla="*/ 1 h 29"/>
                  <a:gd name="T6" fmla="*/ 19 w 37"/>
                  <a:gd name="T7" fmla="*/ 16 h 29"/>
                  <a:gd name="T8" fmla="*/ 1 w 37"/>
                  <a:gd name="T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9">
                    <a:moveTo>
                      <a:pt x="1" y="29"/>
                    </a:moveTo>
                    <a:cubicBezTo>
                      <a:pt x="0" y="29"/>
                      <a:pt x="8" y="22"/>
                      <a:pt x="18" y="14"/>
                    </a:cubicBezTo>
                    <a:cubicBezTo>
                      <a:pt x="28" y="6"/>
                      <a:pt x="36" y="0"/>
                      <a:pt x="37" y="1"/>
                    </a:cubicBezTo>
                    <a:cubicBezTo>
                      <a:pt x="37" y="1"/>
                      <a:pt x="29" y="8"/>
                      <a:pt x="19" y="16"/>
                    </a:cubicBezTo>
                    <a:cubicBezTo>
                      <a:pt x="9" y="23"/>
                      <a:pt x="1" y="29"/>
                      <a:pt x="1" y="2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3" name="矩形 482">
                <a:extLst>
                  <a:ext uri="{FF2B5EF4-FFF2-40B4-BE49-F238E27FC236}">
                    <a16:creationId xmlns:a16="http://schemas.microsoft.com/office/drawing/2014/main" id="{5A035575-2D99-4FCF-9C99-AA4049210F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81576" y="1749426"/>
                <a:ext cx="376238" cy="133350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4" name="任意多边形: 形状 483">
                <a:extLst>
                  <a:ext uri="{FF2B5EF4-FFF2-40B4-BE49-F238E27FC236}">
                    <a16:creationId xmlns:a16="http://schemas.microsoft.com/office/drawing/2014/main" id="{D2F5BD14-772D-4C8A-A2B8-C6D5363A6F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29576" y="3910013"/>
                <a:ext cx="742950" cy="1319213"/>
              </a:xfrm>
              <a:custGeom>
                <a:avLst/>
                <a:gdLst>
                  <a:gd name="T0" fmla="*/ 287 w 325"/>
                  <a:gd name="T1" fmla="*/ 14 h 577"/>
                  <a:gd name="T2" fmla="*/ 234 w 325"/>
                  <a:gd name="T3" fmla="*/ 71 h 577"/>
                  <a:gd name="T4" fmla="*/ 203 w 325"/>
                  <a:gd name="T5" fmla="*/ 181 h 577"/>
                  <a:gd name="T6" fmla="*/ 186 w 325"/>
                  <a:gd name="T7" fmla="*/ 188 h 577"/>
                  <a:gd name="T8" fmla="*/ 143 w 325"/>
                  <a:gd name="T9" fmla="*/ 164 h 577"/>
                  <a:gd name="T10" fmla="*/ 132 w 325"/>
                  <a:gd name="T11" fmla="*/ 218 h 577"/>
                  <a:gd name="T12" fmla="*/ 154 w 325"/>
                  <a:gd name="T13" fmla="*/ 309 h 577"/>
                  <a:gd name="T14" fmla="*/ 145 w 325"/>
                  <a:gd name="T15" fmla="*/ 318 h 577"/>
                  <a:gd name="T16" fmla="*/ 69 w 325"/>
                  <a:gd name="T17" fmla="*/ 298 h 577"/>
                  <a:gd name="T18" fmla="*/ 87 w 325"/>
                  <a:gd name="T19" fmla="*/ 402 h 577"/>
                  <a:gd name="T20" fmla="*/ 86 w 325"/>
                  <a:gd name="T21" fmla="*/ 416 h 577"/>
                  <a:gd name="T22" fmla="*/ 52 w 325"/>
                  <a:gd name="T23" fmla="*/ 392 h 577"/>
                  <a:gd name="T24" fmla="*/ 9 w 325"/>
                  <a:gd name="T25" fmla="*/ 386 h 577"/>
                  <a:gd name="T26" fmla="*/ 72 w 325"/>
                  <a:gd name="T27" fmla="*/ 540 h 577"/>
                  <a:gd name="T28" fmla="*/ 105 w 325"/>
                  <a:gd name="T29" fmla="*/ 577 h 577"/>
                  <a:gd name="T30" fmla="*/ 153 w 325"/>
                  <a:gd name="T31" fmla="*/ 567 h 577"/>
                  <a:gd name="T32" fmla="*/ 294 w 325"/>
                  <a:gd name="T33" fmla="*/ 478 h 577"/>
                  <a:gd name="T34" fmla="*/ 256 w 325"/>
                  <a:gd name="T35" fmla="*/ 458 h 577"/>
                  <a:gd name="T36" fmla="*/ 215 w 325"/>
                  <a:gd name="T37" fmla="*/ 458 h 577"/>
                  <a:gd name="T38" fmla="*/ 222 w 325"/>
                  <a:gd name="T39" fmla="*/ 446 h 577"/>
                  <a:gd name="T40" fmla="*/ 298 w 325"/>
                  <a:gd name="T41" fmla="*/ 372 h 577"/>
                  <a:gd name="T42" fmla="*/ 224 w 325"/>
                  <a:gd name="T43" fmla="*/ 344 h 577"/>
                  <a:gd name="T44" fmla="*/ 223 w 325"/>
                  <a:gd name="T45" fmla="*/ 331 h 577"/>
                  <a:gd name="T46" fmla="*/ 294 w 325"/>
                  <a:gd name="T47" fmla="*/ 270 h 577"/>
                  <a:gd name="T48" fmla="*/ 317 w 325"/>
                  <a:gd name="T49" fmla="*/ 220 h 577"/>
                  <a:gd name="T50" fmla="*/ 268 w 325"/>
                  <a:gd name="T51" fmla="*/ 215 h 577"/>
                  <a:gd name="T52" fmla="*/ 258 w 325"/>
                  <a:gd name="T53" fmla="*/ 198 h 577"/>
                  <a:gd name="T54" fmla="*/ 298 w 325"/>
                  <a:gd name="T55" fmla="*/ 91 h 577"/>
                  <a:gd name="T56" fmla="*/ 287 w 325"/>
                  <a:gd name="T57" fmla="*/ 14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5" h="577">
                    <a:moveTo>
                      <a:pt x="287" y="14"/>
                    </a:moveTo>
                    <a:cubicBezTo>
                      <a:pt x="287" y="14"/>
                      <a:pt x="257" y="0"/>
                      <a:pt x="234" y="71"/>
                    </a:cubicBezTo>
                    <a:cubicBezTo>
                      <a:pt x="210" y="141"/>
                      <a:pt x="203" y="181"/>
                      <a:pt x="203" y="181"/>
                    </a:cubicBezTo>
                    <a:cubicBezTo>
                      <a:pt x="203" y="181"/>
                      <a:pt x="196" y="196"/>
                      <a:pt x="186" y="188"/>
                    </a:cubicBezTo>
                    <a:cubicBezTo>
                      <a:pt x="175" y="181"/>
                      <a:pt x="158" y="157"/>
                      <a:pt x="143" y="164"/>
                    </a:cubicBezTo>
                    <a:cubicBezTo>
                      <a:pt x="127" y="172"/>
                      <a:pt x="124" y="191"/>
                      <a:pt x="132" y="218"/>
                    </a:cubicBezTo>
                    <a:cubicBezTo>
                      <a:pt x="139" y="244"/>
                      <a:pt x="152" y="304"/>
                      <a:pt x="154" y="309"/>
                    </a:cubicBezTo>
                    <a:cubicBezTo>
                      <a:pt x="155" y="314"/>
                      <a:pt x="153" y="322"/>
                      <a:pt x="145" y="318"/>
                    </a:cubicBezTo>
                    <a:cubicBezTo>
                      <a:pt x="137" y="315"/>
                      <a:pt x="87" y="274"/>
                      <a:pt x="69" y="298"/>
                    </a:cubicBezTo>
                    <a:cubicBezTo>
                      <a:pt x="51" y="323"/>
                      <a:pt x="83" y="394"/>
                      <a:pt x="87" y="402"/>
                    </a:cubicBezTo>
                    <a:cubicBezTo>
                      <a:pt x="90" y="410"/>
                      <a:pt x="89" y="414"/>
                      <a:pt x="86" y="416"/>
                    </a:cubicBezTo>
                    <a:cubicBezTo>
                      <a:pt x="82" y="419"/>
                      <a:pt x="67" y="403"/>
                      <a:pt x="52" y="392"/>
                    </a:cubicBezTo>
                    <a:cubicBezTo>
                      <a:pt x="37" y="381"/>
                      <a:pt x="19" y="371"/>
                      <a:pt x="9" y="386"/>
                    </a:cubicBezTo>
                    <a:cubicBezTo>
                      <a:pt x="0" y="401"/>
                      <a:pt x="5" y="458"/>
                      <a:pt x="72" y="540"/>
                    </a:cubicBezTo>
                    <a:cubicBezTo>
                      <a:pt x="105" y="577"/>
                      <a:pt x="105" y="577"/>
                      <a:pt x="105" y="577"/>
                    </a:cubicBezTo>
                    <a:cubicBezTo>
                      <a:pt x="153" y="567"/>
                      <a:pt x="153" y="567"/>
                      <a:pt x="153" y="567"/>
                    </a:cubicBezTo>
                    <a:cubicBezTo>
                      <a:pt x="256" y="539"/>
                      <a:pt x="293" y="496"/>
                      <a:pt x="294" y="478"/>
                    </a:cubicBezTo>
                    <a:cubicBezTo>
                      <a:pt x="296" y="461"/>
                      <a:pt x="274" y="458"/>
                      <a:pt x="256" y="458"/>
                    </a:cubicBezTo>
                    <a:cubicBezTo>
                      <a:pt x="238" y="459"/>
                      <a:pt x="216" y="462"/>
                      <a:pt x="215" y="458"/>
                    </a:cubicBezTo>
                    <a:cubicBezTo>
                      <a:pt x="214" y="454"/>
                      <a:pt x="215" y="450"/>
                      <a:pt x="222" y="446"/>
                    </a:cubicBezTo>
                    <a:cubicBezTo>
                      <a:pt x="230" y="441"/>
                      <a:pt x="298" y="403"/>
                      <a:pt x="298" y="372"/>
                    </a:cubicBezTo>
                    <a:cubicBezTo>
                      <a:pt x="298" y="341"/>
                      <a:pt x="233" y="346"/>
                      <a:pt x="224" y="344"/>
                    </a:cubicBezTo>
                    <a:cubicBezTo>
                      <a:pt x="215" y="342"/>
                      <a:pt x="219" y="335"/>
                      <a:pt x="223" y="331"/>
                    </a:cubicBezTo>
                    <a:cubicBezTo>
                      <a:pt x="227" y="327"/>
                      <a:pt x="273" y="288"/>
                      <a:pt x="294" y="270"/>
                    </a:cubicBezTo>
                    <a:cubicBezTo>
                      <a:pt x="316" y="253"/>
                      <a:pt x="325" y="236"/>
                      <a:pt x="317" y="220"/>
                    </a:cubicBezTo>
                    <a:cubicBezTo>
                      <a:pt x="308" y="206"/>
                      <a:pt x="281" y="215"/>
                      <a:pt x="268" y="215"/>
                    </a:cubicBezTo>
                    <a:cubicBezTo>
                      <a:pt x="255" y="214"/>
                      <a:pt x="258" y="198"/>
                      <a:pt x="258" y="198"/>
                    </a:cubicBezTo>
                    <a:cubicBezTo>
                      <a:pt x="258" y="198"/>
                      <a:pt x="276" y="162"/>
                      <a:pt x="298" y="91"/>
                    </a:cubicBezTo>
                    <a:cubicBezTo>
                      <a:pt x="320" y="21"/>
                      <a:pt x="287" y="14"/>
                      <a:pt x="287" y="14"/>
                    </a:cubicBezTo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5" name="任意多边形: 形状 484">
                <a:extLst>
                  <a:ext uri="{FF2B5EF4-FFF2-40B4-BE49-F238E27FC236}">
                    <a16:creationId xmlns:a16="http://schemas.microsoft.com/office/drawing/2014/main" id="{A47BE25C-62BB-4C86-8F37-42410EC4FC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3413" y="4086226"/>
                <a:ext cx="384175" cy="1165225"/>
              </a:xfrm>
              <a:custGeom>
                <a:avLst/>
                <a:gdLst>
                  <a:gd name="T0" fmla="*/ 0 w 168"/>
                  <a:gd name="T1" fmla="*/ 510 h 510"/>
                  <a:gd name="T2" fmla="*/ 74 w 168"/>
                  <a:gd name="T3" fmla="*/ 287 h 510"/>
                  <a:gd name="T4" fmla="*/ 141 w 168"/>
                  <a:gd name="T5" fmla="*/ 84 h 510"/>
                  <a:gd name="T6" fmla="*/ 161 w 168"/>
                  <a:gd name="T7" fmla="*/ 23 h 510"/>
                  <a:gd name="T8" fmla="*/ 166 w 168"/>
                  <a:gd name="T9" fmla="*/ 6 h 510"/>
                  <a:gd name="T10" fmla="*/ 168 w 168"/>
                  <a:gd name="T11" fmla="*/ 2 h 510"/>
                  <a:gd name="T12" fmla="*/ 168 w 168"/>
                  <a:gd name="T13" fmla="*/ 0 h 510"/>
                  <a:gd name="T14" fmla="*/ 168 w 168"/>
                  <a:gd name="T15" fmla="*/ 2 h 510"/>
                  <a:gd name="T16" fmla="*/ 166 w 168"/>
                  <a:gd name="T17" fmla="*/ 6 h 510"/>
                  <a:gd name="T18" fmla="*/ 161 w 168"/>
                  <a:gd name="T19" fmla="*/ 23 h 510"/>
                  <a:gd name="T20" fmla="*/ 142 w 168"/>
                  <a:gd name="T21" fmla="*/ 85 h 510"/>
                  <a:gd name="T22" fmla="*/ 76 w 168"/>
                  <a:gd name="T23" fmla="*/ 287 h 510"/>
                  <a:gd name="T24" fmla="*/ 1 w 168"/>
                  <a:gd name="T25" fmla="*/ 51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8" h="510">
                    <a:moveTo>
                      <a:pt x="0" y="510"/>
                    </a:moveTo>
                    <a:cubicBezTo>
                      <a:pt x="17" y="458"/>
                      <a:pt x="48" y="366"/>
                      <a:pt x="74" y="287"/>
                    </a:cubicBezTo>
                    <a:cubicBezTo>
                      <a:pt x="100" y="208"/>
                      <a:pt x="124" y="136"/>
                      <a:pt x="141" y="84"/>
                    </a:cubicBezTo>
                    <a:cubicBezTo>
                      <a:pt x="149" y="59"/>
                      <a:pt x="156" y="38"/>
                      <a:pt x="161" y="23"/>
                    </a:cubicBezTo>
                    <a:cubicBezTo>
                      <a:pt x="163" y="16"/>
                      <a:pt x="165" y="10"/>
                      <a:pt x="166" y="6"/>
                    </a:cubicBezTo>
                    <a:cubicBezTo>
                      <a:pt x="167" y="4"/>
                      <a:pt x="167" y="3"/>
                      <a:pt x="168" y="2"/>
                    </a:cubicBezTo>
                    <a:cubicBezTo>
                      <a:pt x="168" y="1"/>
                      <a:pt x="168" y="0"/>
                      <a:pt x="168" y="0"/>
                    </a:cubicBezTo>
                    <a:cubicBezTo>
                      <a:pt x="168" y="0"/>
                      <a:pt x="168" y="1"/>
                      <a:pt x="168" y="2"/>
                    </a:cubicBezTo>
                    <a:cubicBezTo>
                      <a:pt x="167" y="3"/>
                      <a:pt x="167" y="4"/>
                      <a:pt x="166" y="6"/>
                    </a:cubicBezTo>
                    <a:cubicBezTo>
                      <a:pt x="165" y="10"/>
                      <a:pt x="164" y="16"/>
                      <a:pt x="161" y="23"/>
                    </a:cubicBezTo>
                    <a:cubicBezTo>
                      <a:pt x="157" y="38"/>
                      <a:pt x="150" y="59"/>
                      <a:pt x="142" y="85"/>
                    </a:cubicBezTo>
                    <a:cubicBezTo>
                      <a:pt x="125" y="137"/>
                      <a:pt x="102" y="208"/>
                      <a:pt x="76" y="287"/>
                    </a:cubicBezTo>
                    <a:cubicBezTo>
                      <a:pt x="49" y="366"/>
                      <a:pt x="18" y="458"/>
                      <a:pt x="1" y="51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6" name="任意多边形: 形状 485">
                <a:extLst>
                  <a:ext uri="{FF2B5EF4-FFF2-40B4-BE49-F238E27FC236}">
                    <a16:creationId xmlns:a16="http://schemas.microsoft.com/office/drawing/2014/main" id="{D7134C4E-B634-496E-A7D5-4C9F46BC7F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7401" y="4362451"/>
                <a:ext cx="79375" cy="192088"/>
              </a:xfrm>
              <a:custGeom>
                <a:avLst/>
                <a:gdLst>
                  <a:gd name="T0" fmla="*/ 0 w 35"/>
                  <a:gd name="T1" fmla="*/ 0 h 84"/>
                  <a:gd name="T2" fmla="*/ 2 w 35"/>
                  <a:gd name="T3" fmla="*/ 3 h 84"/>
                  <a:gd name="T4" fmla="*/ 6 w 35"/>
                  <a:gd name="T5" fmla="*/ 12 h 84"/>
                  <a:gd name="T6" fmla="*/ 18 w 35"/>
                  <a:gd name="T7" fmla="*/ 42 h 84"/>
                  <a:gd name="T8" fmla="*/ 30 w 35"/>
                  <a:gd name="T9" fmla="*/ 71 h 84"/>
                  <a:gd name="T10" fmla="*/ 34 w 35"/>
                  <a:gd name="T11" fmla="*/ 80 h 84"/>
                  <a:gd name="T12" fmla="*/ 35 w 35"/>
                  <a:gd name="T13" fmla="*/ 84 h 84"/>
                  <a:gd name="T14" fmla="*/ 33 w 35"/>
                  <a:gd name="T15" fmla="*/ 81 h 84"/>
                  <a:gd name="T16" fmla="*/ 29 w 35"/>
                  <a:gd name="T17" fmla="*/ 72 h 84"/>
                  <a:gd name="T18" fmla="*/ 17 w 35"/>
                  <a:gd name="T19" fmla="*/ 42 h 84"/>
                  <a:gd name="T20" fmla="*/ 5 w 35"/>
                  <a:gd name="T21" fmla="*/ 12 h 84"/>
                  <a:gd name="T22" fmla="*/ 1 w 35"/>
                  <a:gd name="T23" fmla="*/ 3 h 84"/>
                  <a:gd name="T24" fmla="*/ 0 w 35"/>
                  <a:gd name="T25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" h="84">
                    <a:moveTo>
                      <a:pt x="0" y="0"/>
                    </a:moveTo>
                    <a:cubicBezTo>
                      <a:pt x="0" y="0"/>
                      <a:pt x="1" y="1"/>
                      <a:pt x="2" y="3"/>
                    </a:cubicBezTo>
                    <a:cubicBezTo>
                      <a:pt x="3" y="5"/>
                      <a:pt x="4" y="8"/>
                      <a:pt x="6" y="12"/>
                    </a:cubicBezTo>
                    <a:cubicBezTo>
                      <a:pt x="9" y="19"/>
                      <a:pt x="14" y="30"/>
                      <a:pt x="18" y="42"/>
                    </a:cubicBezTo>
                    <a:cubicBezTo>
                      <a:pt x="23" y="53"/>
                      <a:pt x="27" y="63"/>
                      <a:pt x="30" y="71"/>
                    </a:cubicBezTo>
                    <a:cubicBezTo>
                      <a:pt x="31" y="75"/>
                      <a:pt x="33" y="78"/>
                      <a:pt x="34" y="80"/>
                    </a:cubicBezTo>
                    <a:cubicBezTo>
                      <a:pt x="34" y="82"/>
                      <a:pt x="35" y="84"/>
                      <a:pt x="35" y="84"/>
                    </a:cubicBezTo>
                    <a:cubicBezTo>
                      <a:pt x="35" y="84"/>
                      <a:pt x="34" y="83"/>
                      <a:pt x="33" y="81"/>
                    </a:cubicBezTo>
                    <a:cubicBezTo>
                      <a:pt x="32" y="78"/>
                      <a:pt x="31" y="75"/>
                      <a:pt x="29" y="72"/>
                    </a:cubicBezTo>
                    <a:cubicBezTo>
                      <a:pt x="26" y="64"/>
                      <a:pt x="21" y="54"/>
                      <a:pt x="17" y="42"/>
                    </a:cubicBezTo>
                    <a:cubicBezTo>
                      <a:pt x="12" y="31"/>
                      <a:pt x="8" y="20"/>
                      <a:pt x="5" y="12"/>
                    </a:cubicBezTo>
                    <a:cubicBezTo>
                      <a:pt x="3" y="9"/>
                      <a:pt x="2" y="6"/>
                      <a:pt x="1" y="3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7" name="任意多边形: 形状 486">
                <a:extLst>
                  <a:ext uri="{FF2B5EF4-FFF2-40B4-BE49-F238E27FC236}">
                    <a16:creationId xmlns:a16="http://schemas.microsoft.com/office/drawing/2014/main" id="{C3E4AF9D-0C4F-4F12-B2BB-763DF8745C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96301" y="4454526"/>
                <a:ext cx="219075" cy="100013"/>
              </a:xfrm>
              <a:custGeom>
                <a:avLst/>
                <a:gdLst>
                  <a:gd name="T0" fmla="*/ 0 w 96"/>
                  <a:gd name="T1" fmla="*/ 44 h 44"/>
                  <a:gd name="T2" fmla="*/ 48 w 96"/>
                  <a:gd name="T3" fmla="*/ 21 h 44"/>
                  <a:gd name="T4" fmla="*/ 95 w 96"/>
                  <a:gd name="T5" fmla="*/ 0 h 44"/>
                  <a:gd name="T6" fmla="*/ 48 w 96"/>
                  <a:gd name="T7" fmla="*/ 23 h 44"/>
                  <a:gd name="T8" fmla="*/ 0 w 96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44">
                    <a:moveTo>
                      <a:pt x="0" y="44"/>
                    </a:moveTo>
                    <a:cubicBezTo>
                      <a:pt x="0" y="43"/>
                      <a:pt x="21" y="33"/>
                      <a:pt x="48" y="21"/>
                    </a:cubicBezTo>
                    <a:cubicBezTo>
                      <a:pt x="74" y="9"/>
                      <a:pt x="95" y="0"/>
                      <a:pt x="95" y="0"/>
                    </a:cubicBezTo>
                    <a:cubicBezTo>
                      <a:pt x="96" y="1"/>
                      <a:pt x="74" y="11"/>
                      <a:pt x="48" y="23"/>
                    </a:cubicBezTo>
                    <a:cubicBezTo>
                      <a:pt x="22" y="35"/>
                      <a:pt x="1" y="44"/>
                      <a:pt x="0" y="44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8" name="任意多边形: 形状 487">
                <a:extLst>
                  <a:ext uri="{FF2B5EF4-FFF2-40B4-BE49-F238E27FC236}">
                    <a16:creationId xmlns:a16="http://schemas.microsoft.com/office/drawing/2014/main" id="{3235992F-6EE5-4B85-8284-4D5DD7BF4F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93113" y="4787901"/>
                <a:ext cx="207963" cy="38100"/>
              </a:xfrm>
              <a:custGeom>
                <a:avLst/>
                <a:gdLst>
                  <a:gd name="T0" fmla="*/ 0 w 91"/>
                  <a:gd name="T1" fmla="*/ 17 h 17"/>
                  <a:gd name="T2" fmla="*/ 3 w 91"/>
                  <a:gd name="T3" fmla="*/ 17 h 17"/>
                  <a:gd name="T4" fmla="*/ 13 w 91"/>
                  <a:gd name="T5" fmla="*/ 15 h 17"/>
                  <a:gd name="T6" fmla="*/ 45 w 91"/>
                  <a:gd name="T7" fmla="*/ 10 h 17"/>
                  <a:gd name="T8" fmla="*/ 77 w 91"/>
                  <a:gd name="T9" fmla="*/ 3 h 17"/>
                  <a:gd name="T10" fmla="*/ 87 w 91"/>
                  <a:gd name="T11" fmla="*/ 1 h 17"/>
                  <a:gd name="T12" fmla="*/ 90 w 91"/>
                  <a:gd name="T13" fmla="*/ 0 h 17"/>
                  <a:gd name="T14" fmla="*/ 87 w 91"/>
                  <a:gd name="T15" fmla="*/ 1 h 17"/>
                  <a:gd name="T16" fmla="*/ 78 w 91"/>
                  <a:gd name="T17" fmla="*/ 4 h 17"/>
                  <a:gd name="T18" fmla="*/ 46 w 91"/>
                  <a:gd name="T19" fmla="*/ 11 h 17"/>
                  <a:gd name="T20" fmla="*/ 13 w 91"/>
                  <a:gd name="T21" fmla="*/ 16 h 17"/>
                  <a:gd name="T22" fmla="*/ 3 w 91"/>
                  <a:gd name="T23" fmla="*/ 17 h 17"/>
                  <a:gd name="T24" fmla="*/ 0 w 91"/>
                  <a:gd name="T2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1" h="17">
                    <a:moveTo>
                      <a:pt x="0" y="17"/>
                    </a:moveTo>
                    <a:cubicBezTo>
                      <a:pt x="0" y="17"/>
                      <a:pt x="1" y="17"/>
                      <a:pt x="3" y="17"/>
                    </a:cubicBezTo>
                    <a:cubicBezTo>
                      <a:pt x="6" y="16"/>
                      <a:pt x="9" y="16"/>
                      <a:pt x="13" y="15"/>
                    </a:cubicBezTo>
                    <a:cubicBezTo>
                      <a:pt x="21" y="14"/>
                      <a:pt x="33" y="12"/>
                      <a:pt x="45" y="10"/>
                    </a:cubicBezTo>
                    <a:cubicBezTo>
                      <a:pt x="58" y="7"/>
                      <a:pt x="69" y="5"/>
                      <a:pt x="77" y="3"/>
                    </a:cubicBezTo>
                    <a:cubicBezTo>
                      <a:pt x="81" y="2"/>
                      <a:pt x="84" y="1"/>
                      <a:pt x="87" y="1"/>
                    </a:cubicBezTo>
                    <a:cubicBezTo>
                      <a:pt x="89" y="0"/>
                      <a:pt x="90" y="0"/>
                      <a:pt x="90" y="0"/>
                    </a:cubicBezTo>
                    <a:cubicBezTo>
                      <a:pt x="91" y="0"/>
                      <a:pt x="89" y="1"/>
                      <a:pt x="87" y="1"/>
                    </a:cubicBezTo>
                    <a:cubicBezTo>
                      <a:pt x="85" y="2"/>
                      <a:pt x="82" y="3"/>
                      <a:pt x="78" y="4"/>
                    </a:cubicBezTo>
                    <a:cubicBezTo>
                      <a:pt x="69" y="6"/>
                      <a:pt x="58" y="9"/>
                      <a:pt x="46" y="11"/>
                    </a:cubicBezTo>
                    <a:cubicBezTo>
                      <a:pt x="33" y="14"/>
                      <a:pt x="22" y="15"/>
                      <a:pt x="13" y="16"/>
                    </a:cubicBezTo>
                    <a:cubicBezTo>
                      <a:pt x="9" y="17"/>
                      <a:pt x="6" y="17"/>
                      <a:pt x="3" y="17"/>
                    </a:cubicBezTo>
                    <a:cubicBezTo>
                      <a:pt x="1" y="17"/>
                      <a:pt x="0" y="17"/>
                      <a:pt x="0" y="1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9" name="任意多边形: 形状 488">
                <a:extLst>
                  <a:ext uri="{FF2B5EF4-FFF2-40B4-BE49-F238E27FC236}">
                    <a16:creationId xmlns:a16="http://schemas.microsoft.com/office/drawing/2014/main" id="{11EFD5CF-1B0D-4637-A5D1-224794DB2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2463" y="4670426"/>
                <a:ext cx="120650" cy="153988"/>
              </a:xfrm>
              <a:custGeom>
                <a:avLst/>
                <a:gdLst>
                  <a:gd name="T0" fmla="*/ 0 w 53"/>
                  <a:gd name="T1" fmla="*/ 0 h 67"/>
                  <a:gd name="T2" fmla="*/ 3 w 53"/>
                  <a:gd name="T3" fmla="*/ 3 h 67"/>
                  <a:gd name="T4" fmla="*/ 9 w 53"/>
                  <a:gd name="T5" fmla="*/ 10 h 67"/>
                  <a:gd name="T6" fmla="*/ 27 w 53"/>
                  <a:gd name="T7" fmla="*/ 33 h 67"/>
                  <a:gd name="T8" fmla="*/ 46 w 53"/>
                  <a:gd name="T9" fmla="*/ 57 h 67"/>
                  <a:gd name="T10" fmla="*/ 52 w 53"/>
                  <a:gd name="T11" fmla="*/ 65 h 67"/>
                  <a:gd name="T12" fmla="*/ 53 w 53"/>
                  <a:gd name="T13" fmla="*/ 67 h 67"/>
                  <a:gd name="T14" fmla="*/ 51 w 53"/>
                  <a:gd name="T15" fmla="*/ 65 h 67"/>
                  <a:gd name="T16" fmla="*/ 45 w 53"/>
                  <a:gd name="T17" fmla="*/ 58 h 67"/>
                  <a:gd name="T18" fmla="*/ 26 w 53"/>
                  <a:gd name="T19" fmla="*/ 34 h 67"/>
                  <a:gd name="T20" fmla="*/ 8 w 53"/>
                  <a:gd name="T21" fmla="*/ 11 h 67"/>
                  <a:gd name="T22" fmla="*/ 2 w 53"/>
                  <a:gd name="T23" fmla="*/ 3 h 67"/>
                  <a:gd name="T24" fmla="*/ 0 w 53"/>
                  <a:gd name="T25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67">
                    <a:moveTo>
                      <a:pt x="0" y="0"/>
                    </a:moveTo>
                    <a:cubicBezTo>
                      <a:pt x="0" y="0"/>
                      <a:pt x="1" y="1"/>
                      <a:pt x="3" y="3"/>
                    </a:cubicBezTo>
                    <a:cubicBezTo>
                      <a:pt x="4" y="5"/>
                      <a:pt x="6" y="7"/>
                      <a:pt x="9" y="10"/>
                    </a:cubicBezTo>
                    <a:cubicBezTo>
                      <a:pt x="13" y="16"/>
                      <a:pt x="20" y="24"/>
                      <a:pt x="27" y="33"/>
                    </a:cubicBezTo>
                    <a:cubicBezTo>
                      <a:pt x="35" y="43"/>
                      <a:pt x="41" y="51"/>
                      <a:pt x="46" y="57"/>
                    </a:cubicBezTo>
                    <a:cubicBezTo>
                      <a:pt x="48" y="60"/>
                      <a:pt x="50" y="63"/>
                      <a:pt x="52" y="65"/>
                    </a:cubicBezTo>
                    <a:cubicBezTo>
                      <a:pt x="53" y="66"/>
                      <a:pt x="53" y="67"/>
                      <a:pt x="53" y="67"/>
                    </a:cubicBezTo>
                    <a:cubicBezTo>
                      <a:pt x="53" y="67"/>
                      <a:pt x="52" y="67"/>
                      <a:pt x="51" y="65"/>
                    </a:cubicBezTo>
                    <a:cubicBezTo>
                      <a:pt x="49" y="63"/>
                      <a:pt x="48" y="61"/>
                      <a:pt x="45" y="58"/>
                    </a:cubicBezTo>
                    <a:cubicBezTo>
                      <a:pt x="40" y="52"/>
                      <a:pt x="34" y="44"/>
                      <a:pt x="26" y="34"/>
                    </a:cubicBezTo>
                    <a:cubicBezTo>
                      <a:pt x="19" y="25"/>
                      <a:pt x="12" y="17"/>
                      <a:pt x="8" y="11"/>
                    </a:cubicBezTo>
                    <a:cubicBezTo>
                      <a:pt x="6" y="8"/>
                      <a:pt x="4" y="5"/>
                      <a:pt x="2" y="3"/>
                    </a:cubicBezTo>
                    <a:cubicBezTo>
                      <a:pt x="1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0" name="任意多边形: 形状 489">
                <a:extLst>
                  <a:ext uri="{FF2B5EF4-FFF2-40B4-BE49-F238E27FC236}">
                    <a16:creationId xmlns:a16="http://schemas.microsoft.com/office/drawing/2014/main" id="{D348026C-1BA4-4756-9537-98D0624DA7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50226" y="4902201"/>
                <a:ext cx="158750" cy="193675"/>
              </a:xfrm>
              <a:custGeom>
                <a:avLst/>
                <a:gdLst>
                  <a:gd name="T0" fmla="*/ 0 w 69"/>
                  <a:gd name="T1" fmla="*/ 0 h 85"/>
                  <a:gd name="T2" fmla="*/ 3 w 69"/>
                  <a:gd name="T3" fmla="*/ 3 h 85"/>
                  <a:gd name="T4" fmla="*/ 10 w 69"/>
                  <a:gd name="T5" fmla="*/ 12 h 85"/>
                  <a:gd name="T6" fmla="*/ 35 w 69"/>
                  <a:gd name="T7" fmla="*/ 42 h 85"/>
                  <a:gd name="T8" fmla="*/ 59 w 69"/>
                  <a:gd name="T9" fmla="*/ 72 h 85"/>
                  <a:gd name="T10" fmla="*/ 66 w 69"/>
                  <a:gd name="T11" fmla="*/ 81 h 85"/>
                  <a:gd name="T12" fmla="*/ 68 w 69"/>
                  <a:gd name="T13" fmla="*/ 85 h 85"/>
                  <a:gd name="T14" fmla="*/ 65 w 69"/>
                  <a:gd name="T15" fmla="*/ 82 h 85"/>
                  <a:gd name="T16" fmla="*/ 58 w 69"/>
                  <a:gd name="T17" fmla="*/ 73 h 85"/>
                  <a:gd name="T18" fmla="*/ 33 w 69"/>
                  <a:gd name="T19" fmla="*/ 43 h 85"/>
                  <a:gd name="T20" fmla="*/ 9 w 69"/>
                  <a:gd name="T21" fmla="*/ 13 h 85"/>
                  <a:gd name="T22" fmla="*/ 2 w 69"/>
                  <a:gd name="T23" fmla="*/ 3 h 85"/>
                  <a:gd name="T24" fmla="*/ 0 w 69"/>
                  <a:gd name="T2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85">
                    <a:moveTo>
                      <a:pt x="0" y="0"/>
                    </a:moveTo>
                    <a:cubicBezTo>
                      <a:pt x="0" y="0"/>
                      <a:pt x="1" y="1"/>
                      <a:pt x="3" y="3"/>
                    </a:cubicBezTo>
                    <a:cubicBezTo>
                      <a:pt x="5" y="5"/>
                      <a:pt x="7" y="8"/>
                      <a:pt x="10" y="12"/>
                    </a:cubicBezTo>
                    <a:cubicBezTo>
                      <a:pt x="16" y="20"/>
                      <a:pt x="25" y="30"/>
                      <a:pt x="35" y="42"/>
                    </a:cubicBezTo>
                    <a:cubicBezTo>
                      <a:pt x="44" y="54"/>
                      <a:pt x="53" y="64"/>
                      <a:pt x="59" y="72"/>
                    </a:cubicBezTo>
                    <a:cubicBezTo>
                      <a:pt x="62" y="76"/>
                      <a:pt x="64" y="79"/>
                      <a:pt x="66" y="81"/>
                    </a:cubicBezTo>
                    <a:cubicBezTo>
                      <a:pt x="68" y="84"/>
                      <a:pt x="69" y="85"/>
                      <a:pt x="68" y="85"/>
                    </a:cubicBezTo>
                    <a:cubicBezTo>
                      <a:pt x="68" y="85"/>
                      <a:pt x="67" y="84"/>
                      <a:pt x="65" y="82"/>
                    </a:cubicBezTo>
                    <a:cubicBezTo>
                      <a:pt x="64" y="79"/>
                      <a:pt x="61" y="76"/>
                      <a:pt x="58" y="73"/>
                    </a:cubicBezTo>
                    <a:cubicBezTo>
                      <a:pt x="52" y="65"/>
                      <a:pt x="43" y="55"/>
                      <a:pt x="33" y="43"/>
                    </a:cubicBezTo>
                    <a:cubicBezTo>
                      <a:pt x="24" y="31"/>
                      <a:pt x="15" y="20"/>
                      <a:pt x="9" y="13"/>
                    </a:cubicBezTo>
                    <a:cubicBezTo>
                      <a:pt x="6" y="9"/>
                      <a:pt x="4" y="6"/>
                      <a:pt x="2" y="3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1" name="任意多边形: 形状 490">
                <a:extLst>
                  <a:ext uri="{FF2B5EF4-FFF2-40B4-BE49-F238E27FC236}">
                    <a16:creationId xmlns:a16="http://schemas.microsoft.com/office/drawing/2014/main" id="{EC04A178-82E5-4B61-B94C-92EB9987B7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4213" y="5032376"/>
                <a:ext cx="263525" cy="57150"/>
              </a:xfrm>
              <a:custGeom>
                <a:avLst/>
                <a:gdLst>
                  <a:gd name="T0" fmla="*/ 0 w 115"/>
                  <a:gd name="T1" fmla="*/ 25 h 25"/>
                  <a:gd name="T2" fmla="*/ 5 w 115"/>
                  <a:gd name="T3" fmla="*/ 24 h 25"/>
                  <a:gd name="T4" fmla="*/ 17 w 115"/>
                  <a:gd name="T5" fmla="*/ 22 h 25"/>
                  <a:gd name="T6" fmla="*/ 58 w 115"/>
                  <a:gd name="T7" fmla="*/ 14 h 25"/>
                  <a:gd name="T8" fmla="*/ 98 w 115"/>
                  <a:gd name="T9" fmla="*/ 5 h 25"/>
                  <a:gd name="T10" fmla="*/ 110 w 115"/>
                  <a:gd name="T11" fmla="*/ 2 h 25"/>
                  <a:gd name="T12" fmla="*/ 115 w 115"/>
                  <a:gd name="T13" fmla="*/ 1 h 25"/>
                  <a:gd name="T14" fmla="*/ 111 w 115"/>
                  <a:gd name="T15" fmla="*/ 2 h 25"/>
                  <a:gd name="T16" fmla="*/ 98 w 115"/>
                  <a:gd name="T17" fmla="*/ 6 h 25"/>
                  <a:gd name="T18" fmla="*/ 58 w 115"/>
                  <a:gd name="T19" fmla="*/ 16 h 25"/>
                  <a:gd name="T20" fmla="*/ 17 w 115"/>
                  <a:gd name="T21" fmla="*/ 23 h 25"/>
                  <a:gd name="T22" fmla="*/ 5 w 115"/>
                  <a:gd name="T23" fmla="*/ 25 h 25"/>
                  <a:gd name="T24" fmla="*/ 0 w 115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5" h="25">
                    <a:moveTo>
                      <a:pt x="0" y="25"/>
                    </a:moveTo>
                    <a:cubicBezTo>
                      <a:pt x="0" y="25"/>
                      <a:pt x="2" y="25"/>
                      <a:pt x="5" y="24"/>
                    </a:cubicBezTo>
                    <a:cubicBezTo>
                      <a:pt x="8" y="24"/>
                      <a:pt x="12" y="23"/>
                      <a:pt x="17" y="22"/>
                    </a:cubicBezTo>
                    <a:cubicBezTo>
                      <a:pt x="28" y="20"/>
                      <a:pt x="42" y="17"/>
                      <a:pt x="58" y="14"/>
                    </a:cubicBezTo>
                    <a:cubicBezTo>
                      <a:pt x="74" y="11"/>
                      <a:pt x="88" y="7"/>
                      <a:pt x="98" y="5"/>
                    </a:cubicBezTo>
                    <a:cubicBezTo>
                      <a:pt x="103" y="3"/>
                      <a:pt x="107" y="2"/>
                      <a:pt x="110" y="2"/>
                    </a:cubicBezTo>
                    <a:cubicBezTo>
                      <a:pt x="113" y="1"/>
                      <a:pt x="115" y="0"/>
                      <a:pt x="115" y="1"/>
                    </a:cubicBezTo>
                    <a:cubicBezTo>
                      <a:pt x="115" y="1"/>
                      <a:pt x="113" y="1"/>
                      <a:pt x="111" y="2"/>
                    </a:cubicBezTo>
                    <a:cubicBezTo>
                      <a:pt x="108" y="3"/>
                      <a:pt x="104" y="4"/>
                      <a:pt x="98" y="6"/>
                    </a:cubicBezTo>
                    <a:cubicBezTo>
                      <a:pt x="88" y="8"/>
                      <a:pt x="74" y="12"/>
                      <a:pt x="58" y="16"/>
                    </a:cubicBezTo>
                    <a:cubicBezTo>
                      <a:pt x="42" y="19"/>
                      <a:pt x="28" y="22"/>
                      <a:pt x="17" y="23"/>
                    </a:cubicBezTo>
                    <a:cubicBezTo>
                      <a:pt x="12" y="24"/>
                      <a:pt x="8" y="25"/>
                      <a:pt x="5" y="25"/>
                    </a:cubicBezTo>
                    <a:cubicBezTo>
                      <a:pt x="2" y="25"/>
                      <a:pt x="0" y="25"/>
                      <a:pt x="0" y="2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2" name="椭圆 491">
                <a:extLst>
                  <a:ext uri="{FF2B5EF4-FFF2-40B4-BE49-F238E27FC236}">
                    <a16:creationId xmlns:a16="http://schemas.microsoft.com/office/drawing/2014/main" id="{C86BA08E-DFAF-4FDF-86F2-EA36CBD0D5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78188" y="5245101"/>
                <a:ext cx="5613400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3" name="任意多边形: 形状 492">
                <a:extLst>
                  <a:ext uri="{FF2B5EF4-FFF2-40B4-BE49-F238E27FC236}">
                    <a16:creationId xmlns:a16="http://schemas.microsoft.com/office/drawing/2014/main" id="{F18728B1-FE48-4DCA-AA78-C74BAF50C0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0251" y="2054226"/>
                <a:ext cx="203200" cy="209550"/>
              </a:xfrm>
              <a:custGeom>
                <a:avLst/>
                <a:gdLst>
                  <a:gd name="T0" fmla="*/ 128 w 128"/>
                  <a:gd name="T1" fmla="*/ 86 h 132"/>
                  <a:gd name="T2" fmla="*/ 74 w 128"/>
                  <a:gd name="T3" fmla="*/ 132 h 132"/>
                  <a:gd name="T4" fmla="*/ 0 w 128"/>
                  <a:gd name="T5" fmla="*/ 47 h 132"/>
                  <a:gd name="T6" fmla="*/ 55 w 128"/>
                  <a:gd name="T7" fmla="*/ 0 h 132"/>
                  <a:gd name="T8" fmla="*/ 128 w 128"/>
                  <a:gd name="T9" fmla="*/ 86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" h="132">
                    <a:moveTo>
                      <a:pt x="128" y="86"/>
                    </a:moveTo>
                    <a:lnTo>
                      <a:pt x="74" y="132"/>
                    </a:lnTo>
                    <a:lnTo>
                      <a:pt x="0" y="47"/>
                    </a:lnTo>
                    <a:lnTo>
                      <a:pt x="55" y="0"/>
                    </a:lnTo>
                    <a:lnTo>
                      <a:pt x="128" y="86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4" name="任意多边形: 形状 493">
                <a:extLst>
                  <a:ext uri="{FF2B5EF4-FFF2-40B4-BE49-F238E27FC236}">
                    <a16:creationId xmlns:a16="http://schemas.microsoft.com/office/drawing/2014/main" id="{3B798E8A-8E1B-47D8-A839-B740FE8E3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5313" y="1909763"/>
                <a:ext cx="304800" cy="300038"/>
              </a:xfrm>
              <a:custGeom>
                <a:avLst/>
                <a:gdLst>
                  <a:gd name="T0" fmla="*/ 133 w 133"/>
                  <a:gd name="T1" fmla="*/ 63 h 131"/>
                  <a:gd name="T2" fmla="*/ 55 w 133"/>
                  <a:gd name="T3" fmla="*/ 131 h 131"/>
                  <a:gd name="T4" fmla="*/ 0 w 133"/>
                  <a:gd name="T5" fmla="*/ 67 h 131"/>
                  <a:gd name="T6" fmla="*/ 78 w 133"/>
                  <a:gd name="T7" fmla="*/ 0 h 131"/>
                  <a:gd name="T8" fmla="*/ 133 w 133"/>
                  <a:gd name="T9" fmla="*/ 63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" h="131">
                    <a:moveTo>
                      <a:pt x="133" y="63"/>
                    </a:moveTo>
                    <a:cubicBezTo>
                      <a:pt x="55" y="131"/>
                      <a:pt x="55" y="131"/>
                      <a:pt x="55" y="131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21" y="37"/>
                      <a:pt x="47" y="14"/>
                      <a:pt x="78" y="0"/>
                    </a:cubicBezTo>
                    <a:lnTo>
                      <a:pt x="133" y="63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5" name="任意多边形: 形状 494">
                <a:extLst>
                  <a:ext uri="{FF2B5EF4-FFF2-40B4-BE49-F238E27FC236}">
                    <a16:creationId xmlns:a16="http://schemas.microsoft.com/office/drawing/2014/main" id="{EDDA0F61-6D43-472D-B7F2-9B3437749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9126" y="2032001"/>
                <a:ext cx="131763" cy="152400"/>
              </a:xfrm>
              <a:custGeom>
                <a:avLst/>
                <a:gdLst>
                  <a:gd name="T0" fmla="*/ 58 w 58"/>
                  <a:gd name="T1" fmla="*/ 66 h 67"/>
                  <a:gd name="T2" fmla="*/ 28 w 58"/>
                  <a:gd name="T3" fmla="*/ 34 h 67"/>
                  <a:gd name="T4" fmla="*/ 0 w 58"/>
                  <a:gd name="T5" fmla="*/ 0 h 67"/>
                  <a:gd name="T6" fmla="*/ 30 w 58"/>
                  <a:gd name="T7" fmla="*/ 33 h 67"/>
                  <a:gd name="T8" fmla="*/ 58 w 58"/>
                  <a:gd name="T9" fmla="*/ 66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67">
                    <a:moveTo>
                      <a:pt x="58" y="66"/>
                    </a:moveTo>
                    <a:cubicBezTo>
                      <a:pt x="57" y="67"/>
                      <a:pt x="44" y="52"/>
                      <a:pt x="28" y="34"/>
                    </a:cubicBezTo>
                    <a:cubicBezTo>
                      <a:pt x="12" y="16"/>
                      <a:pt x="0" y="1"/>
                      <a:pt x="0" y="0"/>
                    </a:cubicBezTo>
                    <a:cubicBezTo>
                      <a:pt x="1" y="0"/>
                      <a:pt x="14" y="14"/>
                      <a:pt x="30" y="33"/>
                    </a:cubicBezTo>
                    <a:cubicBezTo>
                      <a:pt x="46" y="51"/>
                      <a:pt x="58" y="66"/>
                      <a:pt x="58" y="6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6" name="任意多边形: 形状 495">
                <a:extLst>
                  <a:ext uri="{FF2B5EF4-FFF2-40B4-BE49-F238E27FC236}">
                    <a16:creationId xmlns:a16="http://schemas.microsoft.com/office/drawing/2014/main" id="{59D20379-4398-44C7-918F-A33A78F4C8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2463" y="1993901"/>
                <a:ext cx="133350" cy="160338"/>
              </a:xfrm>
              <a:custGeom>
                <a:avLst/>
                <a:gdLst>
                  <a:gd name="T0" fmla="*/ 58 w 58"/>
                  <a:gd name="T1" fmla="*/ 70 h 70"/>
                  <a:gd name="T2" fmla="*/ 49 w 58"/>
                  <a:gd name="T3" fmla="*/ 60 h 70"/>
                  <a:gd name="T4" fmla="*/ 28 w 58"/>
                  <a:gd name="T5" fmla="*/ 36 h 70"/>
                  <a:gd name="T6" fmla="*/ 8 w 58"/>
                  <a:gd name="T7" fmla="*/ 11 h 70"/>
                  <a:gd name="T8" fmla="*/ 2 w 58"/>
                  <a:gd name="T9" fmla="*/ 3 h 70"/>
                  <a:gd name="T10" fmla="*/ 0 w 58"/>
                  <a:gd name="T11" fmla="*/ 1 h 70"/>
                  <a:gd name="T12" fmla="*/ 30 w 58"/>
                  <a:gd name="T13" fmla="*/ 34 h 70"/>
                  <a:gd name="T14" fmla="*/ 50 w 58"/>
                  <a:gd name="T15" fmla="*/ 59 h 70"/>
                  <a:gd name="T16" fmla="*/ 58 w 58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70">
                    <a:moveTo>
                      <a:pt x="58" y="70"/>
                    </a:moveTo>
                    <a:cubicBezTo>
                      <a:pt x="57" y="70"/>
                      <a:pt x="54" y="66"/>
                      <a:pt x="49" y="60"/>
                    </a:cubicBezTo>
                    <a:cubicBezTo>
                      <a:pt x="43" y="54"/>
                      <a:pt x="36" y="45"/>
                      <a:pt x="28" y="36"/>
                    </a:cubicBezTo>
                    <a:cubicBezTo>
                      <a:pt x="21" y="26"/>
                      <a:pt x="14" y="18"/>
                      <a:pt x="8" y="11"/>
                    </a:cubicBezTo>
                    <a:cubicBezTo>
                      <a:pt x="6" y="8"/>
                      <a:pt x="4" y="6"/>
                      <a:pt x="2" y="3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14" y="15"/>
                      <a:pt x="30" y="34"/>
                    </a:cubicBezTo>
                    <a:cubicBezTo>
                      <a:pt x="38" y="44"/>
                      <a:pt x="45" y="53"/>
                      <a:pt x="50" y="59"/>
                    </a:cubicBezTo>
                    <a:cubicBezTo>
                      <a:pt x="55" y="65"/>
                      <a:pt x="58" y="69"/>
                      <a:pt x="58" y="7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7" name="任意多边形: 形状 496">
                <a:extLst>
                  <a:ext uri="{FF2B5EF4-FFF2-40B4-BE49-F238E27FC236}">
                    <a16:creationId xmlns:a16="http://schemas.microsoft.com/office/drawing/2014/main" id="{B9449375-6BD8-4B47-949D-727CF13FF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8501" y="1954213"/>
                <a:ext cx="133350" cy="161925"/>
              </a:xfrm>
              <a:custGeom>
                <a:avLst/>
                <a:gdLst>
                  <a:gd name="T0" fmla="*/ 58 w 58"/>
                  <a:gd name="T1" fmla="*/ 71 h 71"/>
                  <a:gd name="T2" fmla="*/ 49 w 58"/>
                  <a:gd name="T3" fmla="*/ 61 h 71"/>
                  <a:gd name="T4" fmla="*/ 28 w 58"/>
                  <a:gd name="T5" fmla="*/ 36 h 71"/>
                  <a:gd name="T6" fmla="*/ 8 w 58"/>
                  <a:gd name="T7" fmla="*/ 11 h 71"/>
                  <a:gd name="T8" fmla="*/ 2 w 58"/>
                  <a:gd name="T9" fmla="*/ 3 h 71"/>
                  <a:gd name="T10" fmla="*/ 0 w 58"/>
                  <a:gd name="T11" fmla="*/ 0 h 71"/>
                  <a:gd name="T12" fmla="*/ 9 w 58"/>
                  <a:gd name="T13" fmla="*/ 10 h 71"/>
                  <a:gd name="T14" fmla="*/ 30 w 58"/>
                  <a:gd name="T15" fmla="*/ 35 h 71"/>
                  <a:gd name="T16" fmla="*/ 50 w 58"/>
                  <a:gd name="T17" fmla="*/ 60 h 71"/>
                  <a:gd name="T18" fmla="*/ 58 w 58"/>
                  <a:gd name="T1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71">
                    <a:moveTo>
                      <a:pt x="58" y="71"/>
                    </a:moveTo>
                    <a:cubicBezTo>
                      <a:pt x="57" y="71"/>
                      <a:pt x="54" y="67"/>
                      <a:pt x="49" y="61"/>
                    </a:cubicBezTo>
                    <a:cubicBezTo>
                      <a:pt x="43" y="54"/>
                      <a:pt x="36" y="46"/>
                      <a:pt x="28" y="36"/>
                    </a:cubicBezTo>
                    <a:cubicBezTo>
                      <a:pt x="20" y="26"/>
                      <a:pt x="14" y="18"/>
                      <a:pt x="8" y="11"/>
                    </a:cubicBezTo>
                    <a:cubicBezTo>
                      <a:pt x="6" y="8"/>
                      <a:pt x="4" y="5"/>
                      <a:pt x="2" y="3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4" y="4"/>
                      <a:pt x="9" y="10"/>
                    </a:cubicBezTo>
                    <a:cubicBezTo>
                      <a:pt x="15" y="16"/>
                      <a:pt x="22" y="25"/>
                      <a:pt x="30" y="35"/>
                    </a:cubicBezTo>
                    <a:cubicBezTo>
                      <a:pt x="38" y="44"/>
                      <a:pt x="45" y="53"/>
                      <a:pt x="50" y="60"/>
                    </a:cubicBezTo>
                    <a:cubicBezTo>
                      <a:pt x="55" y="66"/>
                      <a:pt x="58" y="70"/>
                      <a:pt x="58" y="7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8" name="任意多边形: 形状 497">
                <a:extLst>
                  <a:ext uri="{FF2B5EF4-FFF2-40B4-BE49-F238E27FC236}">
                    <a16:creationId xmlns:a16="http://schemas.microsoft.com/office/drawing/2014/main" id="{94481DCA-8A1A-4224-969F-686E6AA012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9776" y="1924051"/>
                <a:ext cx="131763" cy="155575"/>
              </a:xfrm>
              <a:custGeom>
                <a:avLst/>
                <a:gdLst>
                  <a:gd name="T0" fmla="*/ 58 w 58"/>
                  <a:gd name="T1" fmla="*/ 68 h 68"/>
                  <a:gd name="T2" fmla="*/ 28 w 58"/>
                  <a:gd name="T3" fmla="*/ 35 h 68"/>
                  <a:gd name="T4" fmla="*/ 0 w 58"/>
                  <a:gd name="T5" fmla="*/ 1 h 68"/>
                  <a:gd name="T6" fmla="*/ 30 w 58"/>
                  <a:gd name="T7" fmla="*/ 33 h 68"/>
                  <a:gd name="T8" fmla="*/ 58 w 58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68">
                    <a:moveTo>
                      <a:pt x="58" y="68"/>
                    </a:moveTo>
                    <a:cubicBezTo>
                      <a:pt x="57" y="68"/>
                      <a:pt x="44" y="53"/>
                      <a:pt x="28" y="35"/>
                    </a:cubicBezTo>
                    <a:cubicBezTo>
                      <a:pt x="12" y="16"/>
                      <a:pt x="0" y="1"/>
                      <a:pt x="0" y="1"/>
                    </a:cubicBezTo>
                    <a:cubicBezTo>
                      <a:pt x="1" y="0"/>
                      <a:pt x="14" y="15"/>
                      <a:pt x="30" y="33"/>
                    </a:cubicBezTo>
                    <a:cubicBezTo>
                      <a:pt x="46" y="52"/>
                      <a:pt x="58" y="67"/>
                      <a:pt x="58" y="6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9" name="任意多边形: 形状 498">
                <a:extLst>
                  <a:ext uri="{FF2B5EF4-FFF2-40B4-BE49-F238E27FC236}">
                    <a16:creationId xmlns:a16="http://schemas.microsoft.com/office/drawing/2014/main" id="{1F8BC4A5-9DD5-4570-88A9-123C7C35D5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97888" y="2074863"/>
                <a:ext cx="207963" cy="207963"/>
              </a:xfrm>
              <a:custGeom>
                <a:avLst/>
                <a:gdLst>
                  <a:gd name="T0" fmla="*/ 51 w 131"/>
                  <a:gd name="T1" fmla="*/ 131 h 131"/>
                  <a:gd name="T2" fmla="*/ 0 w 131"/>
                  <a:gd name="T3" fmla="*/ 78 h 131"/>
                  <a:gd name="T4" fmla="*/ 82 w 131"/>
                  <a:gd name="T5" fmla="*/ 0 h 131"/>
                  <a:gd name="T6" fmla="*/ 131 w 131"/>
                  <a:gd name="T7" fmla="*/ 53 h 131"/>
                  <a:gd name="T8" fmla="*/ 51 w 131"/>
                  <a:gd name="T9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131">
                    <a:moveTo>
                      <a:pt x="51" y="131"/>
                    </a:moveTo>
                    <a:lnTo>
                      <a:pt x="0" y="78"/>
                    </a:lnTo>
                    <a:lnTo>
                      <a:pt x="82" y="0"/>
                    </a:lnTo>
                    <a:lnTo>
                      <a:pt x="131" y="53"/>
                    </a:lnTo>
                    <a:lnTo>
                      <a:pt x="51" y="13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0" name="任意多边形: 形状 499">
                <a:extLst>
                  <a:ext uri="{FF2B5EF4-FFF2-40B4-BE49-F238E27FC236}">
                    <a16:creationId xmlns:a16="http://schemas.microsoft.com/office/drawing/2014/main" id="{9B2E243E-C36B-4F22-8E6E-5A7D4456A1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8688" y="1935163"/>
                <a:ext cx="301625" cy="304800"/>
              </a:xfrm>
              <a:custGeom>
                <a:avLst/>
                <a:gdLst>
                  <a:gd name="T0" fmla="*/ 71 w 132"/>
                  <a:gd name="T1" fmla="*/ 133 h 133"/>
                  <a:gd name="T2" fmla="*/ 0 w 132"/>
                  <a:gd name="T3" fmla="*/ 59 h 133"/>
                  <a:gd name="T4" fmla="*/ 61 w 132"/>
                  <a:gd name="T5" fmla="*/ 0 h 133"/>
                  <a:gd name="T6" fmla="*/ 132 w 132"/>
                  <a:gd name="T7" fmla="*/ 75 h 133"/>
                  <a:gd name="T8" fmla="*/ 71 w 132"/>
                  <a:gd name="T9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" h="133">
                    <a:moveTo>
                      <a:pt x="71" y="133"/>
                    </a:moveTo>
                    <a:cubicBezTo>
                      <a:pt x="0" y="59"/>
                      <a:pt x="0" y="59"/>
                      <a:pt x="0" y="59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92" y="20"/>
                      <a:pt x="116" y="45"/>
                      <a:pt x="132" y="75"/>
                    </a:cubicBezTo>
                    <a:lnTo>
                      <a:pt x="71" y="133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1" name="任意多边形: 形状 500">
                <a:extLst>
                  <a:ext uri="{FF2B5EF4-FFF2-40B4-BE49-F238E27FC236}">
                    <a16:creationId xmlns:a16="http://schemas.microsoft.com/office/drawing/2014/main" id="{1F9EC0E1-6FFA-4940-8F92-7590AFAE28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74088" y="1957388"/>
                <a:ext cx="146050" cy="139700"/>
              </a:xfrm>
              <a:custGeom>
                <a:avLst/>
                <a:gdLst>
                  <a:gd name="T0" fmla="*/ 1 w 64"/>
                  <a:gd name="T1" fmla="*/ 61 h 61"/>
                  <a:gd name="T2" fmla="*/ 31 w 64"/>
                  <a:gd name="T3" fmla="*/ 30 h 61"/>
                  <a:gd name="T4" fmla="*/ 64 w 64"/>
                  <a:gd name="T5" fmla="*/ 0 h 61"/>
                  <a:gd name="T6" fmla="*/ 33 w 64"/>
                  <a:gd name="T7" fmla="*/ 31 h 61"/>
                  <a:gd name="T8" fmla="*/ 1 w 64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1">
                    <a:moveTo>
                      <a:pt x="1" y="61"/>
                    </a:moveTo>
                    <a:cubicBezTo>
                      <a:pt x="0" y="61"/>
                      <a:pt x="14" y="47"/>
                      <a:pt x="31" y="30"/>
                    </a:cubicBezTo>
                    <a:cubicBezTo>
                      <a:pt x="49" y="13"/>
                      <a:pt x="63" y="0"/>
                      <a:pt x="64" y="0"/>
                    </a:cubicBezTo>
                    <a:cubicBezTo>
                      <a:pt x="64" y="0"/>
                      <a:pt x="50" y="14"/>
                      <a:pt x="33" y="31"/>
                    </a:cubicBezTo>
                    <a:cubicBezTo>
                      <a:pt x="15" y="48"/>
                      <a:pt x="1" y="61"/>
                      <a:pt x="1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2" name="任意多边形: 形状 501">
                <a:extLst>
                  <a:ext uri="{FF2B5EF4-FFF2-40B4-BE49-F238E27FC236}">
                    <a16:creationId xmlns:a16="http://schemas.microsoft.com/office/drawing/2014/main" id="{8073AE61-CCC0-4853-93A3-68394E56CF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05838" y="1990726"/>
                <a:ext cx="153988" cy="138113"/>
              </a:xfrm>
              <a:custGeom>
                <a:avLst/>
                <a:gdLst>
                  <a:gd name="T0" fmla="*/ 0 w 67"/>
                  <a:gd name="T1" fmla="*/ 61 h 61"/>
                  <a:gd name="T2" fmla="*/ 9 w 67"/>
                  <a:gd name="T3" fmla="*/ 52 h 61"/>
                  <a:gd name="T4" fmla="*/ 33 w 67"/>
                  <a:gd name="T5" fmla="*/ 30 h 61"/>
                  <a:gd name="T6" fmla="*/ 56 w 67"/>
                  <a:gd name="T7" fmla="*/ 9 h 61"/>
                  <a:gd name="T8" fmla="*/ 63 w 67"/>
                  <a:gd name="T9" fmla="*/ 3 h 61"/>
                  <a:gd name="T10" fmla="*/ 66 w 67"/>
                  <a:gd name="T11" fmla="*/ 0 h 61"/>
                  <a:gd name="T12" fmla="*/ 34 w 67"/>
                  <a:gd name="T13" fmla="*/ 32 h 61"/>
                  <a:gd name="T14" fmla="*/ 10 w 67"/>
                  <a:gd name="T15" fmla="*/ 53 h 61"/>
                  <a:gd name="T16" fmla="*/ 0 w 67"/>
                  <a:gd name="T17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61">
                    <a:moveTo>
                      <a:pt x="0" y="61"/>
                    </a:moveTo>
                    <a:cubicBezTo>
                      <a:pt x="0" y="61"/>
                      <a:pt x="3" y="57"/>
                      <a:pt x="9" y="52"/>
                    </a:cubicBezTo>
                    <a:cubicBezTo>
                      <a:pt x="15" y="46"/>
                      <a:pt x="24" y="39"/>
                      <a:pt x="33" y="30"/>
                    </a:cubicBezTo>
                    <a:cubicBezTo>
                      <a:pt x="42" y="22"/>
                      <a:pt x="50" y="15"/>
                      <a:pt x="56" y="9"/>
                    </a:cubicBezTo>
                    <a:cubicBezTo>
                      <a:pt x="59" y="7"/>
                      <a:pt x="61" y="4"/>
                      <a:pt x="63" y="3"/>
                    </a:cubicBezTo>
                    <a:cubicBezTo>
                      <a:pt x="65" y="1"/>
                      <a:pt x="66" y="0"/>
                      <a:pt x="66" y="0"/>
                    </a:cubicBezTo>
                    <a:cubicBezTo>
                      <a:pt x="67" y="1"/>
                      <a:pt x="52" y="15"/>
                      <a:pt x="34" y="32"/>
                    </a:cubicBezTo>
                    <a:cubicBezTo>
                      <a:pt x="25" y="40"/>
                      <a:pt x="17" y="48"/>
                      <a:pt x="10" y="53"/>
                    </a:cubicBezTo>
                    <a:cubicBezTo>
                      <a:pt x="4" y="58"/>
                      <a:pt x="0" y="61"/>
                      <a:pt x="0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3" name="任意多边形: 形状 502">
                <a:extLst>
                  <a:ext uri="{FF2B5EF4-FFF2-40B4-BE49-F238E27FC236}">
                    <a16:creationId xmlns:a16="http://schemas.microsoft.com/office/drawing/2014/main" id="{64F1F65E-388F-4384-994B-F28E8E2D0F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47113" y="2033588"/>
                <a:ext cx="155575" cy="139700"/>
              </a:xfrm>
              <a:custGeom>
                <a:avLst/>
                <a:gdLst>
                  <a:gd name="T0" fmla="*/ 0 w 68"/>
                  <a:gd name="T1" fmla="*/ 61 h 61"/>
                  <a:gd name="T2" fmla="*/ 10 w 68"/>
                  <a:gd name="T3" fmla="*/ 52 h 61"/>
                  <a:gd name="T4" fmla="*/ 33 w 68"/>
                  <a:gd name="T5" fmla="*/ 30 h 61"/>
                  <a:gd name="T6" fmla="*/ 57 w 68"/>
                  <a:gd name="T7" fmla="*/ 9 h 61"/>
                  <a:gd name="T8" fmla="*/ 65 w 68"/>
                  <a:gd name="T9" fmla="*/ 2 h 61"/>
                  <a:gd name="T10" fmla="*/ 67 w 68"/>
                  <a:gd name="T11" fmla="*/ 0 h 61"/>
                  <a:gd name="T12" fmla="*/ 58 w 68"/>
                  <a:gd name="T13" fmla="*/ 10 h 61"/>
                  <a:gd name="T14" fmla="*/ 35 w 68"/>
                  <a:gd name="T15" fmla="*/ 32 h 61"/>
                  <a:gd name="T16" fmla="*/ 11 w 68"/>
                  <a:gd name="T17" fmla="*/ 53 h 61"/>
                  <a:gd name="T18" fmla="*/ 0 w 68"/>
                  <a:gd name="T1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61">
                    <a:moveTo>
                      <a:pt x="0" y="61"/>
                    </a:moveTo>
                    <a:cubicBezTo>
                      <a:pt x="0" y="61"/>
                      <a:pt x="4" y="57"/>
                      <a:pt x="10" y="52"/>
                    </a:cubicBezTo>
                    <a:cubicBezTo>
                      <a:pt x="16" y="46"/>
                      <a:pt x="24" y="38"/>
                      <a:pt x="33" y="30"/>
                    </a:cubicBezTo>
                    <a:cubicBezTo>
                      <a:pt x="42" y="22"/>
                      <a:pt x="51" y="15"/>
                      <a:pt x="57" y="9"/>
                    </a:cubicBezTo>
                    <a:cubicBezTo>
                      <a:pt x="60" y="6"/>
                      <a:pt x="62" y="4"/>
                      <a:pt x="65" y="2"/>
                    </a:cubicBezTo>
                    <a:cubicBezTo>
                      <a:pt x="66" y="1"/>
                      <a:pt x="67" y="0"/>
                      <a:pt x="67" y="0"/>
                    </a:cubicBezTo>
                    <a:cubicBezTo>
                      <a:pt x="68" y="0"/>
                      <a:pt x="64" y="4"/>
                      <a:pt x="58" y="10"/>
                    </a:cubicBezTo>
                    <a:cubicBezTo>
                      <a:pt x="52" y="15"/>
                      <a:pt x="44" y="23"/>
                      <a:pt x="35" y="32"/>
                    </a:cubicBezTo>
                    <a:cubicBezTo>
                      <a:pt x="25" y="40"/>
                      <a:pt x="17" y="47"/>
                      <a:pt x="11" y="53"/>
                    </a:cubicBezTo>
                    <a:cubicBezTo>
                      <a:pt x="4" y="58"/>
                      <a:pt x="0" y="61"/>
                      <a:pt x="0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4" name="任意多边形: 形状 503">
                <a:extLst>
                  <a:ext uri="{FF2B5EF4-FFF2-40B4-BE49-F238E27FC236}">
                    <a16:creationId xmlns:a16="http://schemas.microsoft.com/office/drawing/2014/main" id="{7E0F009C-844F-45B0-941A-6ED833C15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5213" y="2071688"/>
                <a:ext cx="147638" cy="142875"/>
              </a:xfrm>
              <a:custGeom>
                <a:avLst/>
                <a:gdLst>
                  <a:gd name="T0" fmla="*/ 0 w 64"/>
                  <a:gd name="T1" fmla="*/ 61 h 62"/>
                  <a:gd name="T2" fmla="*/ 31 w 64"/>
                  <a:gd name="T3" fmla="*/ 30 h 62"/>
                  <a:gd name="T4" fmla="*/ 64 w 64"/>
                  <a:gd name="T5" fmla="*/ 1 h 62"/>
                  <a:gd name="T6" fmla="*/ 33 w 64"/>
                  <a:gd name="T7" fmla="*/ 32 h 62"/>
                  <a:gd name="T8" fmla="*/ 0 w 64"/>
                  <a:gd name="T9" fmla="*/ 6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2">
                    <a:moveTo>
                      <a:pt x="0" y="61"/>
                    </a:moveTo>
                    <a:cubicBezTo>
                      <a:pt x="0" y="61"/>
                      <a:pt x="14" y="47"/>
                      <a:pt x="31" y="30"/>
                    </a:cubicBezTo>
                    <a:cubicBezTo>
                      <a:pt x="49" y="14"/>
                      <a:pt x="64" y="0"/>
                      <a:pt x="64" y="1"/>
                    </a:cubicBezTo>
                    <a:cubicBezTo>
                      <a:pt x="64" y="1"/>
                      <a:pt x="50" y="15"/>
                      <a:pt x="33" y="32"/>
                    </a:cubicBezTo>
                    <a:cubicBezTo>
                      <a:pt x="15" y="49"/>
                      <a:pt x="1" y="62"/>
                      <a:pt x="0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5" name="矩形 504">
                <a:extLst>
                  <a:ext uri="{FF2B5EF4-FFF2-40B4-BE49-F238E27FC236}">
                    <a16:creationId xmlns:a16="http://schemas.microsoft.com/office/drawing/2014/main" id="{2018158F-3775-4E2D-AB9E-6973107BDB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42251" y="1763713"/>
                <a:ext cx="134938" cy="211138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6" name="任意多边形: 形状 505">
                <a:extLst>
                  <a:ext uri="{FF2B5EF4-FFF2-40B4-BE49-F238E27FC236}">
                    <a16:creationId xmlns:a16="http://schemas.microsoft.com/office/drawing/2014/main" id="{1620908E-2C6A-4651-97C4-05EE6F95AB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70813" y="1571626"/>
                <a:ext cx="279400" cy="254000"/>
              </a:xfrm>
              <a:custGeom>
                <a:avLst/>
                <a:gdLst>
                  <a:gd name="T0" fmla="*/ 122 w 122"/>
                  <a:gd name="T1" fmla="*/ 111 h 111"/>
                  <a:gd name="T2" fmla="*/ 0 w 122"/>
                  <a:gd name="T3" fmla="*/ 111 h 111"/>
                  <a:gd name="T4" fmla="*/ 0 w 122"/>
                  <a:gd name="T5" fmla="*/ 12 h 111"/>
                  <a:gd name="T6" fmla="*/ 122 w 122"/>
                  <a:gd name="T7" fmla="*/ 12 h 111"/>
                  <a:gd name="T8" fmla="*/ 122 w 122"/>
                  <a:gd name="T9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111">
                    <a:moveTo>
                      <a:pt x="122" y="111"/>
                    </a:moveTo>
                    <a:cubicBezTo>
                      <a:pt x="0" y="111"/>
                      <a:pt x="0" y="111"/>
                      <a:pt x="0" y="11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2" y="1"/>
                      <a:pt x="83" y="0"/>
                      <a:pt x="122" y="12"/>
                    </a:cubicBezTo>
                    <a:lnTo>
                      <a:pt x="122" y="111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7" name="任意多边形: 形状 506">
                <a:extLst>
                  <a:ext uri="{FF2B5EF4-FFF2-40B4-BE49-F238E27FC236}">
                    <a16:creationId xmlns:a16="http://schemas.microsoft.com/office/drawing/2014/main" id="{3E6A4C0C-EA8D-4B51-A6B3-7E07D2C6C5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9226" y="1598613"/>
                <a:ext cx="282575" cy="33338"/>
              </a:xfrm>
              <a:custGeom>
                <a:avLst/>
                <a:gdLst>
                  <a:gd name="T0" fmla="*/ 124 w 124"/>
                  <a:gd name="T1" fmla="*/ 0 h 14"/>
                  <a:gd name="T2" fmla="*/ 120 w 124"/>
                  <a:gd name="T3" fmla="*/ 2 h 14"/>
                  <a:gd name="T4" fmla="*/ 107 w 124"/>
                  <a:gd name="T5" fmla="*/ 7 h 14"/>
                  <a:gd name="T6" fmla="*/ 87 w 124"/>
                  <a:gd name="T7" fmla="*/ 12 h 14"/>
                  <a:gd name="T8" fmla="*/ 62 w 124"/>
                  <a:gd name="T9" fmla="*/ 14 h 14"/>
                  <a:gd name="T10" fmla="*/ 37 w 124"/>
                  <a:gd name="T11" fmla="*/ 12 h 14"/>
                  <a:gd name="T12" fmla="*/ 17 w 124"/>
                  <a:gd name="T13" fmla="*/ 7 h 14"/>
                  <a:gd name="T14" fmla="*/ 4 w 124"/>
                  <a:gd name="T15" fmla="*/ 3 h 14"/>
                  <a:gd name="T16" fmla="*/ 0 w 124"/>
                  <a:gd name="T17" fmla="*/ 1 h 14"/>
                  <a:gd name="T18" fmla="*/ 18 w 124"/>
                  <a:gd name="T19" fmla="*/ 6 h 14"/>
                  <a:gd name="T20" fmla="*/ 38 w 124"/>
                  <a:gd name="T21" fmla="*/ 10 h 14"/>
                  <a:gd name="T22" fmla="*/ 62 w 124"/>
                  <a:gd name="T23" fmla="*/ 12 h 14"/>
                  <a:gd name="T24" fmla="*/ 87 w 124"/>
                  <a:gd name="T25" fmla="*/ 10 h 14"/>
                  <a:gd name="T26" fmla="*/ 106 w 124"/>
                  <a:gd name="T27" fmla="*/ 6 h 14"/>
                  <a:gd name="T28" fmla="*/ 124 w 124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4" h="14">
                    <a:moveTo>
                      <a:pt x="124" y="0"/>
                    </a:moveTo>
                    <a:cubicBezTo>
                      <a:pt x="124" y="0"/>
                      <a:pt x="123" y="1"/>
                      <a:pt x="120" y="2"/>
                    </a:cubicBezTo>
                    <a:cubicBezTo>
                      <a:pt x="117" y="4"/>
                      <a:pt x="112" y="5"/>
                      <a:pt x="107" y="7"/>
                    </a:cubicBezTo>
                    <a:cubicBezTo>
                      <a:pt x="101" y="9"/>
                      <a:pt x="94" y="10"/>
                      <a:pt x="87" y="12"/>
                    </a:cubicBezTo>
                    <a:cubicBezTo>
                      <a:pt x="79" y="13"/>
                      <a:pt x="71" y="14"/>
                      <a:pt x="62" y="14"/>
                    </a:cubicBezTo>
                    <a:cubicBezTo>
                      <a:pt x="53" y="14"/>
                      <a:pt x="45" y="13"/>
                      <a:pt x="37" y="12"/>
                    </a:cubicBezTo>
                    <a:cubicBezTo>
                      <a:pt x="30" y="11"/>
                      <a:pt x="23" y="9"/>
                      <a:pt x="17" y="7"/>
                    </a:cubicBezTo>
                    <a:cubicBezTo>
                      <a:pt x="12" y="6"/>
                      <a:pt x="7" y="4"/>
                      <a:pt x="4" y="3"/>
                    </a:cubicBezTo>
                    <a:cubicBezTo>
                      <a:pt x="2" y="2"/>
                      <a:pt x="0" y="1"/>
                      <a:pt x="0" y="1"/>
                    </a:cubicBezTo>
                    <a:cubicBezTo>
                      <a:pt x="0" y="0"/>
                      <a:pt x="7" y="3"/>
                      <a:pt x="18" y="6"/>
                    </a:cubicBezTo>
                    <a:cubicBezTo>
                      <a:pt x="23" y="8"/>
                      <a:pt x="30" y="9"/>
                      <a:pt x="38" y="10"/>
                    </a:cubicBezTo>
                    <a:cubicBezTo>
                      <a:pt x="45" y="11"/>
                      <a:pt x="53" y="12"/>
                      <a:pt x="62" y="12"/>
                    </a:cubicBezTo>
                    <a:cubicBezTo>
                      <a:pt x="71" y="12"/>
                      <a:pt x="79" y="11"/>
                      <a:pt x="87" y="10"/>
                    </a:cubicBezTo>
                    <a:cubicBezTo>
                      <a:pt x="94" y="9"/>
                      <a:pt x="101" y="7"/>
                      <a:pt x="106" y="6"/>
                    </a:cubicBezTo>
                    <a:cubicBezTo>
                      <a:pt x="117" y="2"/>
                      <a:pt x="124" y="0"/>
                      <a:pt x="12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8" name="椭圆 507">
                <a:extLst>
                  <a:ext uri="{FF2B5EF4-FFF2-40B4-BE49-F238E27FC236}">
                    <a16:creationId xmlns:a16="http://schemas.microsoft.com/office/drawing/2014/main" id="{245F5C3D-B5E4-4C6E-815F-4CC22A3AF0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9713" y="1631951"/>
                <a:ext cx="4763" cy="19367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9" name="椭圆 508">
                <a:extLst>
                  <a:ext uri="{FF2B5EF4-FFF2-40B4-BE49-F238E27FC236}">
                    <a16:creationId xmlns:a16="http://schemas.microsoft.com/office/drawing/2014/main" id="{8306A5E0-87A9-4A96-8592-1E7492F8DA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13688" y="1631951"/>
                <a:ext cx="3175" cy="1952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0" name="椭圆 509">
                <a:extLst>
                  <a:ext uri="{FF2B5EF4-FFF2-40B4-BE49-F238E27FC236}">
                    <a16:creationId xmlns:a16="http://schemas.microsoft.com/office/drawing/2014/main" id="{CBAB9DC9-9C6B-445B-B9BE-D04CE48063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66076" y="1628776"/>
                <a:ext cx="4763" cy="196850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1" name="椭圆 510">
                <a:extLst>
                  <a:ext uri="{FF2B5EF4-FFF2-40B4-BE49-F238E27FC236}">
                    <a16:creationId xmlns:a16="http://schemas.microsoft.com/office/drawing/2014/main" id="{4C4D108D-4A4B-4682-8A16-EFAC7A635C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10526" y="1612901"/>
                <a:ext cx="4763" cy="21272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2" name="椭圆 511">
                <a:extLst>
                  <a:ext uri="{FF2B5EF4-FFF2-40B4-BE49-F238E27FC236}">
                    <a16:creationId xmlns:a16="http://schemas.microsoft.com/office/drawing/2014/main" id="{30AA8099-67EB-4B1A-8A2E-91D51A8332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10501" y="1612901"/>
                <a:ext cx="4763" cy="21272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3" name="椭圆 512">
                <a:extLst>
                  <a:ext uri="{FF2B5EF4-FFF2-40B4-BE49-F238E27FC236}">
                    <a16:creationId xmlns:a16="http://schemas.microsoft.com/office/drawing/2014/main" id="{9EC84E69-66B4-477D-B53F-59282876F9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07213" y="1909763"/>
                <a:ext cx="1970088" cy="1970088"/>
              </a:xfrm>
              <a:prstGeom prst="ellipse">
                <a:avLst/>
              </a:pr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4" name="椭圆 513">
                <a:extLst>
                  <a:ext uri="{FF2B5EF4-FFF2-40B4-BE49-F238E27FC236}">
                    <a16:creationId xmlns:a16="http://schemas.microsoft.com/office/drawing/2014/main" id="{9C755CD0-6F05-4DF0-92DD-603A38FCAE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64376" y="2058988"/>
                <a:ext cx="1655763" cy="1657350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5" name="任意多边形: 形状 514">
                <a:extLst>
                  <a:ext uri="{FF2B5EF4-FFF2-40B4-BE49-F238E27FC236}">
                    <a16:creationId xmlns:a16="http://schemas.microsoft.com/office/drawing/2014/main" id="{323B2B25-89EE-4F81-A0B2-A2118993D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2788" y="2054226"/>
                <a:ext cx="1657350" cy="1665288"/>
              </a:xfrm>
              <a:custGeom>
                <a:avLst/>
                <a:gdLst>
                  <a:gd name="T0" fmla="*/ 725 w 725"/>
                  <a:gd name="T1" fmla="*/ 359 h 729"/>
                  <a:gd name="T2" fmla="*/ 714 w 725"/>
                  <a:gd name="T3" fmla="*/ 276 h 729"/>
                  <a:gd name="T4" fmla="*/ 674 w 725"/>
                  <a:gd name="T5" fmla="*/ 180 h 729"/>
                  <a:gd name="T6" fmla="*/ 513 w 725"/>
                  <a:gd name="T7" fmla="*/ 36 h 729"/>
                  <a:gd name="T8" fmla="*/ 337 w 725"/>
                  <a:gd name="T9" fmla="*/ 4 h 729"/>
                  <a:gd name="T10" fmla="*/ 240 w 725"/>
                  <a:gd name="T11" fmla="*/ 25 h 729"/>
                  <a:gd name="T12" fmla="*/ 42 w 725"/>
                  <a:gd name="T13" fmla="*/ 198 h 729"/>
                  <a:gd name="T14" fmla="*/ 20 w 725"/>
                  <a:gd name="T15" fmla="*/ 250 h 729"/>
                  <a:gd name="T16" fmla="*/ 2 w 725"/>
                  <a:gd name="T17" fmla="*/ 364 h 729"/>
                  <a:gd name="T18" fmla="*/ 20 w 725"/>
                  <a:gd name="T19" fmla="*/ 478 h 729"/>
                  <a:gd name="T20" fmla="*/ 42 w 725"/>
                  <a:gd name="T21" fmla="*/ 531 h 729"/>
                  <a:gd name="T22" fmla="*/ 240 w 725"/>
                  <a:gd name="T23" fmla="*/ 704 h 729"/>
                  <a:gd name="T24" fmla="*/ 337 w 725"/>
                  <a:gd name="T25" fmla="*/ 725 h 729"/>
                  <a:gd name="T26" fmla="*/ 513 w 725"/>
                  <a:gd name="T27" fmla="*/ 693 h 729"/>
                  <a:gd name="T28" fmla="*/ 674 w 725"/>
                  <a:gd name="T29" fmla="*/ 549 h 729"/>
                  <a:gd name="T30" fmla="*/ 714 w 725"/>
                  <a:gd name="T31" fmla="*/ 453 h 729"/>
                  <a:gd name="T32" fmla="*/ 725 w 725"/>
                  <a:gd name="T33" fmla="*/ 370 h 729"/>
                  <a:gd name="T34" fmla="*/ 725 w 725"/>
                  <a:gd name="T35" fmla="*/ 370 h 729"/>
                  <a:gd name="T36" fmla="*/ 715 w 725"/>
                  <a:gd name="T37" fmla="*/ 453 h 729"/>
                  <a:gd name="T38" fmla="*/ 675 w 725"/>
                  <a:gd name="T39" fmla="*/ 550 h 729"/>
                  <a:gd name="T40" fmla="*/ 514 w 725"/>
                  <a:gd name="T41" fmla="*/ 695 h 729"/>
                  <a:gd name="T42" fmla="*/ 336 w 725"/>
                  <a:gd name="T43" fmla="*/ 727 h 729"/>
                  <a:gd name="T44" fmla="*/ 239 w 725"/>
                  <a:gd name="T45" fmla="*/ 706 h 729"/>
                  <a:gd name="T46" fmla="*/ 41 w 725"/>
                  <a:gd name="T47" fmla="*/ 532 h 729"/>
                  <a:gd name="T48" fmla="*/ 18 w 725"/>
                  <a:gd name="T49" fmla="*/ 479 h 729"/>
                  <a:gd name="T50" fmla="*/ 0 w 725"/>
                  <a:gd name="T51" fmla="*/ 364 h 729"/>
                  <a:gd name="T52" fmla="*/ 18 w 725"/>
                  <a:gd name="T53" fmla="*/ 250 h 729"/>
                  <a:gd name="T54" fmla="*/ 41 w 725"/>
                  <a:gd name="T55" fmla="*/ 197 h 729"/>
                  <a:gd name="T56" fmla="*/ 239 w 725"/>
                  <a:gd name="T57" fmla="*/ 23 h 729"/>
                  <a:gd name="T58" fmla="*/ 336 w 725"/>
                  <a:gd name="T59" fmla="*/ 2 h 729"/>
                  <a:gd name="T60" fmla="*/ 514 w 725"/>
                  <a:gd name="T61" fmla="*/ 34 h 729"/>
                  <a:gd name="T62" fmla="*/ 675 w 725"/>
                  <a:gd name="T63" fmla="*/ 179 h 729"/>
                  <a:gd name="T64" fmla="*/ 715 w 725"/>
                  <a:gd name="T65" fmla="*/ 276 h 729"/>
                  <a:gd name="T66" fmla="*/ 725 w 725"/>
                  <a:gd name="T67" fmla="*/ 359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25" h="729">
                    <a:moveTo>
                      <a:pt x="725" y="364"/>
                    </a:moveTo>
                    <a:cubicBezTo>
                      <a:pt x="725" y="364"/>
                      <a:pt x="725" y="362"/>
                      <a:pt x="725" y="359"/>
                    </a:cubicBezTo>
                    <a:cubicBezTo>
                      <a:pt x="725" y="355"/>
                      <a:pt x="725" y="349"/>
                      <a:pt x="724" y="341"/>
                    </a:cubicBezTo>
                    <a:cubicBezTo>
                      <a:pt x="723" y="326"/>
                      <a:pt x="721" y="304"/>
                      <a:pt x="714" y="276"/>
                    </a:cubicBezTo>
                    <a:cubicBezTo>
                      <a:pt x="710" y="262"/>
                      <a:pt x="706" y="247"/>
                      <a:pt x="699" y="231"/>
                    </a:cubicBezTo>
                    <a:cubicBezTo>
                      <a:pt x="693" y="214"/>
                      <a:pt x="685" y="197"/>
                      <a:pt x="674" y="180"/>
                    </a:cubicBezTo>
                    <a:cubicBezTo>
                      <a:pt x="653" y="145"/>
                      <a:pt x="623" y="108"/>
                      <a:pt x="582" y="77"/>
                    </a:cubicBezTo>
                    <a:cubicBezTo>
                      <a:pt x="562" y="61"/>
                      <a:pt x="538" y="47"/>
                      <a:pt x="513" y="36"/>
                    </a:cubicBezTo>
                    <a:cubicBezTo>
                      <a:pt x="487" y="24"/>
                      <a:pt x="460" y="15"/>
                      <a:pt x="430" y="9"/>
                    </a:cubicBezTo>
                    <a:cubicBezTo>
                      <a:pt x="400" y="4"/>
                      <a:pt x="369" y="2"/>
                      <a:pt x="337" y="4"/>
                    </a:cubicBezTo>
                    <a:cubicBezTo>
                      <a:pt x="321" y="5"/>
                      <a:pt x="304" y="8"/>
                      <a:pt x="288" y="11"/>
                    </a:cubicBezTo>
                    <a:cubicBezTo>
                      <a:pt x="272" y="14"/>
                      <a:pt x="256" y="19"/>
                      <a:pt x="240" y="25"/>
                    </a:cubicBezTo>
                    <a:cubicBezTo>
                      <a:pt x="176" y="48"/>
                      <a:pt x="116" y="91"/>
                      <a:pt x="72" y="151"/>
                    </a:cubicBezTo>
                    <a:cubicBezTo>
                      <a:pt x="61" y="166"/>
                      <a:pt x="51" y="182"/>
                      <a:pt x="42" y="198"/>
                    </a:cubicBezTo>
                    <a:cubicBezTo>
                      <a:pt x="38" y="206"/>
                      <a:pt x="34" y="215"/>
                      <a:pt x="30" y="224"/>
                    </a:cubicBezTo>
                    <a:cubicBezTo>
                      <a:pt x="27" y="233"/>
                      <a:pt x="23" y="241"/>
                      <a:pt x="20" y="250"/>
                    </a:cubicBezTo>
                    <a:cubicBezTo>
                      <a:pt x="14" y="269"/>
                      <a:pt x="10" y="287"/>
                      <a:pt x="7" y="306"/>
                    </a:cubicBezTo>
                    <a:cubicBezTo>
                      <a:pt x="4" y="325"/>
                      <a:pt x="2" y="345"/>
                      <a:pt x="2" y="364"/>
                    </a:cubicBezTo>
                    <a:cubicBezTo>
                      <a:pt x="2" y="384"/>
                      <a:pt x="4" y="403"/>
                      <a:pt x="7" y="423"/>
                    </a:cubicBezTo>
                    <a:cubicBezTo>
                      <a:pt x="10" y="442"/>
                      <a:pt x="14" y="460"/>
                      <a:pt x="20" y="478"/>
                    </a:cubicBezTo>
                    <a:cubicBezTo>
                      <a:pt x="23" y="488"/>
                      <a:pt x="27" y="496"/>
                      <a:pt x="30" y="505"/>
                    </a:cubicBezTo>
                    <a:cubicBezTo>
                      <a:pt x="34" y="514"/>
                      <a:pt x="38" y="522"/>
                      <a:pt x="42" y="531"/>
                    </a:cubicBezTo>
                    <a:cubicBezTo>
                      <a:pt x="51" y="547"/>
                      <a:pt x="61" y="563"/>
                      <a:pt x="72" y="578"/>
                    </a:cubicBezTo>
                    <a:cubicBezTo>
                      <a:pt x="116" y="638"/>
                      <a:pt x="176" y="681"/>
                      <a:pt x="240" y="704"/>
                    </a:cubicBezTo>
                    <a:cubicBezTo>
                      <a:pt x="256" y="710"/>
                      <a:pt x="272" y="715"/>
                      <a:pt x="288" y="718"/>
                    </a:cubicBezTo>
                    <a:cubicBezTo>
                      <a:pt x="304" y="721"/>
                      <a:pt x="321" y="724"/>
                      <a:pt x="337" y="725"/>
                    </a:cubicBezTo>
                    <a:cubicBezTo>
                      <a:pt x="369" y="727"/>
                      <a:pt x="400" y="725"/>
                      <a:pt x="430" y="720"/>
                    </a:cubicBezTo>
                    <a:cubicBezTo>
                      <a:pt x="460" y="714"/>
                      <a:pt x="487" y="705"/>
                      <a:pt x="513" y="693"/>
                    </a:cubicBezTo>
                    <a:cubicBezTo>
                      <a:pt x="538" y="682"/>
                      <a:pt x="562" y="668"/>
                      <a:pt x="582" y="652"/>
                    </a:cubicBezTo>
                    <a:cubicBezTo>
                      <a:pt x="623" y="621"/>
                      <a:pt x="653" y="584"/>
                      <a:pt x="674" y="549"/>
                    </a:cubicBezTo>
                    <a:cubicBezTo>
                      <a:pt x="685" y="532"/>
                      <a:pt x="693" y="515"/>
                      <a:pt x="699" y="498"/>
                    </a:cubicBezTo>
                    <a:cubicBezTo>
                      <a:pt x="706" y="482"/>
                      <a:pt x="710" y="467"/>
                      <a:pt x="714" y="453"/>
                    </a:cubicBezTo>
                    <a:cubicBezTo>
                      <a:pt x="721" y="425"/>
                      <a:pt x="723" y="403"/>
                      <a:pt x="724" y="388"/>
                    </a:cubicBezTo>
                    <a:cubicBezTo>
                      <a:pt x="725" y="380"/>
                      <a:pt x="725" y="374"/>
                      <a:pt x="725" y="370"/>
                    </a:cubicBezTo>
                    <a:cubicBezTo>
                      <a:pt x="725" y="366"/>
                      <a:pt x="725" y="364"/>
                      <a:pt x="725" y="364"/>
                    </a:cubicBezTo>
                    <a:cubicBezTo>
                      <a:pt x="725" y="364"/>
                      <a:pt x="725" y="366"/>
                      <a:pt x="725" y="370"/>
                    </a:cubicBezTo>
                    <a:cubicBezTo>
                      <a:pt x="725" y="374"/>
                      <a:pt x="725" y="380"/>
                      <a:pt x="725" y="388"/>
                    </a:cubicBezTo>
                    <a:cubicBezTo>
                      <a:pt x="724" y="403"/>
                      <a:pt x="722" y="425"/>
                      <a:pt x="715" y="453"/>
                    </a:cubicBezTo>
                    <a:cubicBezTo>
                      <a:pt x="711" y="467"/>
                      <a:pt x="707" y="482"/>
                      <a:pt x="700" y="499"/>
                    </a:cubicBezTo>
                    <a:cubicBezTo>
                      <a:pt x="694" y="515"/>
                      <a:pt x="686" y="532"/>
                      <a:pt x="675" y="550"/>
                    </a:cubicBezTo>
                    <a:cubicBezTo>
                      <a:pt x="654" y="585"/>
                      <a:pt x="624" y="622"/>
                      <a:pt x="583" y="653"/>
                    </a:cubicBezTo>
                    <a:cubicBezTo>
                      <a:pt x="562" y="669"/>
                      <a:pt x="539" y="683"/>
                      <a:pt x="514" y="695"/>
                    </a:cubicBezTo>
                    <a:cubicBezTo>
                      <a:pt x="488" y="707"/>
                      <a:pt x="460" y="716"/>
                      <a:pt x="430" y="721"/>
                    </a:cubicBezTo>
                    <a:cubicBezTo>
                      <a:pt x="400" y="727"/>
                      <a:pt x="369" y="729"/>
                      <a:pt x="336" y="727"/>
                    </a:cubicBezTo>
                    <a:cubicBezTo>
                      <a:pt x="320" y="726"/>
                      <a:pt x="304" y="723"/>
                      <a:pt x="288" y="720"/>
                    </a:cubicBezTo>
                    <a:cubicBezTo>
                      <a:pt x="272" y="716"/>
                      <a:pt x="255" y="712"/>
                      <a:pt x="239" y="706"/>
                    </a:cubicBezTo>
                    <a:cubicBezTo>
                      <a:pt x="175" y="683"/>
                      <a:pt x="114" y="640"/>
                      <a:pt x="70" y="579"/>
                    </a:cubicBezTo>
                    <a:cubicBezTo>
                      <a:pt x="59" y="564"/>
                      <a:pt x="49" y="548"/>
                      <a:pt x="41" y="532"/>
                    </a:cubicBezTo>
                    <a:cubicBezTo>
                      <a:pt x="36" y="523"/>
                      <a:pt x="32" y="515"/>
                      <a:pt x="28" y="506"/>
                    </a:cubicBezTo>
                    <a:cubicBezTo>
                      <a:pt x="25" y="497"/>
                      <a:pt x="21" y="488"/>
                      <a:pt x="18" y="479"/>
                    </a:cubicBezTo>
                    <a:cubicBezTo>
                      <a:pt x="12" y="461"/>
                      <a:pt x="7" y="442"/>
                      <a:pt x="5" y="423"/>
                    </a:cubicBezTo>
                    <a:cubicBezTo>
                      <a:pt x="1" y="404"/>
                      <a:pt x="0" y="384"/>
                      <a:pt x="0" y="364"/>
                    </a:cubicBezTo>
                    <a:cubicBezTo>
                      <a:pt x="0" y="345"/>
                      <a:pt x="1" y="325"/>
                      <a:pt x="5" y="306"/>
                    </a:cubicBezTo>
                    <a:cubicBezTo>
                      <a:pt x="7" y="287"/>
                      <a:pt x="12" y="268"/>
                      <a:pt x="18" y="250"/>
                    </a:cubicBezTo>
                    <a:cubicBezTo>
                      <a:pt x="21" y="241"/>
                      <a:pt x="25" y="232"/>
                      <a:pt x="28" y="223"/>
                    </a:cubicBezTo>
                    <a:cubicBezTo>
                      <a:pt x="32" y="214"/>
                      <a:pt x="36" y="206"/>
                      <a:pt x="41" y="197"/>
                    </a:cubicBezTo>
                    <a:cubicBezTo>
                      <a:pt x="49" y="181"/>
                      <a:pt x="59" y="164"/>
                      <a:pt x="70" y="150"/>
                    </a:cubicBezTo>
                    <a:cubicBezTo>
                      <a:pt x="114" y="89"/>
                      <a:pt x="175" y="46"/>
                      <a:pt x="239" y="23"/>
                    </a:cubicBezTo>
                    <a:cubicBezTo>
                      <a:pt x="255" y="17"/>
                      <a:pt x="272" y="13"/>
                      <a:pt x="288" y="9"/>
                    </a:cubicBezTo>
                    <a:cubicBezTo>
                      <a:pt x="304" y="6"/>
                      <a:pt x="320" y="3"/>
                      <a:pt x="336" y="2"/>
                    </a:cubicBezTo>
                    <a:cubicBezTo>
                      <a:pt x="369" y="0"/>
                      <a:pt x="400" y="2"/>
                      <a:pt x="430" y="8"/>
                    </a:cubicBezTo>
                    <a:cubicBezTo>
                      <a:pt x="460" y="13"/>
                      <a:pt x="488" y="22"/>
                      <a:pt x="514" y="34"/>
                    </a:cubicBezTo>
                    <a:cubicBezTo>
                      <a:pt x="539" y="46"/>
                      <a:pt x="562" y="60"/>
                      <a:pt x="583" y="76"/>
                    </a:cubicBezTo>
                    <a:cubicBezTo>
                      <a:pt x="624" y="107"/>
                      <a:pt x="654" y="144"/>
                      <a:pt x="675" y="179"/>
                    </a:cubicBezTo>
                    <a:cubicBezTo>
                      <a:pt x="685" y="197"/>
                      <a:pt x="694" y="214"/>
                      <a:pt x="700" y="230"/>
                    </a:cubicBezTo>
                    <a:cubicBezTo>
                      <a:pt x="707" y="246"/>
                      <a:pt x="711" y="262"/>
                      <a:pt x="715" y="276"/>
                    </a:cubicBezTo>
                    <a:cubicBezTo>
                      <a:pt x="722" y="304"/>
                      <a:pt x="724" y="326"/>
                      <a:pt x="725" y="341"/>
                    </a:cubicBezTo>
                    <a:cubicBezTo>
                      <a:pt x="725" y="349"/>
                      <a:pt x="725" y="355"/>
                      <a:pt x="725" y="359"/>
                    </a:cubicBezTo>
                    <a:cubicBezTo>
                      <a:pt x="725" y="362"/>
                      <a:pt x="725" y="364"/>
                      <a:pt x="725" y="36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6" name="任意多边形: 形状 515">
                <a:extLst>
                  <a:ext uri="{FF2B5EF4-FFF2-40B4-BE49-F238E27FC236}">
                    <a16:creationId xmlns:a16="http://schemas.microsoft.com/office/drawing/2014/main" id="{523F7A7C-26BD-4064-AF3B-E7CD6F86A0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0276" y="2847976"/>
                <a:ext cx="96838" cy="11113"/>
              </a:xfrm>
              <a:custGeom>
                <a:avLst/>
                <a:gdLst>
                  <a:gd name="T0" fmla="*/ 21 w 42"/>
                  <a:gd name="T1" fmla="*/ 4 h 5"/>
                  <a:gd name="T2" fmla="*/ 0 w 42"/>
                  <a:gd name="T3" fmla="*/ 3 h 5"/>
                  <a:gd name="T4" fmla="*/ 21 w 42"/>
                  <a:gd name="T5" fmla="*/ 0 h 5"/>
                  <a:gd name="T6" fmla="*/ 42 w 42"/>
                  <a:gd name="T7" fmla="*/ 1 h 5"/>
                  <a:gd name="T8" fmla="*/ 21 w 42"/>
                  <a:gd name="T9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5">
                    <a:moveTo>
                      <a:pt x="21" y="4"/>
                    </a:moveTo>
                    <a:cubicBezTo>
                      <a:pt x="10" y="5"/>
                      <a:pt x="0" y="4"/>
                      <a:pt x="0" y="3"/>
                    </a:cubicBezTo>
                    <a:cubicBezTo>
                      <a:pt x="0" y="2"/>
                      <a:pt x="9" y="1"/>
                      <a:pt x="21" y="0"/>
                    </a:cubicBezTo>
                    <a:cubicBezTo>
                      <a:pt x="32" y="0"/>
                      <a:pt x="42" y="0"/>
                      <a:pt x="42" y="1"/>
                    </a:cubicBezTo>
                    <a:cubicBezTo>
                      <a:pt x="42" y="2"/>
                      <a:pt x="33" y="4"/>
                      <a:pt x="21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7" name="任意多边形: 形状 516">
                <a:extLst>
                  <a:ext uri="{FF2B5EF4-FFF2-40B4-BE49-F238E27FC236}">
                    <a16:creationId xmlns:a16="http://schemas.microsoft.com/office/drawing/2014/main" id="{32F5AF14-2CAF-4E33-AE31-B5A0E54687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34401" y="3030538"/>
                <a:ext cx="93663" cy="26988"/>
              </a:xfrm>
              <a:custGeom>
                <a:avLst/>
                <a:gdLst>
                  <a:gd name="T0" fmla="*/ 20 w 41"/>
                  <a:gd name="T1" fmla="*/ 8 h 12"/>
                  <a:gd name="T2" fmla="*/ 1 w 41"/>
                  <a:gd name="T3" fmla="*/ 1 h 12"/>
                  <a:gd name="T4" fmla="*/ 21 w 41"/>
                  <a:gd name="T5" fmla="*/ 4 h 12"/>
                  <a:gd name="T6" fmla="*/ 41 w 41"/>
                  <a:gd name="T7" fmla="*/ 10 h 12"/>
                  <a:gd name="T8" fmla="*/ 20 w 41"/>
                  <a:gd name="T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2">
                    <a:moveTo>
                      <a:pt x="20" y="8"/>
                    </a:moveTo>
                    <a:cubicBezTo>
                      <a:pt x="9" y="5"/>
                      <a:pt x="0" y="2"/>
                      <a:pt x="1" y="1"/>
                    </a:cubicBezTo>
                    <a:cubicBezTo>
                      <a:pt x="1" y="0"/>
                      <a:pt x="10" y="1"/>
                      <a:pt x="21" y="4"/>
                    </a:cubicBezTo>
                    <a:cubicBezTo>
                      <a:pt x="33" y="6"/>
                      <a:pt x="41" y="9"/>
                      <a:pt x="41" y="10"/>
                    </a:cubicBezTo>
                    <a:cubicBezTo>
                      <a:pt x="41" y="12"/>
                      <a:pt x="32" y="10"/>
                      <a:pt x="20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8" name="任意多边形: 形状 517">
                <a:extLst>
                  <a:ext uri="{FF2B5EF4-FFF2-40B4-BE49-F238E27FC236}">
                    <a16:creationId xmlns:a16="http://schemas.microsoft.com/office/drawing/2014/main" id="{01497C1C-12E7-4B25-BB75-4973AE9C7D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72488" y="3197226"/>
                <a:ext cx="85725" cy="49213"/>
              </a:xfrm>
              <a:custGeom>
                <a:avLst/>
                <a:gdLst>
                  <a:gd name="T0" fmla="*/ 18 w 37"/>
                  <a:gd name="T1" fmla="*/ 13 h 22"/>
                  <a:gd name="T2" fmla="*/ 0 w 37"/>
                  <a:gd name="T3" fmla="*/ 1 h 22"/>
                  <a:gd name="T4" fmla="*/ 19 w 37"/>
                  <a:gd name="T5" fmla="*/ 9 h 22"/>
                  <a:gd name="T6" fmla="*/ 37 w 37"/>
                  <a:gd name="T7" fmla="*/ 21 h 22"/>
                  <a:gd name="T8" fmla="*/ 18 w 37"/>
                  <a:gd name="T9" fmla="*/ 1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18" y="13"/>
                    </a:moveTo>
                    <a:cubicBezTo>
                      <a:pt x="7" y="7"/>
                      <a:pt x="0" y="2"/>
                      <a:pt x="0" y="1"/>
                    </a:cubicBezTo>
                    <a:cubicBezTo>
                      <a:pt x="1" y="0"/>
                      <a:pt x="9" y="4"/>
                      <a:pt x="19" y="9"/>
                    </a:cubicBezTo>
                    <a:cubicBezTo>
                      <a:pt x="30" y="15"/>
                      <a:pt x="37" y="20"/>
                      <a:pt x="37" y="21"/>
                    </a:cubicBezTo>
                    <a:cubicBezTo>
                      <a:pt x="36" y="22"/>
                      <a:pt x="28" y="18"/>
                      <a:pt x="18" y="1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9" name="任意多边形: 形状 518">
                <a:extLst>
                  <a:ext uri="{FF2B5EF4-FFF2-40B4-BE49-F238E27FC236}">
                    <a16:creationId xmlns:a16="http://schemas.microsoft.com/office/drawing/2014/main" id="{FD977DED-CCAE-4EC8-A1EA-9FD0079E5E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66126" y="3343276"/>
                <a:ext cx="73025" cy="68263"/>
              </a:xfrm>
              <a:custGeom>
                <a:avLst/>
                <a:gdLst>
                  <a:gd name="T0" fmla="*/ 15 w 32"/>
                  <a:gd name="T1" fmla="*/ 16 h 30"/>
                  <a:gd name="T2" fmla="*/ 1 w 32"/>
                  <a:gd name="T3" fmla="*/ 0 h 30"/>
                  <a:gd name="T4" fmla="*/ 18 w 32"/>
                  <a:gd name="T5" fmla="*/ 13 h 30"/>
                  <a:gd name="T6" fmla="*/ 31 w 32"/>
                  <a:gd name="T7" fmla="*/ 29 h 30"/>
                  <a:gd name="T8" fmla="*/ 15 w 32"/>
                  <a:gd name="T9" fmla="*/ 1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0">
                    <a:moveTo>
                      <a:pt x="15" y="16"/>
                    </a:moveTo>
                    <a:cubicBezTo>
                      <a:pt x="7" y="8"/>
                      <a:pt x="0" y="1"/>
                      <a:pt x="1" y="0"/>
                    </a:cubicBezTo>
                    <a:cubicBezTo>
                      <a:pt x="2" y="0"/>
                      <a:pt x="9" y="6"/>
                      <a:pt x="18" y="13"/>
                    </a:cubicBezTo>
                    <a:cubicBezTo>
                      <a:pt x="26" y="21"/>
                      <a:pt x="32" y="28"/>
                      <a:pt x="31" y="29"/>
                    </a:cubicBezTo>
                    <a:cubicBezTo>
                      <a:pt x="30" y="30"/>
                      <a:pt x="23" y="24"/>
                      <a:pt x="15" y="1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0" name="任意多边形: 形状 519">
                <a:extLst>
                  <a:ext uri="{FF2B5EF4-FFF2-40B4-BE49-F238E27FC236}">
                    <a16:creationId xmlns:a16="http://schemas.microsoft.com/office/drawing/2014/main" id="{9A55ACD8-2533-4621-8C64-D79127C9EC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26426" y="3452813"/>
                <a:ext cx="52388" cy="84138"/>
              </a:xfrm>
              <a:custGeom>
                <a:avLst/>
                <a:gdLst>
                  <a:gd name="T0" fmla="*/ 10 w 23"/>
                  <a:gd name="T1" fmla="*/ 20 h 37"/>
                  <a:gd name="T2" fmla="*/ 1 w 23"/>
                  <a:gd name="T3" fmla="*/ 1 h 37"/>
                  <a:gd name="T4" fmla="*/ 13 w 23"/>
                  <a:gd name="T5" fmla="*/ 18 h 37"/>
                  <a:gd name="T6" fmla="*/ 22 w 23"/>
                  <a:gd name="T7" fmla="*/ 37 h 37"/>
                  <a:gd name="T8" fmla="*/ 10 w 23"/>
                  <a:gd name="T9" fmla="*/ 2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37">
                    <a:moveTo>
                      <a:pt x="10" y="20"/>
                    </a:moveTo>
                    <a:cubicBezTo>
                      <a:pt x="4" y="10"/>
                      <a:pt x="0" y="1"/>
                      <a:pt x="1" y="1"/>
                    </a:cubicBezTo>
                    <a:cubicBezTo>
                      <a:pt x="2" y="0"/>
                      <a:pt x="7" y="8"/>
                      <a:pt x="13" y="18"/>
                    </a:cubicBezTo>
                    <a:cubicBezTo>
                      <a:pt x="19" y="28"/>
                      <a:pt x="23" y="36"/>
                      <a:pt x="22" y="37"/>
                    </a:cubicBezTo>
                    <a:cubicBezTo>
                      <a:pt x="21" y="37"/>
                      <a:pt x="16" y="30"/>
                      <a:pt x="10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1" name="任意多边形: 形状 520">
                <a:extLst>
                  <a:ext uri="{FF2B5EF4-FFF2-40B4-BE49-F238E27FC236}">
                    <a16:creationId xmlns:a16="http://schemas.microsoft.com/office/drawing/2014/main" id="{3A4627AF-C835-4229-8C63-970726F285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1326" y="3524251"/>
                <a:ext cx="30163" cy="93663"/>
              </a:xfrm>
              <a:custGeom>
                <a:avLst/>
                <a:gdLst>
                  <a:gd name="T0" fmla="*/ 4 w 13"/>
                  <a:gd name="T1" fmla="*/ 21 h 41"/>
                  <a:gd name="T2" fmla="*/ 1 w 13"/>
                  <a:gd name="T3" fmla="*/ 0 h 41"/>
                  <a:gd name="T4" fmla="*/ 8 w 13"/>
                  <a:gd name="T5" fmla="*/ 20 h 41"/>
                  <a:gd name="T6" fmla="*/ 12 w 13"/>
                  <a:gd name="T7" fmla="*/ 40 h 41"/>
                  <a:gd name="T8" fmla="*/ 4 w 13"/>
                  <a:gd name="T9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1">
                    <a:moveTo>
                      <a:pt x="4" y="21"/>
                    </a:moveTo>
                    <a:cubicBezTo>
                      <a:pt x="1" y="10"/>
                      <a:pt x="0" y="0"/>
                      <a:pt x="1" y="0"/>
                    </a:cubicBezTo>
                    <a:cubicBezTo>
                      <a:pt x="2" y="0"/>
                      <a:pt x="5" y="9"/>
                      <a:pt x="8" y="20"/>
                    </a:cubicBezTo>
                    <a:cubicBezTo>
                      <a:pt x="11" y="31"/>
                      <a:pt x="13" y="40"/>
                      <a:pt x="12" y="40"/>
                    </a:cubicBezTo>
                    <a:cubicBezTo>
                      <a:pt x="11" y="41"/>
                      <a:pt x="7" y="32"/>
                      <a:pt x="4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2" name="椭圆 521">
                <a:extLst>
                  <a:ext uri="{FF2B5EF4-FFF2-40B4-BE49-F238E27FC236}">
                    <a16:creationId xmlns:a16="http://schemas.microsoft.com/office/drawing/2014/main" id="{C063F6F9-A9FE-4C3E-8294-FCF30426E8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0351" y="3546476"/>
                <a:ext cx="9525" cy="96838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3" name="任意多边形: 形状 522">
                <a:extLst>
                  <a:ext uri="{FF2B5EF4-FFF2-40B4-BE49-F238E27FC236}">
                    <a16:creationId xmlns:a16="http://schemas.microsoft.com/office/drawing/2014/main" id="{973C77BB-E53F-40CB-B146-87A80129C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80326" y="3521076"/>
                <a:ext cx="31750" cy="92075"/>
              </a:xfrm>
              <a:custGeom>
                <a:avLst/>
                <a:gdLst>
                  <a:gd name="T0" fmla="*/ 5 w 14"/>
                  <a:gd name="T1" fmla="*/ 19 h 40"/>
                  <a:gd name="T2" fmla="*/ 13 w 14"/>
                  <a:gd name="T3" fmla="*/ 0 h 40"/>
                  <a:gd name="T4" fmla="*/ 9 w 14"/>
                  <a:gd name="T5" fmla="*/ 20 h 40"/>
                  <a:gd name="T6" fmla="*/ 2 w 14"/>
                  <a:gd name="T7" fmla="*/ 40 h 40"/>
                  <a:gd name="T8" fmla="*/ 5 w 14"/>
                  <a:gd name="T9" fmla="*/ 1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40">
                    <a:moveTo>
                      <a:pt x="5" y="19"/>
                    </a:moveTo>
                    <a:cubicBezTo>
                      <a:pt x="9" y="8"/>
                      <a:pt x="12" y="0"/>
                      <a:pt x="13" y="0"/>
                    </a:cubicBezTo>
                    <a:cubicBezTo>
                      <a:pt x="14" y="0"/>
                      <a:pt x="12" y="9"/>
                      <a:pt x="9" y="20"/>
                    </a:cubicBezTo>
                    <a:cubicBezTo>
                      <a:pt x="6" y="31"/>
                      <a:pt x="3" y="40"/>
                      <a:pt x="2" y="40"/>
                    </a:cubicBezTo>
                    <a:cubicBezTo>
                      <a:pt x="0" y="40"/>
                      <a:pt x="2" y="30"/>
                      <a:pt x="5" y="1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4" name="任意多边形: 形状 523">
                <a:extLst>
                  <a:ext uri="{FF2B5EF4-FFF2-40B4-BE49-F238E27FC236}">
                    <a16:creationId xmlns:a16="http://schemas.microsoft.com/office/drawing/2014/main" id="{054FB2BE-8DBB-40AC-B515-ED12FB57D5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4588" y="3448051"/>
                <a:ext cx="53975" cy="82550"/>
              </a:xfrm>
              <a:custGeom>
                <a:avLst/>
                <a:gdLst>
                  <a:gd name="T0" fmla="*/ 10 w 24"/>
                  <a:gd name="T1" fmla="*/ 17 h 36"/>
                  <a:gd name="T2" fmla="*/ 23 w 24"/>
                  <a:gd name="T3" fmla="*/ 0 h 36"/>
                  <a:gd name="T4" fmla="*/ 13 w 24"/>
                  <a:gd name="T5" fmla="*/ 19 h 36"/>
                  <a:gd name="T6" fmla="*/ 1 w 24"/>
                  <a:gd name="T7" fmla="*/ 36 h 36"/>
                  <a:gd name="T8" fmla="*/ 10 w 24"/>
                  <a:gd name="T9" fmla="*/ 17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36">
                    <a:moveTo>
                      <a:pt x="10" y="17"/>
                    </a:moveTo>
                    <a:cubicBezTo>
                      <a:pt x="16" y="7"/>
                      <a:pt x="22" y="0"/>
                      <a:pt x="23" y="0"/>
                    </a:cubicBezTo>
                    <a:cubicBezTo>
                      <a:pt x="24" y="1"/>
                      <a:pt x="19" y="9"/>
                      <a:pt x="13" y="19"/>
                    </a:cubicBezTo>
                    <a:cubicBezTo>
                      <a:pt x="7" y="29"/>
                      <a:pt x="2" y="36"/>
                      <a:pt x="1" y="36"/>
                    </a:cubicBezTo>
                    <a:cubicBezTo>
                      <a:pt x="0" y="35"/>
                      <a:pt x="4" y="27"/>
                      <a:pt x="10" y="1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5" name="任意多边形: 形状 524">
                <a:extLst>
                  <a:ext uri="{FF2B5EF4-FFF2-40B4-BE49-F238E27FC236}">
                    <a16:creationId xmlns:a16="http://schemas.microsoft.com/office/drawing/2014/main" id="{6027AE75-73CA-4760-97DC-FF2765F75D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37426" y="3333751"/>
                <a:ext cx="73025" cy="68263"/>
              </a:xfrm>
              <a:custGeom>
                <a:avLst/>
                <a:gdLst>
                  <a:gd name="T0" fmla="*/ 15 w 32"/>
                  <a:gd name="T1" fmla="*/ 13 h 30"/>
                  <a:gd name="T2" fmla="*/ 31 w 32"/>
                  <a:gd name="T3" fmla="*/ 1 h 30"/>
                  <a:gd name="T4" fmla="*/ 17 w 32"/>
                  <a:gd name="T5" fmla="*/ 16 h 30"/>
                  <a:gd name="T6" fmla="*/ 1 w 32"/>
                  <a:gd name="T7" fmla="*/ 29 h 30"/>
                  <a:gd name="T8" fmla="*/ 15 w 32"/>
                  <a:gd name="T9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0">
                    <a:moveTo>
                      <a:pt x="15" y="13"/>
                    </a:moveTo>
                    <a:cubicBezTo>
                      <a:pt x="23" y="5"/>
                      <a:pt x="31" y="0"/>
                      <a:pt x="31" y="1"/>
                    </a:cubicBezTo>
                    <a:cubicBezTo>
                      <a:pt x="32" y="1"/>
                      <a:pt x="26" y="8"/>
                      <a:pt x="17" y="16"/>
                    </a:cubicBezTo>
                    <a:cubicBezTo>
                      <a:pt x="9" y="24"/>
                      <a:pt x="2" y="30"/>
                      <a:pt x="1" y="29"/>
                    </a:cubicBezTo>
                    <a:cubicBezTo>
                      <a:pt x="0" y="28"/>
                      <a:pt x="6" y="21"/>
                      <a:pt x="15" y="1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6" name="任意多边形: 形状 525">
                <a:extLst>
                  <a:ext uri="{FF2B5EF4-FFF2-40B4-BE49-F238E27FC236}">
                    <a16:creationId xmlns:a16="http://schemas.microsoft.com/office/drawing/2014/main" id="{9AE05628-1752-43C2-808F-9BAB6D7245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19951" y="3187701"/>
                <a:ext cx="87313" cy="47625"/>
              </a:xfrm>
              <a:custGeom>
                <a:avLst/>
                <a:gdLst>
                  <a:gd name="T0" fmla="*/ 18 w 38"/>
                  <a:gd name="T1" fmla="*/ 8 h 21"/>
                  <a:gd name="T2" fmla="*/ 37 w 38"/>
                  <a:gd name="T3" fmla="*/ 1 h 21"/>
                  <a:gd name="T4" fmla="*/ 20 w 38"/>
                  <a:gd name="T5" fmla="*/ 12 h 21"/>
                  <a:gd name="T6" fmla="*/ 0 w 38"/>
                  <a:gd name="T7" fmla="*/ 20 h 21"/>
                  <a:gd name="T8" fmla="*/ 18 w 38"/>
                  <a:gd name="T9" fmla="*/ 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1">
                    <a:moveTo>
                      <a:pt x="18" y="8"/>
                    </a:moveTo>
                    <a:cubicBezTo>
                      <a:pt x="28" y="3"/>
                      <a:pt x="37" y="0"/>
                      <a:pt x="37" y="1"/>
                    </a:cubicBezTo>
                    <a:cubicBezTo>
                      <a:pt x="38" y="1"/>
                      <a:pt x="30" y="7"/>
                      <a:pt x="20" y="12"/>
                    </a:cubicBezTo>
                    <a:cubicBezTo>
                      <a:pt x="10" y="17"/>
                      <a:pt x="1" y="21"/>
                      <a:pt x="0" y="20"/>
                    </a:cubicBezTo>
                    <a:cubicBezTo>
                      <a:pt x="0" y="19"/>
                      <a:pt x="8" y="14"/>
                      <a:pt x="18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7" name="任意多边形: 形状 526">
                <a:extLst>
                  <a:ext uri="{FF2B5EF4-FFF2-40B4-BE49-F238E27FC236}">
                    <a16:creationId xmlns:a16="http://schemas.microsoft.com/office/drawing/2014/main" id="{1F144EEF-E777-4C82-B883-78DB95D0AE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688" y="3017838"/>
                <a:ext cx="95250" cy="25400"/>
              </a:xfrm>
              <a:custGeom>
                <a:avLst/>
                <a:gdLst>
                  <a:gd name="T0" fmla="*/ 21 w 42"/>
                  <a:gd name="T1" fmla="*/ 3 h 11"/>
                  <a:gd name="T2" fmla="*/ 41 w 42"/>
                  <a:gd name="T3" fmla="*/ 1 h 11"/>
                  <a:gd name="T4" fmla="*/ 21 w 42"/>
                  <a:gd name="T5" fmla="*/ 7 h 11"/>
                  <a:gd name="T6" fmla="*/ 1 w 42"/>
                  <a:gd name="T7" fmla="*/ 9 h 11"/>
                  <a:gd name="T8" fmla="*/ 21 w 42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11">
                    <a:moveTo>
                      <a:pt x="21" y="3"/>
                    </a:moveTo>
                    <a:cubicBezTo>
                      <a:pt x="32" y="1"/>
                      <a:pt x="41" y="0"/>
                      <a:pt x="41" y="1"/>
                    </a:cubicBezTo>
                    <a:cubicBezTo>
                      <a:pt x="42" y="2"/>
                      <a:pt x="33" y="5"/>
                      <a:pt x="21" y="7"/>
                    </a:cubicBezTo>
                    <a:cubicBezTo>
                      <a:pt x="10" y="10"/>
                      <a:pt x="1" y="11"/>
                      <a:pt x="1" y="9"/>
                    </a:cubicBezTo>
                    <a:cubicBezTo>
                      <a:pt x="0" y="8"/>
                      <a:pt x="9" y="5"/>
                      <a:pt x="21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8" name="任意多边形: 形状 527">
                <a:extLst>
                  <a:ext uri="{FF2B5EF4-FFF2-40B4-BE49-F238E27FC236}">
                    <a16:creationId xmlns:a16="http://schemas.microsoft.com/office/drawing/2014/main" id="{A5377602-5CF8-4D15-8173-C7B15EA9F4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7401" y="2833688"/>
                <a:ext cx="96838" cy="11113"/>
              </a:xfrm>
              <a:custGeom>
                <a:avLst/>
                <a:gdLst>
                  <a:gd name="T0" fmla="*/ 21 w 42"/>
                  <a:gd name="T1" fmla="*/ 1 h 5"/>
                  <a:gd name="T2" fmla="*/ 42 w 42"/>
                  <a:gd name="T3" fmla="*/ 4 h 5"/>
                  <a:gd name="T4" fmla="*/ 21 w 42"/>
                  <a:gd name="T5" fmla="*/ 5 h 5"/>
                  <a:gd name="T6" fmla="*/ 1 w 42"/>
                  <a:gd name="T7" fmla="*/ 1 h 5"/>
                  <a:gd name="T8" fmla="*/ 21 w 42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5">
                    <a:moveTo>
                      <a:pt x="21" y="1"/>
                    </a:moveTo>
                    <a:cubicBezTo>
                      <a:pt x="33" y="1"/>
                      <a:pt x="42" y="3"/>
                      <a:pt x="42" y="4"/>
                    </a:cubicBezTo>
                    <a:cubicBezTo>
                      <a:pt x="42" y="5"/>
                      <a:pt x="33" y="5"/>
                      <a:pt x="21" y="5"/>
                    </a:cubicBezTo>
                    <a:cubicBezTo>
                      <a:pt x="10" y="4"/>
                      <a:pt x="0" y="2"/>
                      <a:pt x="1" y="1"/>
                    </a:cubicBezTo>
                    <a:cubicBezTo>
                      <a:pt x="1" y="0"/>
                      <a:pt x="10" y="0"/>
                      <a:pt x="21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9" name="任意多边形: 形状 528">
                <a:extLst>
                  <a:ext uri="{FF2B5EF4-FFF2-40B4-BE49-F238E27FC236}">
                    <a16:creationId xmlns:a16="http://schemas.microsoft.com/office/drawing/2014/main" id="{550076B9-BB33-4C8E-BED2-2E5AE6FFAE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8676" y="2632076"/>
                <a:ext cx="92075" cy="36513"/>
              </a:xfrm>
              <a:custGeom>
                <a:avLst/>
                <a:gdLst>
                  <a:gd name="T0" fmla="*/ 21 w 40"/>
                  <a:gd name="T1" fmla="*/ 7 h 16"/>
                  <a:gd name="T2" fmla="*/ 40 w 40"/>
                  <a:gd name="T3" fmla="*/ 15 h 16"/>
                  <a:gd name="T4" fmla="*/ 20 w 40"/>
                  <a:gd name="T5" fmla="*/ 10 h 16"/>
                  <a:gd name="T6" fmla="*/ 1 w 40"/>
                  <a:gd name="T7" fmla="*/ 2 h 16"/>
                  <a:gd name="T8" fmla="*/ 21 w 40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16">
                    <a:moveTo>
                      <a:pt x="21" y="7"/>
                    </a:moveTo>
                    <a:cubicBezTo>
                      <a:pt x="32" y="11"/>
                      <a:pt x="40" y="15"/>
                      <a:pt x="40" y="15"/>
                    </a:cubicBezTo>
                    <a:cubicBezTo>
                      <a:pt x="40" y="16"/>
                      <a:pt x="30" y="14"/>
                      <a:pt x="20" y="10"/>
                    </a:cubicBezTo>
                    <a:cubicBezTo>
                      <a:pt x="9" y="7"/>
                      <a:pt x="0" y="3"/>
                      <a:pt x="1" y="2"/>
                    </a:cubicBezTo>
                    <a:cubicBezTo>
                      <a:pt x="1" y="0"/>
                      <a:pt x="10" y="3"/>
                      <a:pt x="21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0" name="任意多边形: 形状 529">
                <a:extLst>
                  <a:ext uri="{FF2B5EF4-FFF2-40B4-BE49-F238E27FC236}">
                    <a16:creationId xmlns:a16="http://schemas.microsoft.com/office/drawing/2014/main" id="{D194B444-7CAA-498A-B59B-A638AD2F7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2338" y="2451101"/>
                <a:ext cx="80963" cy="60325"/>
              </a:xfrm>
              <a:custGeom>
                <a:avLst/>
                <a:gdLst>
                  <a:gd name="T0" fmla="*/ 19 w 35"/>
                  <a:gd name="T1" fmla="*/ 11 h 26"/>
                  <a:gd name="T2" fmla="*/ 35 w 35"/>
                  <a:gd name="T3" fmla="*/ 25 h 26"/>
                  <a:gd name="T4" fmla="*/ 16 w 35"/>
                  <a:gd name="T5" fmla="*/ 15 h 26"/>
                  <a:gd name="T6" fmla="*/ 1 w 35"/>
                  <a:gd name="T7" fmla="*/ 1 h 26"/>
                  <a:gd name="T8" fmla="*/ 19 w 35"/>
                  <a:gd name="T9" fmla="*/ 1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19" y="11"/>
                    </a:moveTo>
                    <a:cubicBezTo>
                      <a:pt x="28" y="18"/>
                      <a:pt x="35" y="24"/>
                      <a:pt x="35" y="25"/>
                    </a:cubicBezTo>
                    <a:cubicBezTo>
                      <a:pt x="34" y="26"/>
                      <a:pt x="26" y="21"/>
                      <a:pt x="16" y="15"/>
                    </a:cubicBezTo>
                    <a:cubicBezTo>
                      <a:pt x="7" y="8"/>
                      <a:pt x="0" y="2"/>
                      <a:pt x="1" y="1"/>
                    </a:cubicBezTo>
                    <a:cubicBezTo>
                      <a:pt x="1" y="0"/>
                      <a:pt x="9" y="5"/>
                      <a:pt x="19" y="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1" name="任意多边形: 形状 530">
                <a:extLst>
                  <a:ext uri="{FF2B5EF4-FFF2-40B4-BE49-F238E27FC236}">
                    <a16:creationId xmlns:a16="http://schemas.microsoft.com/office/drawing/2014/main" id="{DE15945D-85F3-46A4-82FF-264ACCBA6D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10451" y="2303463"/>
                <a:ext cx="63500" cy="74613"/>
              </a:xfrm>
              <a:custGeom>
                <a:avLst/>
                <a:gdLst>
                  <a:gd name="T0" fmla="*/ 16 w 28"/>
                  <a:gd name="T1" fmla="*/ 15 h 33"/>
                  <a:gd name="T2" fmla="*/ 28 w 28"/>
                  <a:gd name="T3" fmla="*/ 33 h 33"/>
                  <a:gd name="T4" fmla="*/ 13 w 28"/>
                  <a:gd name="T5" fmla="*/ 18 h 33"/>
                  <a:gd name="T6" fmla="*/ 1 w 28"/>
                  <a:gd name="T7" fmla="*/ 1 h 33"/>
                  <a:gd name="T8" fmla="*/ 16 w 28"/>
                  <a:gd name="T9" fmla="*/ 1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33">
                    <a:moveTo>
                      <a:pt x="16" y="15"/>
                    </a:moveTo>
                    <a:cubicBezTo>
                      <a:pt x="23" y="24"/>
                      <a:pt x="28" y="32"/>
                      <a:pt x="28" y="33"/>
                    </a:cubicBezTo>
                    <a:cubicBezTo>
                      <a:pt x="27" y="33"/>
                      <a:pt x="20" y="27"/>
                      <a:pt x="13" y="18"/>
                    </a:cubicBezTo>
                    <a:cubicBezTo>
                      <a:pt x="5" y="9"/>
                      <a:pt x="0" y="1"/>
                      <a:pt x="1" y="1"/>
                    </a:cubicBezTo>
                    <a:cubicBezTo>
                      <a:pt x="2" y="0"/>
                      <a:pt x="9" y="6"/>
                      <a:pt x="16" y="1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2" name="任意多边形: 形状 531">
                <a:extLst>
                  <a:ext uri="{FF2B5EF4-FFF2-40B4-BE49-F238E27FC236}">
                    <a16:creationId xmlns:a16="http://schemas.microsoft.com/office/drawing/2014/main" id="{74AA8F4F-CA98-4C11-BFE0-3215862F8C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83488" y="2195513"/>
                <a:ext cx="42863" cy="88900"/>
              </a:xfrm>
              <a:custGeom>
                <a:avLst/>
                <a:gdLst>
                  <a:gd name="T0" fmla="*/ 11 w 19"/>
                  <a:gd name="T1" fmla="*/ 19 h 39"/>
                  <a:gd name="T2" fmla="*/ 18 w 19"/>
                  <a:gd name="T3" fmla="*/ 39 h 39"/>
                  <a:gd name="T4" fmla="*/ 8 w 19"/>
                  <a:gd name="T5" fmla="*/ 20 h 39"/>
                  <a:gd name="T6" fmla="*/ 1 w 19"/>
                  <a:gd name="T7" fmla="*/ 1 h 39"/>
                  <a:gd name="T8" fmla="*/ 11 w 19"/>
                  <a:gd name="T9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39">
                    <a:moveTo>
                      <a:pt x="11" y="19"/>
                    </a:moveTo>
                    <a:cubicBezTo>
                      <a:pt x="16" y="29"/>
                      <a:pt x="19" y="38"/>
                      <a:pt x="18" y="39"/>
                    </a:cubicBezTo>
                    <a:cubicBezTo>
                      <a:pt x="17" y="39"/>
                      <a:pt x="13" y="31"/>
                      <a:pt x="8" y="20"/>
                    </a:cubicBezTo>
                    <a:cubicBezTo>
                      <a:pt x="3" y="10"/>
                      <a:pt x="0" y="1"/>
                      <a:pt x="1" y="1"/>
                    </a:cubicBezTo>
                    <a:cubicBezTo>
                      <a:pt x="2" y="0"/>
                      <a:pt x="7" y="8"/>
                      <a:pt x="11" y="1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3" name="任意多边形: 形状 532">
                <a:extLst>
                  <a:ext uri="{FF2B5EF4-FFF2-40B4-BE49-F238E27FC236}">
                    <a16:creationId xmlns:a16="http://schemas.microsoft.com/office/drawing/2014/main" id="{C9E539E6-A9AD-45BD-9178-5493B48B89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80338" y="2141538"/>
                <a:ext cx="17463" cy="93663"/>
              </a:xfrm>
              <a:custGeom>
                <a:avLst/>
                <a:gdLst>
                  <a:gd name="T0" fmla="*/ 6 w 8"/>
                  <a:gd name="T1" fmla="*/ 20 h 41"/>
                  <a:gd name="T2" fmla="*/ 7 w 8"/>
                  <a:gd name="T3" fmla="*/ 41 h 41"/>
                  <a:gd name="T4" fmla="*/ 2 w 8"/>
                  <a:gd name="T5" fmla="*/ 21 h 41"/>
                  <a:gd name="T6" fmla="*/ 1 w 8"/>
                  <a:gd name="T7" fmla="*/ 0 h 41"/>
                  <a:gd name="T8" fmla="*/ 6 w 8"/>
                  <a:gd name="T9" fmla="*/ 2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1">
                    <a:moveTo>
                      <a:pt x="6" y="20"/>
                    </a:moveTo>
                    <a:cubicBezTo>
                      <a:pt x="8" y="31"/>
                      <a:pt x="8" y="41"/>
                      <a:pt x="7" y="41"/>
                    </a:cubicBezTo>
                    <a:cubicBezTo>
                      <a:pt x="6" y="41"/>
                      <a:pt x="4" y="32"/>
                      <a:pt x="2" y="21"/>
                    </a:cubicBezTo>
                    <a:cubicBezTo>
                      <a:pt x="0" y="9"/>
                      <a:pt x="0" y="0"/>
                      <a:pt x="1" y="0"/>
                    </a:cubicBezTo>
                    <a:cubicBezTo>
                      <a:pt x="2" y="0"/>
                      <a:pt x="5" y="9"/>
                      <a:pt x="6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4" name="任意多边形: 形状 533">
                <a:extLst>
                  <a:ext uri="{FF2B5EF4-FFF2-40B4-BE49-F238E27FC236}">
                    <a16:creationId xmlns:a16="http://schemas.microsoft.com/office/drawing/2014/main" id="{BF6474A2-173F-416C-A497-8C4BB28AD1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72426" y="2138363"/>
                <a:ext cx="17463" cy="93663"/>
              </a:xfrm>
              <a:custGeom>
                <a:avLst/>
                <a:gdLst>
                  <a:gd name="T0" fmla="*/ 6 w 8"/>
                  <a:gd name="T1" fmla="*/ 21 h 41"/>
                  <a:gd name="T2" fmla="*/ 1 w 8"/>
                  <a:gd name="T3" fmla="*/ 41 h 41"/>
                  <a:gd name="T4" fmla="*/ 2 w 8"/>
                  <a:gd name="T5" fmla="*/ 20 h 41"/>
                  <a:gd name="T6" fmla="*/ 6 w 8"/>
                  <a:gd name="T7" fmla="*/ 0 h 41"/>
                  <a:gd name="T8" fmla="*/ 6 w 8"/>
                  <a:gd name="T9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1">
                    <a:moveTo>
                      <a:pt x="6" y="21"/>
                    </a:moveTo>
                    <a:cubicBezTo>
                      <a:pt x="4" y="32"/>
                      <a:pt x="2" y="41"/>
                      <a:pt x="1" y="41"/>
                    </a:cubicBezTo>
                    <a:cubicBezTo>
                      <a:pt x="0" y="41"/>
                      <a:pt x="1" y="32"/>
                      <a:pt x="2" y="20"/>
                    </a:cubicBezTo>
                    <a:cubicBezTo>
                      <a:pt x="3" y="9"/>
                      <a:pt x="5" y="0"/>
                      <a:pt x="6" y="0"/>
                    </a:cubicBezTo>
                    <a:cubicBezTo>
                      <a:pt x="8" y="0"/>
                      <a:pt x="7" y="9"/>
                      <a:pt x="6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5" name="任意多边形: 形状 534">
                <a:extLst>
                  <a:ext uri="{FF2B5EF4-FFF2-40B4-BE49-F238E27FC236}">
                    <a16:creationId xmlns:a16="http://schemas.microsoft.com/office/drawing/2014/main" id="{70B4618F-8E20-4550-8F5A-90D2C4531C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5463" y="2189163"/>
                <a:ext cx="41275" cy="90488"/>
              </a:xfrm>
              <a:custGeom>
                <a:avLst/>
                <a:gdLst>
                  <a:gd name="T0" fmla="*/ 11 w 18"/>
                  <a:gd name="T1" fmla="*/ 21 h 40"/>
                  <a:gd name="T2" fmla="*/ 1 w 18"/>
                  <a:gd name="T3" fmla="*/ 39 h 40"/>
                  <a:gd name="T4" fmla="*/ 7 w 18"/>
                  <a:gd name="T5" fmla="*/ 19 h 40"/>
                  <a:gd name="T6" fmla="*/ 17 w 18"/>
                  <a:gd name="T7" fmla="*/ 1 h 40"/>
                  <a:gd name="T8" fmla="*/ 11 w 18"/>
                  <a:gd name="T9" fmla="*/ 21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0">
                    <a:moveTo>
                      <a:pt x="11" y="21"/>
                    </a:moveTo>
                    <a:cubicBezTo>
                      <a:pt x="6" y="31"/>
                      <a:pt x="2" y="40"/>
                      <a:pt x="1" y="39"/>
                    </a:cubicBezTo>
                    <a:cubicBezTo>
                      <a:pt x="0" y="39"/>
                      <a:pt x="3" y="30"/>
                      <a:pt x="7" y="19"/>
                    </a:cubicBezTo>
                    <a:cubicBezTo>
                      <a:pt x="11" y="9"/>
                      <a:pt x="16" y="0"/>
                      <a:pt x="17" y="1"/>
                    </a:cubicBezTo>
                    <a:cubicBezTo>
                      <a:pt x="18" y="1"/>
                      <a:pt x="15" y="10"/>
                      <a:pt x="11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6" name="任意多边形: 形状 535">
                <a:extLst>
                  <a:ext uri="{FF2B5EF4-FFF2-40B4-BE49-F238E27FC236}">
                    <a16:creationId xmlns:a16="http://schemas.microsoft.com/office/drawing/2014/main" id="{6E68E955-7D30-475B-9629-00B7CCCDAE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9451" y="2293938"/>
                <a:ext cx="63500" cy="77788"/>
              </a:xfrm>
              <a:custGeom>
                <a:avLst/>
                <a:gdLst>
                  <a:gd name="T0" fmla="*/ 15 w 28"/>
                  <a:gd name="T1" fmla="*/ 18 h 34"/>
                  <a:gd name="T2" fmla="*/ 1 w 28"/>
                  <a:gd name="T3" fmla="*/ 33 h 34"/>
                  <a:gd name="T4" fmla="*/ 12 w 28"/>
                  <a:gd name="T5" fmla="*/ 16 h 34"/>
                  <a:gd name="T6" fmla="*/ 27 w 28"/>
                  <a:gd name="T7" fmla="*/ 0 h 34"/>
                  <a:gd name="T8" fmla="*/ 15 w 28"/>
                  <a:gd name="T9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34">
                    <a:moveTo>
                      <a:pt x="15" y="18"/>
                    </a:moveTo>
                    <a:cubicBezTo>
                      <a:pt x="8" y="27"/>
                      <a:pt x="2" y="34"/>
                      <a:pt x="1" y="33"/>
                    </a:cubicBezTo>
                    <a:cubicBezTo>
                      <a:pt x="0" y="32"/>
                      <a:pt x="5" y="25"/>
                      <a:pt x="12" y="16"/>
                    </a:cubicBezTo>
                    <a:cubicBezTo>
                      <a:pt x="19" y="6"/>
                      <a:pt x="26" y="0"/>
                      <a:pt x="27" y="0"/>
                    </a:cubicBezTo>
                    <a:cubicBezTo>
                      <a:pt x="28" y="1"/>
                      <a:pt x="23" y="9"/>
                      <a:pt x="15" y="1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7" name="任意多边形: 形状 536">
                <a:extLst>
                  <a:ext uri="{FF2B5EF4-FFF2-40B4-BE49-F238E27FC236}">
                    <a16:creationId xmlns:a16="http://schemas.microsoft.com/office/drawing/2014/main" id="{FA92AE0C-B7A3-49CF-BACD-8C52E4E057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4863" y="2439988"/>
                <a:ext cx="80963" cy="60325"/>
              </a:xfrm>
              <a:custGeom>
                <a:avLst/>
                <a:gdLst>
                  <a:gd name="T0" fmla="*/ 18 w 35"/>
                  <a:gd name="T1" fmla="*/ 15 h 26"/>
                  <a:gd name="T2" fmla="*/ 0 w 35"/>
                  <a:gd name="T3" fmla="*/ 25 h 26"/>
                  <a:gd name="T4" fmla="*/ 16 w 35"/>
                  <a:gd name="T5" fmla="*/ 11 h 26"/>
                  <a:gd name="T6" fmla="*/ 34 w 35"/>
                  <a:gd name="T7" fmla="*/ 1 h 26"/>
                  <a:gd name="T8" fmla="*/ 18 w 35"/>
                  <a:gd name="T9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18" y="15"/>
                    </a:moveTo>
                    <a:cubicBezTo>
                      <a:pt x="9" y="21"/>
                      <a:pt x="1" y="26"/>
                      <a:pt x="0" y="25"/>
                    </a:cubicBezTo>
                    <a:cubicBezTo>
                      <a:pt x="0" y="25"/>
                      <a:pt x="7" y="18"/>
                      <a:pt x="16" y="11"/>
                    </a:cubicBezTo>
                    <a:cubicBezTo>
                      <a:pt x="25" y="5"/>
                      <a:pt x="33" y="0"/>
                      <a:pt x="34" y="1"/>
                    </a:cubicBezTo>
                    <a:cubicBezTo>
                      <a:pt x="35" y="2"/>
                      <a:pt x="28" y="8"/>
                      <a:pt x="18" y="1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8" name="任意多边形: 形状 537">
                <a:extLst>
                  <a:ext uri="{FF2B5EF4-FFF2-40B4-BE49-F238E27FC236}">
                    <a16:creationId xmlns:a16="http://schemas.microsoft.com/office/drawing/2014/main" id="{1224A59E-19C9-4E61-9434-620715639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09001" y="2619376"/>
                <a:ext cx="92075" cy="38100"/>
              </a:xfrm>
              <a:custGeom>
                <a:avLst/>
                <a:gdLst>
                  <a:gd name="T0" fmla="*/ 21 w 40"/>
                  <a:gd name="T1" fmla="*/ 11 h 17"/>
                  <a:gd name="T2" fmla="*/ 0 w 40"/>
                  <a:gd name="T3" fmla="*/ 16 h 17"/>
                  <a:gd name="T4" fmla="*/ 19 w 40"/>
                  <a:gd name="T5" fmla="*/ 7 h 17"/>
                  <a:gd name="T6" fmla="*/ 39 w 40"/>
                  <a:gd name="T7" fmla="*/ 1 h 17"/>
                  <a:gd name="T8" fmla="*/ 21 w 40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17">
                    <a:moveTo>
                      <a:pt x="21" y="11"/>
                    </a:moveTo>
                    <a:cubicBezTo>
                      <a:pt x="10" y="15"/>
                      <a:pt x="1" y="17"/>
                      <a:pt x="0" y="16"/>
                    </a:cubicBezTo>
                    <a:cubicBezTo>
                      <a:pt x="0" y="15"/>
                      <a:pt x="8" y="11"/>
                      <a:pt x="19" y="7"/>
                    </a:cubicBezTo>
                    <a:cubicBezTo>
                      <a:pt x="30" y="3"/>
                      <a:pt x="39" y="0"/>
                      <a:pt x="39" y="1"/>
                    </a:cubicBezTo>
                    <a:cubicBezTo>
                      <a:pt x="40" y="3"/>
                      <a:pt x="31" y="7"/>
                      <a:pt x="21" y="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9" name="任意多边形: 形状 538">
                <a:extLst>
                  <a:ext uri="{FF2B5EF4-FFF2-40B4-BE49-F238E27FC236}">
                    <a16:creationId xmlns:a16="http://schemas.microsoft.com/office/drawing/2014/main" id="{E06B0AE6-9181-4503-9C4D-D1D4780E07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8688" y="2817813"/>
                <a:ext cx="95250" cy="12700"/>
              </a:xfrm>
              <a:custGeom>
                <a:avLst/>
                <a:gdLst>
                  <a:gd name="T0" fmla="*/ 21 w 42"/>
                  <a:gd name="T1" fmla="*/ 5 h 6"/>
                  <a:gd name="T2" fmla="*/ 1 w 42"/>
                  <a:gd name="T3" fmla="*/ 5 h 6"/>
                  <a:gd name="T4" fmla="*/ 21 w 42"/>
                  <a:gd name="T5" fmla="*/ 1 h 6"/>
                  <a:gd name="T6" fmla="*/ 42 w 42"/>
                  <a:gd name="T7" fmla="*/ 2 h 6"/>
                  <a:gd name="T8" fmla="*/ 21 w 42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6">
                    <a:moveTo>
                      <a:pt x="21" y="5"/>
                    </a:moveTo>
                    <a:cubicBezTo>
                      <a:pt x="10" y="6"/>
                      <a:pt x="1" y="6"/>
                      <a:pt x="1" y="5"/>
                    </a:cubicBezTo>
                    <a:cubicBezTo>
                      <a:pt x="0" y="4"/>
                      <a:pt x="10" y="3"/>
                      <a:pt x="21" y="1"/>
                    </a:cubicBezTo>
                    <a:cubicBezTo>
                      <a:pt x="33" y="0"/>
                      <a:pt x="42" y="0"/>
                      <a:pt x="42" y="2"/>
                    </a:cubicBezTo>
                    <a:cubicBezTo>
                      <a:pt x="42" y="3"/>
                      <a:pt x="33" y="5"/>
                      <a:pt x="21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0" name="任意多边形: 形状 539">
                <a:extLst>
                  <a:ext uri="{FF2B5EF4-FFF2-40B4-BE49-F238E27FC236}">
                    <a16:creationId xmlns:a16="http://schemas.microsoft.com/office/drawing/2014/main" id="{F5A70B8B-3719-4A03-8677-C9A2369AC7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8963" y="1992313"/>
                <a:ext cx="630238" cy="923925"/>
              </a:xfrm>
              <a:custGeom>
                <a:avLst/>
                <a:gdLst>
                  <a:gd name="T0" fmla="*/ 276 w 276"/>
                  <a:gd name="T1" fmla="*/ 0 h 404"/>
                  <a:gd name="T2" fmla="*/ 275 w 276"/>
                  <a:gd name="T3" fmla="*/ 0 h 404"/>
                  <a:gd name="T4" fmla="*/ 271 w 276"/>
                  <a:gd name="T5" fmla="*/ 2 h 404"/>
                  <a:gd name="T6" fmla="*/ 257 w 276"/>
                  <a:gd name="T7" fmla="*/ 7 h 404"/>
                  <a:gd name="T8" fmla="*/ 207 w 276"/>
                  <a:gd name="T9" fmla="*/ 32 h 404"/>
                  <a:gd name="T10" fmla="*/ 175 w 276"/>
                  <a:gd name="T11" fmla="*/ 53 h 404"/>
                  <a:gd name="T12" fmla="*/ 140 w 276"/>
                  <a:gd name="T13" fmla="*/ 81 h 404"/>
                  <a:gd name="T14" fmla="*/ 73 w 276"/>
                  <a:gd name="T15" fmla="*/ 157 h 404"/>
                  <a:gd name="T16" fmla="*/ 27 w 276"/>
                  <a:gd name="T17" fmla="*/ 247 h 404"/>
                  <a:gd name="T18" fmla="*/ 13 w 276"/>
                  <a:gd name="T19" fmla="*/ 289 h 404"/>
                  <a:gd name="T20" fmla="*/ 6 w 276"/>
                  <a:gd name="T21" fmla="*/ 327 h 404"/>
                  <a:gd name="T22" fmla="*/ 1 w 276"/>
                  <a:gd name="T23" fmla="*/ 383 h 404"/>
                  <a:gd name="T24" fmla="*/ 0 w 276"/>
                  <a:gd name="T25" fmla="*/ 398 h 404"/>
                  <a:gd name="T26" fmla="*/ 0 w 276"/>
                  <a:gd name="T27" fmla="*/ 402 h 404"/>
                  <a:gd name="T28" fmla="*/ 0 w 276"/>
                  <a:gd name="T29" fmla="*/ 404 h 404"/>
                  <a:gd name="T30" fmla="*/ 0 w 276"/>
                  <a:gd name="T31" fmla="*/ 402 h 404"/>
                  <a:gd name="T32" fmla="*/ 0 w 276"/>
                  <a:gd name="T33" fmla="*/ 398 h 404"/>
                  <a:gd name="T34" fmla="*/ 0 w 276"/>
                  <a:gd name="T35" fmla="*/ 383 h 404"/>
                  <a:gd name="T36" fmla="*/ 4 w 276"/>
                  <a:gd name="T37" fmla="*/ 327 h 404"/>
                  <a:gd name="T38" fmla="*/ 12 w 276"/>
                  <a:gd name="T39" fmla="*/ 289 h 404"/>
                  <a:gd name="T40" fmla="*/ 25 w 276"/>
                  <a:gd name="T41" fmla="*/ 246 h 404"/>
                  <a:gd name="T42" fmla="*/ 71 w 276"/>
                  <a:gd name="T43" fmla="*/ 156 h 404"/>
                  <a:gd name="T44" fmla="*/ 139 w 276"/>
                  <a:gd name="T45" fmla="*/ 79 h 404"/>
                  <a:gd name="T46" fmla="*/ 174 w 276"/>
                  <a:gd name="T47" fmla="*/ 52 h 404"/>
                  <a:gd name="T48" fmla="*/ 207 w 276"/>
                  <a:gd name="T49" fmla="*/ 31 h 404"/>
                  <a:gd name="T50" fmla="*/ 257 w 276"/>
                  <a:gd name="T51" fmla="*/ 7 h 404"/>
                  <a:gd name="T52" fmla="*/ 271 w 276"/>
                  <a:gd name="T53" fmla="*/ 1 h 404"/>
                  <a:gd name="T54" fmla="*/ 275 w 276"/>
                  <a:gd name="T55" fmla="*/ 0 h 404"/>
                  <a:gd name="T56" fmla="*/ 276 w 276"/>
                  <a:gd name="T57" fmla="*/ 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76" h="404">
                    <a:moveTo>
                      <a:pt x="276" y="0"/>
                    </a:moveTo>
                    <a:cubicBezTo>
                      <a:pt x="276" y="0"/>
                      <a:pt x="276" y="0"/>
                      <a:pt x="275" y="0"/>
                    </a:cubicBezTo>
                    <a:cubicBezTo>
                      <a:pt x="274" y="1"/>
                      <a:pt x="273" y="1"/>
                      <a:pt x="271" y="2"/>
                    </a:cubicBezTo>
                    <a:cubicBezTo>
                      <a:pt x="268" y="3"/>
                      <a:pt x="263" y="5"/>
                      <a:pt x="257" y="7"/>
                    </a:cubicBezTo>
                    <a:cubicBezTo>
                      <a:pt x="245" y="12"/>
                      <a:pt x="228" y="20"/>
                      <a:pt x="207" y="32"/>
                    </a:cubicBezTo>
                    <a:cubicBezTo>
                      <a:pt x="197" y="38"/>
                      <a:pt x="186" y="45"/>
                      <a:pt x="175" y="53"/>
                    </a:cubicBezTo>
                    <a:cubicBezTo>
                      <a:pt x="164" y="61"/>
                      <a:pt x="152" y="70"/>
                      <a:pt x="140" y="81"/>
                    </a:cubicBezTo>
                    <a:cubicBezTo>
                      <a:pt x="117" y="102"/>
                      <a:pt x="93" y="127"/>
                      <a:pt x="73" y="157"/>
                    </a:cubicBezTo>
                    <a:cubicBezTo>
                      <a:pt x="53" y="187"/>
                      <a:pt x="37" y="218"/>
                      <a:pt x="27" y="247"/>
                    </a:cubicBezTo>
                    <a:cubicBezTo>
                      <a:pt x="21" y="262"/>
                      <a:pt x="17" y="276"/>
                      <a:pt x="13" y="289"/>
                    </a:cubicBezTo>
                    <a:cubicBezTo>
                      <a:pt x="10" y="303"/>
                      <a:pt x="7" y="316"/>
                      <a:pt x="6" y="327"/>
                    </a:cubicBezTo>
                    <a:cubicBezTo>
                      <a:pt x="2" y="351"/>
                      <a:pt x="1" y="370"/>
                      <a:pt x="1" y="383"/>
                    </a:cubicBezTo>
                    <a:cubicBezTo>
                      <a:pt x="0" y="390"/>
                      <a:pt x="0" y="395"/>
                      <a:pt x="0" y="398"/>
                    </a:cubicBezTo>
                    <a:cubicBezTo>
                      <a:pt x="0" y="400"/>
                      <a:pt x="0" y="401"/>
                      <a:pt x="0" y="402"/>
                    </a:cubicBezTo>
                    <a:cubicBezTo>
                      <a:pt x="0" y="403"/>
                      <a:pt x="0" y="404"/>
                      <a:pt x="0" y="404"/>
                    </a:cubicBezTo>
                    <a:cubicBezTo>
                      <a:pt x="0" y="404"/>
                      <a:pt x="0" y="403"/>
                      <a:pt x="0" y="402"/>
                    </a:cubicBezTo>
                    <a:cubicBezTo>
                      <a:pt x="0" y="401"/>
                      <a:pt x="0" y="400"/>
                      <a:pt x="0" y="398"/>
                    </a:cubicBezTo>
                    <a:cubicBezTo>
                      <a:pt x="0" y="395"/>
                      <a:pt x="0" y="390"/>
                      <a:pt x="0" y="383"/>
                    </a:cubicBezTo>
                    <a:cubicBezTo>
                      <a:pt x="0" y="370"/>
                      <a:pt x="1" y="351"/>
                      <a:pt x="4" y="327"/>
                    </a:cubicBezTo>
                    <a:cubicBezTo>
                      <a:pt x="6" y="315"/>
                      <a:pt x="8" y="303"/>
                      <a:pt x="12" y="289"/>
                    </a:cubicBezTo>
                    <a:cubicBezTo>
                      <a:pt x="15" y="276"/>
                      <a:pt x="19" y="261"/>
                      <a:pt x="25" y="246"/>
                    </a:cubicBezTo>
                    <a:cubicBezTo>
                      <a:pt x="35" y="217"/>
                      <a:pt x="51" y="186"/>
                      <a:pt x="71" y="156"/>
                    </a:cubicBezTo>
                    <a:cubicBezTo>
                      <a:pt x="92" y="126"/>
                      <a:pt x="115" y="100"/>
                      <a:pt x="139" y="79"/>
                    </a:cubicBezTo>
                    <a:cubicBezTo>
                      <a:pt x="151" y="69"/>
                      <a:pt x="162" y="60"/>
                      <a:pt x="174" y="52"/>
                    </a:cubicBezTo>
                    <a:cubicBezTo>
                      <a:pt x="185" y="44"/>
                      <a:pt x="196" y="37"/>
                      <a:pt x="207" y="31"/>
                    </a:cubicBezTo>
                    <a:cubicBezTo>
                      <a:pt x="227" y="19"/>
                      <a:pt x="245" y="11"/>
                      <a:pt x="257" y="7"/>
                    </a:cubicBezTo>
                    <a:cubicBezTo>
                      <a:pt x="263" y="4"/>
                      <a:pt x="268" y="2"/>
                      <a:pt x="271" y="1"/>
                    </a:cubicBezTo>
                    <a:cubicBezTo>
                      <a:pt x="273" y="1"/>
                      <a:pt x="274" y="0"/>
                      <a:pt x="275" y="0"/>
                    </a:cubicBezTo>
                    <a:cubicBezTo>
                      <a:pt x="276" y="0"/>
                      <a:pt x="276" y="0"/>
                      <a:pt x="27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1" name="任意多边形: 形状 540">
                <a:extLst>
                  <a:ext uri="{FF2B5EF4-FFF2-40B4-BE49-F238E27FC236}">
                    <a16:creationId xmlns:a16="http://schemas.microsoft.com/office/drawing/2014/main" id="{324DBCF9-4B4B-46A8-A182-3A2E24BCE5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1751" y="1936751"/>
                <a:ext cx="195263" cy="28575"/>
              </a:xfrm>
              <a:custGeom>
                <a:avLst/>
                <a:gdLst>
                  <a:gd name="T0" fmla="*/ 85 w 85"/>
                  <a:gd name="T1" fmla="*/ 0 h 12"/>
                  <a:gd name="T2" fmla="*/ 72 w 85"/>
                  <a:gd name="T3" fmla="*/ 2 h 12"/>
                  <a:gd name="T4" fmla="*/ 42 w 85"/>
                  <a:gd name="T5" fmla="*/ 5 h 12"/>
                  <a:gd name="T6" fmla="*/ 12 w 85"/>
                  <a:gd name="T7" fmla="*/ 10 h 12"/>
                  <a:gd name="T8" fmla="*/ 0 w 85"/>
                  <a:gd name="T9" fmla="*/ 11 h 12"/>
                  <a:gd name="T10" fmla="*/ 12 w 85"/>
                  <a:gd name="T11" fmla="*/ 8 h 12"/>
                  <a:gd name="T12" fmla="*/ 42 w 85"/>
                  <a:gd name="T13" fmla="*/ 3 h 12"/>
                  <a:gd name="T14" fmla="*/ 72 w 85"/>
                  <a:gd name="T15" fmla="*/ 0 h 12"/>
                  <a:gd name="T16" fmla="*/ 85 w 85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5" h="12">
                    <a:moveTo>
                      <a:pt x="85" y="0"/>
                    </a:moveTo>
                    <a:cubicBezTo>
                      <a:pt x="85" y="1"/>
                      <a:pt x="80" y="1"/>
                      <a:pt x="72" y="2"/>
                    </a:cubicBezTo>
                    <a:cubicBezTo>
                      <a:pt x="65" y="3"/>
                      <a:pt x="54" y="4"/>
                      <a:pt x="42" y="5"/>
                    </a:cubicBezTo>
                    <a:cubicBezTo>
                      <a:pt x="30" y="7"/>
                      <a:pt x="20" y="8"/>
                      <a:pt x="12" y="10"/>
                    </a:cubicBezTo>
                    <a:cubicBezTo>
                      <a:pt x="4" y="11"/>
                      <a:pt x="0" y="12"/>
                      <a:pt x="0" y="11"/>
                    </a:cubicBezTo>
                    <a:cubicBezTo>
                      <a:pt x="0" y="11"/>
                      <a:pt x="4" y="10"/>
                      <a:pt x="12" y="8"/>
                    </a:cubicBezTo>
                    <a:cubicBezTo>
                      <a:pt x="20" y="7"/>
                      <a:pt x="30" y="5"/>
                      <a:pt x="42" y="3"/>
                    </a:cubicBezTo>
                    <a:cubicBezTo>
                      <a:pt x="54" y="2"/>
                      <a:pt x="64" y="1"/>
                      <a:pt x="72" y="0"/>
                    </a:cubicBezTo>
                    <a:cubicBezTo>
                      <a:pt x="80" y="0"/>
                      <a:pt x="85" y="0"/>
                      <a:pt x="8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2" name="任意多边形: 形状 541">
                <a:extLst>
                  <a:ext uri="{FF2B5EF4-FFF2-40B4-BE49-F238E27FC236}">
                    <a16:creationId xmlns:a16="http://schemas.microsoft.com/office/drawing/2014/main" id="{F91672A1-CBCF-47A4-A537-4693D7E8F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1876" y="2557463"/>
                <a:ext cx="15875" cy="44450"/>
              </a:xfrm>
              <a:custGeom>
                <a:avLst/>
                <a:gdLst>
                  <a:gd name="T0" fmla="*/ 0 w 7"/>
                  <a:gd name="T1" fmla="*/ 0 h 20"/>
                  <a:gd name="T2" fmla="*/ 7 w 7"/>
                  <a:gd name="T3" fmla="*/ 20 h 20"/>
                  <a:gd name="T4" fmla="*/ 1 w 7"/>
                  <a:gd name="T5" fmla="*/ 4 h 20"/>
                  <a:gd name="T6" fmla="*/ 0 w 7"/>
                  <a:gd name="T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20">
                    <a:moveTo>
                      <a:pt x="0" y="0"/>
                    </a:moveTo>
                    <a:cubicBezTo>
                      <a:pt x="2" y="5"/>
                      <a:pt x="4" y="12"/>
                      <a:pt x="7" y="20"/>
                    </a:cubicBezTo>
                    <a:cubicBezTo>
                      <a:pt x="5" y="14"/>
                      <a:pt x="3" y="9"/>
                      <a:pt x="1" y="4"/>
                    </a:cubicBezTo>
                    <a:cubicBezTo>
                      <a:pt x="1" y="3"/>
                      <a:pt x="0" y="1"/>
                      <a:pt x="0" y="0"/>
                    </a:cubicBezTo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3" name="任意多边形: 形状 542">
                <a:extLst>
                  <a:ext uri="{FF2B5EF4-FFF2-40B4-BE49-F238E27FC236}">
                    <a16:creationId xmlns:a16="http://schemas.microsoft.com/office/drawing/2014/main" id="{25D7583F-AF22-4CD6-8FEB-ECD35544B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37588" y="2522538"/>
                <a:ext cx="15875" cy="42863"/>
              </a:xfrm>
              <a:custGeom>
                <a:avLst/>
                <a:gdLst>
                  <a:gd name="T0" fmla="*/ 0 w 7"/>
                  <a:gd name="T1" fmla="*/ 0 h 19"/>
                  <a:gd name="T2" fmla="*/ 6 w 7"/>
                  <a:gd name="T3" fmla="*/ 15 h 19"/>
                  <a:gd name="T4" fmla="*/ 7 w 7"/>
                  <a:gd name="T5" fmla="*/ 19 h 19"/>
                  <a:gd name="T6" fmla="*/ 0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cubicBezTo>
                      <a:pt x="0" y="0"/>
                      <a:pt x="2" y="5"/>
                      <a:pt x="6" y="15"/>
                    </a:cubicBezTo>
                    <a:cubicBezTo>
                      <a:pt x="6" y="16"/>
                      <a:pt x="7" y="18"/>
                      <a:pt x="7" y="19"/>
                    </a:cubicBezTo>
                    <a:cubicBezTo>
                      <a:pt x="3" y="7"/>
                      <a:pt x="0" y="0"/>
                      <a:pt x="0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4" name="任意多边形: 形状 543">
                <a:extLst>
                  <a:ext uri="{FF2B5EF4-FFF2-40B4-BE49-F238E27FC236}">
                    <a16:creationId xmlns:a16="http://schemas.microsoft.com/office/drawing/2014/main" id="{8A143133-1F45-44D1-8C3D-F2EB0DC0F0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4413" y="2751138"/>
                <a:ext cx="1427163" cy="1063625"/>
              </a:xfrm>
              <a:custGeom>
                <a:avLst/>
                <a:gdLst>
                  <a:gd name="T0" fmla="*/ 589 w 624"/>
                  <a:gd name="T1" fmla="*/ 0 h 465"/>
                  <a:gd name="T2" fmla="*/ 593 w 624"/>
                  <a:gd name="T3" fmla="*/ 36 h 465"/>
                  <a:gd name="T4" fmla="*/ 593 w 624"/>
                  <a:gd name="T5" fmla="*/ 51 h 465"/>
                  <a:gd name="T6" fmla="*/ 593 w 624"/>
                  <a:gd name="T7" fmla="*/ 53 h 465"/>
                  <a:gd name="T8" fmla="*/ 593 w 624"/>
                  <a:gd name="T9" fmla="*/ 54 h 465"/>
                  <a:gd name="T10" fmla="*/ 593 w 624"/>
                  <a:gd name="T11" fmla="*/ 59 h 465"/>
                  <a:gd name="T12" fmla="*/ 593 w 624"/>
                  <a:gd name="T13" fmla="*/ 59 h 465"/>
                  <a:gd name="T14" fmla="*/ 593 w 624"/>
                  <a:gd name="T15" fmla="*/ 65 h 465"/>
                  <a:gd name="T16" fmla="*/ 593 w 624"/>
                  <a:gd name="T17" fmla="*/ 66 h 465"/>
                  <a:gd name="T18" fmla="*/ 593 w 624"/>
                  <a:gd name="T19" fmla="*/ 68 h 465"/>
                  <a:gd name="T20" fmla="*/ 593 w 624"/>
                  <a:gd name="T21" fmla="*/ 83 h 465"/>
                  <a:gd name="T22" fmla="*/ 583 w 624"/>
                  <a:gd name="T23" fmla="*/ 148 h 465"/>
                  <a:gd name="T24" fmla="*/ 568 w 624"/>
                  <a:gd name="T25" fmla="*/ 194 h 465"/>
                  <a:gd name="T26" fmla="*/ 543 w 624"/>
                  <a:gd name="T27" fmla="*/ 245 h 465"/>
                  <a:gd name="T28" fmla="*/ 451 w 624"/>
                  <a:gd name="T29" fmla="*/ 348 h 465"/>
                  <a:gd name="T30" fmla="*/ 394 w 624"/>
                  <a:gd name="T31" fmla="*/ 384 h 465"/>
                  <a:gd name="T32" fmla="*/ 257 w 624"/>
                  <a:gd name="T33" fmla="*/ 422 h 465"/>
                  <a:gd name="T34" fmla="*/ 231 w 624"/>
                  <a:gd name="T35" fmla="*/ 423 h 465"/>
                  <a:gd name="T36" fmla="*/ 204 w 624"/>
                  <a:gd name="T37" fmla="*/ 422 h 465"/>
                  <a:gd name="T38" fmla="*/ 156 w 624"/>
                  <a:gd name="T39" fmla="*/ 415 h 465"/>
                  <a:gd name="T40" fmla="*/ 107 w 624"/>
                  <a:gd name="T41" fmla="*/ 401 h 465"/>
                  <a:gd name="T42" fmla="*/ 1 w 624"/>
                  <a:gd name="T43" fmla="*/ 341 h 465"/>
                  <a:gd name="T44" fmla="*/ 0 w 624"/>
                  <a:gd name="T45" fmla="*/ 348 h 465"/>
                  <a:gd name="T46" fmla="*/ 256 w 624"/>
                  <a:gd name="T47" fmla="*/ 465 h 465"/>
                  <a:gd name="T48" fmla="*/ 420 w 624"/>
                  <a:gd name="T49" fmla="*/ 422 h 465"/>
                  <a:gd name="T50" fmla="*/ 589 w 624"/>
                  <a:gd name="T51" fmla="*/ 0 h 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24" h="465">
                    <a:moveTo>
                      <a:pt x="589" y="0"/>
                    </a:moveTo>
                    <a:cubicBezTo>
                      <a:pt x="591" y="14"/>
                      <a:pt x="592" y="27"/>
                      <a:pt x="593" y="36"/>
                    </a:cubicBezTo>
                    <a:cubicBezTo>
                      <a:pt x="593" y="42"/>
                      <a:pt x="593" y="47"/>
                      <a:pt x="593" y="51"/>
                    </a:cubicBezTo>
                    <a:cubicBezTo>
                      <a:pt x="593" y="51"/>
                      <a:pt x="593" y="52"/>
                      <a:pt x="593" y="53"/>
                    </a:cubicBezTo>
                    <a:cubicBezTo>
                      <a:pt x="593" y="53"/>
                      <a:pt x="593" y="53"/>
                      <a:pt x="593" y="54"/>
                    </a:cubicBezTo>
                    <a:cubicBezTo>
                      <a:pt x="593" y="57"/>
                      <a:pt x="593" y="59"/>
                      <a:pt x="593" y="59"/>
                    </a:cubicBezTo>
                    <a:cubicBezTo>
                      <a:pt x="593" y="59"/>
                      <a:pt x="593" y="59"/>
                      <a:pt x="593" y="59"/>
                    </a:cubicBezTo>
                    <a:cubicBezTo>
                      <a:pt x="593" y="59"/>
                      <a:pt x="593" y="61"/>
                      <a:pt x="593" y="65"/>
                    </a:cubicBezTo>
                    <a:cubicBezTo>
                      <a:pt x="593" y="65"/>
                      <a:pt x="593" y="66"/>
                      <a:pt x="593" y="66"/>
                    </a:cubicBezTo>
                    <a:cubicBezTo>
                      <a:pt x="593" y="67"/>
                      <a:pt x="593" y="67"/>
                      <a:pt x="593" y="68"/>
                    </a:cubicBezTo>
                    <a:cubicBezTo>
                      <a:pt x="593" y="72"/>
                      <a:pt x="593" y="77"/>
                      <a:pt x="593" y="83"/>
                    </a:cubicBezTo>
                    <a:cubicBezTo>
                      <a:pt x="592" y="98"/>
                      <a:pt x="590" y="120"/>
                      <a:pt x="583" y="148"/>
                    </a:cubicBezTo>
                    <a:cubicBezTo>
                      <a:pt x="579" y="162"/>
                      <a:pt x="575" y="177"/>
                      <a:pt x="568" y="194"/>
                    </a:cubicBezTo>
                    <a:cubicBezTo>
                      <a:pt x="562" y="210"/>
                      <a:pt x="554" y="227"/>
                      <a:pt x="543" y="245"/>
                    </a:cubicBezTo>
                    <a:cubicBezTo>
                      <a:pt x="522" y="280"/>
                      <a:pt x="492" y="317"/>
                      <a:pt x="451" y="348"/>
                    </a:cubicBezTo>
                    <a:cubicBezTo>
                      <a:pt x="434" y="361"/>
                      <a:pt x="415" y="374"/>
                      <a:pt x="394" y="384"/>
                    </a:cubicBezTo>
                    <a:cubicBezTo>
                      <a:pt x="348" y="410"/>
                      <a:pt x="301" y="420"/>
                      <a:pt x="257" y="422"/>
                    </a:cubicBezTo>
                    <a:cubicBezTo>
                      <a:pt x="248" y="422"/>
                      <a:pt x="240" y="423"/>
                      <a:pt x="231" y="423"/>
                    </a:cubicBezTo>
                    <a:cubicBezTo>
                      <a:pt x="222" y="423"/>
                      <a:pt x="213" y="422"/>
                      <a:pt x="204" y="422"/>
                    </a:cubicBezTo>
                    <a:cubicBezTo>
                      <a:pt x="188" y="421"/>
                      <a:pt x="172" y="418"/>
                      <a:pt x="156" y="415"/>
                    </a:cubicBezTo>
                    <a:cubicBezTo>
                      <a:pt x="140" y="411"/>
                      <a:pt x="123" y="407"/>
                      <a:pt x="107" y="401"/>
                    </a:cubicBezTo>
                    <a:cubicBezTo>
                      <a:pt x="70" y="388"/>
                      <a:pt x="34" y="367"/>
                      <a:pt x="1" y="341"/>
                    </a:cubicBezTo>
                    <a:cubicBezTo>
                      <a:pt x="1" y="343"/>
                      <a:pt x="1" y="345"/>
                      <a:pt x="0" y="348"/>
                    </a:cubicBezTo>
                    <a:cubicBezTo>
                      <a:pt x="54" y="401"/>
                      <a:pt x="142" y="465"/>
                      <a:pt x="256" y="465"/>
                    </a:cubicBezTo>
                    <a:cubicBezTo>
                      <a:pt x="306" y="465"/>
                      <a:pt x="361" y="453"/>
                      <a:pt x="420" y="422"/>
                    </a:cubicBezTo>
                    <a:cubicBezTo>
                      <a:pt x="624" y="316"/>
                      <a:pt x="616" y="119"/>
                      <a:pt x="589" y="0"/>
                    </a:cubicBezTo>
                  </a:path>
                </a:pathLst>
              </a:custGeom>
              <a:solidFill>
                <a:srgbClr val="092E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5" name="任意多边形: 形状 544">
                <a:extLst>
                  <a:ext uri="{FF2B5EF4-FFF2-40B4-BE49-F238E27FC236}">
                    <a16:creationId xmlns:a16="http://schemas.microsoft.com/office/drawing/2014/main" id="{1052B7E8-BE05-4074-BEB3-72B5BF6BA4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10563" y="2601913"/>
                <a:ext cx="508000" cy="996950"/>
              </a:xfrm>
              <a:custGeom>
                <a:avLst/>
                <a:gdLst>
                  <a:gd name="T0" fmla="*/ 179 w 222"/>
                  <a:gd name="T1" fmla="*/ 131 h 436"/>
                  <a:gd name="T2" fmla="*/ 179 w 222"/>
                  <a:gd name="T3" fmla="*/ 133 h 436"/>
                  <a:gd name="T4" fmla="*/ 179 w 222"/>
                  <a:gd name="T5" fmla="*/ 131 h 436"/>
                  <a:gd name="T6" fmla="*/ 179 w 222"/>
                  <a:gd name="T7" fmla="*/ 116 h 436"/>
                  <a:gd name="T8" fmla="*/ 179 w 222"/>
                  <a:gd name="T9" fmla="*/ 118 h 436"/>
                  <a:gd name="T10" fmla="*/ 179 w 222"/>
                  <a:gd name="T11" fmla="*/ 116 h 436"/>
                  <a:gd name="T12" fmla="*/ 156 w 222"/>
                  <a:gd name="T13" fmla="*/ 0 h 436"/>
                  <a:gd name="T14" fmla="*/ 0 w 222"/>
                  <a:gd name="T15" fmla="*/ 436 h 436"/>
                  <a:gd name="T16" fmla="*/ 36 w 222"/>
                  <a:gd name="T17" fmla="*/ 412 h 436"/>
                  <a:gd name="T18" fmla="*/ 128 w 222"/>
                  <a:gd name="T19" fmla="*/ 309 h 436"/>
                  <a:gd name="T20" fmla="*/ 153 w 222"/>
                  <a:gd name="T21" fmla="*/ 258 h 436"/>
                  <a:gd name="T22" fmla="*/ 168 w 222"/>
                  <a:gd name="T23" fmla="*/ 213 h 436"/>
                  <a:gd name="T24" fmla="*/ 178 w 222"/>
                  <a:gd name="T25" fmla="*/ 148 h 436"/>
                  <a:gd name="T26" fmla="*/ 179 w 222"/>
                  <a:gd name="T27" fmla="*/ 130 h 436"/>
                  <a:gd name="T28" fmla="*/ 179 w 222"/>
                  <a:gd name="T29" fmla="*/ 124 h 436"/>
                  <a:gd name="T30" fmla="*/ 179 w 222"/>
                  <a:gd name="T31" fmla="*/ 119 h 436"/>
                  <a:gd name="T32" fmla="*/ 178 w 222"/>
                  <a:gd name="T33" fmla="*/ 101 h 436"/>
                  <a:gd name="T34" fmla="*/ 171 w 222"/>
                  <a:gd name="T35" fmla="*/ 51 h 436"/>
                  <a:gd name="T36" fmla="*/ 156 w 222"/>
                  <a:gd name="T37" fmla="*/ 0 h 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2" h="436">
                    <a:moveTo>
                      <a:pt x="179" y="131"/>
                    </a:moveTo>
                    <a:cubicBezTo>
                      <a:pt x="179" y="132"/>
                      <a:pt x="179" y="132"/>
                      <a:pt x="179" y="133"/>
                    </a:cubicBezTo>
                    <a:cubicBezTo>
                      <a:pt x="179" y="132"/>
                      <a:pt x="179" y="132"/>
                      <a:pt x="179" y="131"/>
                    </a:cubicBezTo>
                    <a:moveTo>
                      <a:pt x="179" y="116"/>
                    </a:moveTo>
                    <a:cubicBezTo>
                      <a:pt x="179" y="117"/>
                      <a:pt x="179" y="117"/>
                      <a:pt x="179" y="118"/>
                    </a:cubicBezTo>
                    <a:cubicBezTo>
                      <a:pt x="179" y="117"/>
                      <a:pt x="179" y="116"/>
                      <a:pt x="179" y="116"/>
                    </a:cubicBezTo>
                    <a:moveTo>
                      <a:pt x="156" y="0"/>
                    </a:moveTo>
                    <a:cubicBezTo>
                      <a:pt x="183" y="81"/>
                      <a:pt x="222" y="288"/>
                      <a:pt x="0" y="436"/>
                    </a:cubicBezTo>
                    <a:cubicBezTo>
                      <a:pt x="13" y="429"/>
                      <a:pt x="25" y="421"/>
                      <a:pt x="36" y="412"/>
                    </a:cubicBezTo>
                    <a:cubicBezTo>
                      <a:pt x="77" y="381"/>
                      <a:pt x="107" y="344"/>
                      <a:pt x="128" y="309"/>
                    </a:cubicBezTo>
                    <a:cubicBezTo>
                      <a:pt x="139" y="292"/>
                      <a:pt x="147" y="275"/>
                      <a:pt x="153" y="258"/>
                    </a:cubicBezTo>
                    <a:cubicBezTo>
                      <a:pt x="160" y="242"/>
                      <a:pt x="164" y="227"/>
                      <a:pt x="168" y="213"/>
                    </a:cubicBezTo>
                    <a:cubicBezTo>
                      <a:pt x="175" y="185"/>
                      <a:pt x="177" y="163"/>
                      <a:pt x="178" y="148"/>
                    </a:cubicBezTo>
                    <a:cubicBezTo>
                      <a:pt x="179" y="140"/>
                      <a:pt x="179" y="134"/>
                      <a:pt x="179" y="130"/>
                    </a:cubicBezTo>
                    <a:cubicBezTo>
                      <a:pt x="179" y="126"/>
                      <a:pt x="179" y="124"/>
                      <a:pt x="179" y="124"/>
                    </a:cubicBezTo>
                    <a:cubicBezTo>
                      <a:pt x="179" y="124"/>
                      <a:pt x="179" y="122"/>
                      <a:pt x="179" y="119"/>
                    </a:cubicBezTo>
                    <a:cubicBezTo>
                      <a:pt x="179" y="115"/>
                      <a:pt x="179" y="109"/>
                      <a:pt x="178" y="101"/>
                    </a:cubicBezTo>
                    <a:cubicBezTo>
                      <a:pt x="178" y="89"/>
                      <a:pt x="176" y="72"/>
                      <a:pt x="171" y="51"/>
                    </a:cubicBezTo>
                    <a:cubicBezTo>
                      <a:pt x="166" y="31"/>
                      <a:pt x="161" y="14"/>
                      <a:pt x="156" y="0"/>
                    </a:cubicBezTo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6" name="任意多边形: 形状 545">
                <a:extLst>
                  <a:ext uri="{FF2B5EF4-FFF2-40B4-BE49-F238E27FC236}">
                    <a16:creationId xmlns:a16="http://schemas.microsoft.com/office/drawing/2014/main" id="{8A4463B6-3B73-4ED7-8DDC-F8A5DF3928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66001" y="2719388"/>
                <a:ext cx="1354138" cy="998538"/>
              </a:xfrm>
              <a:custGeom>
                <a:avLst/>
                <a:gdLst>
                  <a:gd name="T0" fmla="*/ 0 w 592"/>
                  <a:gd name="T1" fmla="*/ 353 h 437"/>
                  <a:gd name="T2" fmla="*/ 0 w 592"/>
                  <a:gd name="T3" fmla="*/ 355 h 437"/>
                  <a:gd name="T4" fmla="*/ 106 w 592"/>
                  <a:gd name="T5" fmla="*/ 415 h 437"/>
                  <a:gd name="T6" fmla="*/ 155 w 592"/>
                  <a:gd name="T7" fmla="*/ 429 h 437"/>
                  <a:gd name="T8" fmla="*/ 203 w 592"/>
                  <a:gd name="T9" fmla="*/ 436 h 437"/>
                  <a:gd name="T10" fmla="*/ 230 w 592"/>
                  <a:gd name="T11" fmla="*/ 437 h 437"/>
                  <a:gd name="T12" fmla="*/ 256 w 592"/>
                  <a:gd name="T13" fmla="*/ 436 h 437"/>
                  <a:gd name="T14" fmla="*/ 239 w 592"/>
                  <a:gd name="T15" fmla="*/ 436 h 437"/>
                  <a:gd name="T16" fmla="*/ 187 w 592"/>
                  <a:gd name="T17" fmla="*/ 433 h 437"/>
                  <a:gd name="T18" fmla="*/ 0 w 592"/>
                  <a:gd name="T19" fmla="*/ 353 h 437"/>
                  <a:gd name="T20" fmla="*/ 584 w 592"/>
                  <a:gd name="T21" fmla="*/ 0 h 437"/>
                  <a:gd name="T22" fmla="*/ 591 w 592"/>
                  <a:gd name="T23" fmla="*/ 50 h 437"/>
                  <a:gd name="T24" fmla="*/ 592 w 592"/>
                  <a:gd name="T25" fmla="*/ 68 h 437"/>
                  <a:gd name="T26" fmla="*/ 592 w 592"/>
                  <a:gd name="T27" fmla="*/ 73 h 437"/>
                  <a:gd name="T28" fmla="*/ 592 w 592"/>
                  <a:gd name="T29" fmla="*/ 79 h 437"/>
                  <a:gd name="T30" fmla="*/ 591 w 592"/>
                  <a:gd name="T31" fmla="*/ 97 h 437"/>
                  <a:gd name="T32" fmla="*/ 581 w 592"/>
                  <a:gd name="T33" fmla="*/ 162 h 437"/>
                  <a:gd name="T34" fmla="*/ 566 w 592"/>
                  <a:gd name="T35" fmla="*/ 207 h 437"/>
                  <a:gd name="T36" fmla="*/ 541 w 592"/>
                  <a:gd name="T37" fmla="*/ 258 h 437"/>
                  <a:gd name="T38" fmla="*/ 449 w 592"/>
                  <a:gd name="T39" fmla="*/ 361 h 437"/>
                  <a:gd name="T40" fmla="*/ 413 w 592"/>
                  <a:gd name="T41" fmla="*/ 385 h 437"/>
                  <a:gd name="T42" fmla="*/ 402 w 592"/>
                  <a:gd name="T43" fmla="*/ 392 h 437"/>
                  <a:gd name="T44" fmla="*/ 393 w 592"/>
                  <a:gd name="T45" fmla="*/ 398 h 437"/>
                  <a:gd name="T46" fmla="*/ 450 w 592"/>
                  <a:gd name="T47" fmla="*/ 362 h 437"/>
                  <a:gd name="T48" fmla="*/ 542 w 592"/>
                  <a:gd name="T49" fmla="*/ 259 h 437"/>
                  <a:gd name="T50" fmla="*/ 567 w 592"/>
                  <a:gd name="T51" fmla="*/ 208 h 437"/>
                  <a:gd name="T52" fmla="*/ 582 w 592"/>
                  <a:gd name="T53" fmla="*/ 162 h 437"/>
                  <a:gd name="T54" fmla="*/ 592 w 592"/>
                  <a:gd name="T55" fmla="*/ 97 h 437"/>
                  <a:gd name="T56" fmla="*/ 592 w 592"/>
                  <a:gd name="T57" fmla="*/ 82 h 437"/>
                  <a:gd name="T58" fmla="*/ 592 w 592"/>
                  <a:gd name="T59" fmla="*/ 80 h 437"/>
                  <a:gd name="T60" fmla="*/ 592 w 592"/>
                  <a:gd name="T61" fmla="*/ 79 h 437"/>
                  <a:gd name="T62" fmla="*/ 592 w 592"/>
                  <a:gd name="T63" fmla="*/ 73 h 437"/>
                  <a:gd name="T64" fmla="*/ 592 w 592"/>
                  <a:gd name="T65" fmla="*/ 73 h 437"/>
                  <a:gd name="T66" fmla="*/ 592 w 592"/>
                  <a:gd name="T67" fmla="*/ 68 h 437"/>
                  <a:gd name="T68" fmla="*/ 592 w 592"/>
                  <a:gd name="T69" fmla="*/ 67 h 437"/>
                  <a:gd name="T70" fmla="*/ 592 w 592"/>
                  <a:gd name="T71" fmla="*/ 65 h 437"/>
                  <a:gd name="T72" fmla="*/ 592 w 592"/>
                  <a:gd name="T73" fmla="*/ 50 h 437"/>
                  <a:gd name="T74" fmla="*/ 588 w 592"/>
                  <a:gd name="T75" fmla="*/ 14 h 437"/>
                  <a:gd name="T76" fmla="*/ 584 w 592"/>
                  <a:gd name="T77" fmla="*/ 0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92" h="437">
                    <a:moveTo>
                      <a:pt x="0" y="353"/>
                    </a:moveTo>
                    <a:cubicBezTo>
                      <a:pt x="0" y="353"/>
                      <a:pt x="0" y="354"/>
                      <a:pt x="0" y="355"/>
                    </a:cubicBezTo>
                    <a:cubicBezTo>
                      <a:pt x="33" y="381"/>
                      <a:pt x="69" y="402"/>
                      <a:pt x="106" y="415"/>
                    </a:cubicBezTo>
                    <a:cubicBezTo>
                      <a:pt x="122" y="421"/>
                      <a:pt x="139" y="425"/>
                      <a:pt x="155" y="429"/>
                    </a:cubicBezTo>
                    <a:cubicBezTo>
                      <a:pt x="171" y="432"/>
                      <a:pt x="187" y="435"/>
                      <a:pt x="203" y="436"/>
                    </a:cubicBezTo>
                    <a:cubicBezTo>
                      <a:pt x="212" y="436"/>
                      <a:pt x="221" y="437"/>
                      <a:pt x="230" y="437"/>
                    </a:cubicBezTo>
                    <a:cubicBezTo>
                      <a:pt x="239" y="437"/>
                      <a:pt x="247" y="436"/>
                      <a:pt x="256" y="436"/>
                    </a:cubicBezTo>
                    <a:cubicBezTo>
                      <a:pt x="250" y="436"/>
                      <a:pt x="245" y="436"/>
                      <a:pt x="239" y="436"/>
                    </a:cubicBezTo>
                    <a:cubicBezTo>
                      <a:pt x="221" y="436"/>
                      <a:pt x="203" y="435"/>
                      <a:pt x="187" y="433"/>
                    </a:cubicBezTo>
                    <a:cubicBezTo>
                      <a:pt x="106" y="425"/>
                      <a:pt x="42" y="387"/>
                      <a:pt x="0" y="353"/>
                    </a:cubicBezTo>
                    <a:moveTo>
                      <a:pt x="584" y="0"/>
                    </a:moveTo>
                    <a:cubicBezTo>
                      <a:pt x="589" y="21"/>
                      <a:pt x="591" y="38"/>
                      <a:pt x="591" y="50"/>
                    </a:cubicBezTo>
                    <a:cubicBezTo>
                      <a:pt x="592" y="58"/>
                      <a:pt x="592" y="64"/>
                      <a:pt x="592" y="68"/>
                    </a:cubicBezTo>
                    <a:cubicBezTo>
                      <a:pt x="592" y="71"/>
                      <a:pt x="592" y="73"/>
                      <a:pt x="592" y="73"/>
                    </a:cubicBezTo>
                    <a:cubicBezTo>
                      <a:pt x="592" y="73"/>
                      <a:pt x="592" y="75"/>
                      <a:pt x="592" y="79"/>
                    </a:cubicBezTo>
                    <a:cubicBezTo>
                      <a:pt x="592" y="83"/>
                      <a:pt x="592" y="89"/>
                      <a:pt x="591" y="97"/>
                    </a:cubicBezTo>
                    <a:cubicBezTo>
                      <a:pt x="590" y="112"/>
                      <a:pt x="588" y="134"/>
                      <a:pt x="581" y="162"/>
                    </a:cubicBezTo>
                    <a:cubicBezTo>
                      <a:pt x="577" y="176"/>
                      <a:pt x="573" y="191"/>
                      <a:pt x="566" y="207"/>
                    </a:cubicBezTo>
                    <a:cubicBezTo>
                      <a:pt x="560" y="224"/>
                      <a:pt x="552" y="241"/>
                      <a:pt x="541" y="258"/>
                    </a:cubicBezTo>
                    <a:cubicBezTo>
                      <a:pt x="520" y="293"/>
                      <a:pt x="490" y="330"/>
                      <a:pt x="449" y="361"/>
                    </a:cubicBezTo>
                    <a:cubicBezTo>
                      <a:pt x="438" y="370"/>
                      <a:pt x="426" y="378"/>
                      <a:pt x="413" y="385"/>
                    </a:cubicBezTo>
                    <a:cubicBezTo>
                      <a:pt x="409" y="388"/>
                      <a:pt x="406" y="390"/>
                      <a:pt x="402" y="392"/>
                    </a:cubicBezTo>
                    <a:cubicBezTo>
                      <a:pt x="399" y="394"/>
                      <a:pt x="396" y="396"/>
                      <a:pt x="393" y="398"/>
                    </a:cubicBezTo>
                    <a:cubicBezTo>
                      <a:pt x="414" y="388"/>
                      <a:pt x="433" y="375"/>
                      <a:pt x="450" y="362"/>
                    </a:cubicBezTo>
                    <a:cubicBezTo>
                      <a:pt x="491" y="331"/>
                      <a:pt x="521" y="294"/>
                      <a:pt x="542" y="259"/>
                    </a:cubicBezTo>
                    <a:cubicBezTo>
                      <a:pt x="553" y="241"/>
                      <a:pt x="561" y="224"/>
                      <a:pt x="567" y="208"/>
                    </a:cubicBezTo>
                    <a:cubicBezTo>
                      <a:pt x="574" y="191"/>
                      <a:pt x="578" y="176"/>
                      <a:pt x="582" y="162"/>
                    </a:cubicBezTo>
                    <a:cubicBezTo>
                      <a:pt x="589" y="134"/>
                      <a:pt x="591" y="112"/>
                      <a:pt x="592" y="97"/>
                    </a:cubicBezTo>
                    <a:cubicBezTo>
                      <a:pt x="592" y="91"/>
                      <a:pt x="592" y="86"/>
                      <a:pt x="592" y="82"/>
                    </a:cubicBezTo>
                    <a:cubicBezTo>
                      <a:pt x="592" y="81"/>
                      <a:pt x="592" y="81"/>
                      <a:pt x="592" y="80"/>
                    </a:cubicBezTo>
                    <a:cubicBezTo>
                      <a:pt x="592" y="80"/>
                      <a:pt x="592" y="79"/>
                      <a:pt x="592" y="79"/>
                    </a:cubicBezTo>
                    <a:cubicBezTo>
                      <a:pt x="592" y="75"/>
                      <a:pt x="592" y="73"/>
                      <a:pt x="592" y="73"/>
                    </a:cubicBezTo>
                    <a:cubicBezTo>
                      <a:pt x="592" y="73"/>
                      <a:pt x="592" y="73"/>
                      <a:pt x="592" y="73"/>
                    </a:cubicBezTo>
                    <a:cubicBezTo>
                      <a:pt x="592" y="73"/>
                      <a:pt x="592" y="71"/>
                      <a:pt x="592" y="68"/>
                    </a:cubicBezTo>
                    <a:cubicBezTo>
                      <a:pt x="592" y="67"/>
                      <a:pt x="592" y="67"/>
                      <a:pt x="592" y="67"/>
                    </a:cubicBezTo>
                    <a:cubicBezTo>
                      <a:pt x="592" y="66"/>
                      <a:pt x="592" y="66"/>
                      <a:pt x="592" y="65"/>
                    </a:cubicBezTo>
                    <a:cubicBezTo>
                      <a:pt x="592" y="61"/>
                      <a:pt x="592" y="56"/>
                      <a:pt x="592" y="50"/>
                    </a:cubicBezTo>
                    <a:cubicBezTo>
                      <a:pt x="591" y="41"/>
                      <a:pt x="590" y="28"/>
                      <a:pt x="588" y="14"/>
                    </a:cubicBezTo>
                    <a:cubicBezTo>
                      <a:pt x="587" y="9"/>
                      <a:pt x="586" y="5"/>
                      <a:pt x="584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7" name="任意多边形: 形状 546">
                <a:extLst>
                  <a:ext uri="{FF2B5EF4-FFF2-40B4-BE49-F238E27FC236}">
                    <a16:creationId xmlns:a16="http://schemas.microsoft.com/office/drawing/2014/main" id="{61A49481-CB43-4C7D-85D2-9B3567B0F7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8763" y="2447926"/>
                <a:ext cx="249238" cy="604838"/>
              </a:xfrm>
              <a:custGeom>
                <a:avLst/>
                <a:gdLst>
                  <a:gd name="T0" fmla="*/ 107 w 109"/>
                  <a:gd name="T1" fmla="*/ 0 h 265"/>
                  <a:gd name="T2" fmla="*/ 102 w 109"/>
                  <a:gd name="T3" fmla="*/ 159 h 265"/>
                  <a:gd name="T4" fmla="*/ 91 w 109"/>
                  <a:gd name="T5" fmla="*/ 215 h 265"/>
                  <a:gd name="T6" fmla="*/ 53 w 109"/>
                  <a:gd name="T7" fmla="*/ 257 h 265"/>
                  <a:gd name="T8" fmla="*/ 0 w 109"/>
                  <a:gd name="T9" fmla="*/ 247 h 265"/>
                  <a:gd name="T10" fmla="*/ 107 w 109"/>
                  <a:gd name="T11" fmla="*/ 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9" h="265">
                    <a:moveTo>
                      <a:pt x="107" y="0"/>
                    </a:moveTo>
                    <a:cubicBezTo>
                      <a:pt x="109" y="53"/>
                      <a:pt x="107" y="106"/>
                      <a:pt x="102" y="159"/>
                    </a:cubicBezTo>
                    <a:cubicBezTo>
                      <a:pt x="100" y="178"/>
                      <a:pt x="98" y="198"/>
                      <a:pt x="91" y="215"/>
                    </a:cubicBezTo>
                    <a:cubicBezTo>
                      <a:pt x="84" y="233"/>
                      <a:pt x="71" y="250"/>
                      <a:pt x="53" y="257"/>
                    </a:cubicBezTo>
                    <a:cubicBezTo>
                      <a:pt x="35" y="265"/>
                      <a:pt x="13" y="262"/>
                      <a:pt x="0" y="247"/>
                    </a:cubicBezTo>
                    <a:cubicBezTo>
                      <a:pt x="107" y="0"/>
                      <a:pt x="107" y="0"/>
                      <a:pt x="107" y="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8" name="任意多边形: 形状 547">
                <a:extLst>
                  <a:ext uri="{FF2B5EF4-FFF2-40B4-BE49-F238E27FC236}">
                    <a16:creationId xmlns:a16="http://schemas.microsoft.com/office/drawing/2014/main" id="{DC4C2802-B3ED-4F10-8D61-E7D93CD1D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4001" y="2314576"/>
                <a:ext cx="301625" cy="601663"/>
              </a:xfrm>
              <a:custGeom>
                <a:avLst/>
                <a:gdLst>
                  <a:gd name="T0" fmla="*/ 0 w 190"/>
                  <a:gd name="T1" fmla="*/ 320 h 379"/>
                  <a:gd name="T2" fmla="*/ 190 w 190"/>
                  <a:gd name="T3" fmla="*/ 0 h 379"/>
                  <a:gd name="T4" fmla="*/ 75 w 190"/>
                  <a:gd name="T5" fmla="*/ 360 h 379"/>
                  <a:gd name="T6" fmla="*/ 17 w 190"/>
                  <a:gd name="T7" fmla="*/ 379 h 379"/>
                  <a:gd name="T8" fmla="*/ 0 w 190"/>
                  <a:gd name="T9" fmla="*/ 320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" h="379">
                    <a:moveTo>
                      <a:pt x="0" y="320"/>
                    </a:moveTo>
                    <a:lnTo>
                      <a:pt x="190" y="0"/>
                    </a:lnTo>
                    <a:lnTo>
                      <a:pt x="75" y="360"/>
                    </a:lnTo>
                    <a:lnTo>
                      <a:pt x="17" y="379"/>
                    </a:lnTo>
                    <a:lnTo>
                      <a:pt x="0" y="32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schemeClr val="accent2"/>
                  </a:solidFill>
                </a:endParaRPr>
              </a:p>
            </p:txBody>
          </p:sp>
          <p:sp>
            <p:nvSpPr>
              <p:cNvPr id="549" name="任意多边形: 形状 548">
                <a:extLst>
                  <a:ext uri="{FF2B5EF4-FFF2-40B4-BE49-F238E27FC236}">
                    <a16:creationId xmlns:a16="http://schemas.microsoft.com/office/drawing/2014/main" id="{9577B61D-C0D6-4C69-AB1D-539B790D7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4001" y="2314576"/>
                <a:ext cx="301625" cy="601663"/>
              </a:xfrm>
              <a:custGeom>
                <a:avLst/>
                <a:gdLst>
                  <a:gd name="T0" fmla="*/ 0 w 190"/>
                  <a:gd name="T1" fmla="*/ 320 h 379"/>
                  <a:gd name="T2" fmla="*/ 190 w 190"/>
                  <a:gd name="T3" fmla="*/ 0 h 379"/>
                  <a:gd name="T4" fmla="*/ 75 w 190"/>
                  <a:gd name="T5" fmla="*/ 360 h 379"/>
                  <a:gd name="T6" fmla="*/ 17 w 190"/>
                  <a:gd name="T7" fmla="*/ 379 h 379"/>
                  <a:gd name="T8" fmla="*/ 0 w 190"/>
                  <a:gd name="T9" fmla="*/ 320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" h="379">
                    <a:moveTo>
                      <a:pt x="0" y="320"/>
                    </a:moveTo>
                    <a:lnTo>
                      <a:pt x="190" y="0"/>
                    </a:lnTo>
                    <a:lnTo>
                      <a:pt x="75" y="360"/>
                    </a:lnTo>
                    <a:lnTo>
                      <a:pt x="17" y="379"/>
                    </a:lnTo>
                    <a:lnTo>
                      <a:pt x="0" y="32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0" name="任意多边形: 形状 549">
                <a:extLst>
                  <a:ext uri="{FF2B5EF4-FFF2-40B4-BE49-F238E27FC236}">
                    <a16:creationId xmlns:a16="http://schemas.microsoft.com/office/drawing/2014/main" id="{16FD152C-1846-451B-B882-50A41BEA4E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51788" y="2314576"/>
                <a:ext cx="223838" cy="571500"/>
              </a:xfrm>
              <a:custGeom>
                <a:avLst/>
                <a:gdLst>
                  <a:gd name="T0" fmla="*/ 141 w 141"/>
                  <a:gd name="T1" fmla="*/ 0 h 360"/>
                  <a:gd name="T2" fmla="*/ 0 w 141"/>
                  <a:gd name="T3" fmla="*/ 327 h 360"/>
                  <a:gd name="T4" fmla="*/ 26 w 141"/>
                  <a:gd name="T5" fmla="*/ 360 h 360"/>
                  <a:gd name="T6" fmla="*/ 141 w 141"/>
                  <a:gd name="T7" fmla="*/ 0 h 360"/>
                  <a:gd name="T8" fmla="*/ 141 w 141"/>
                  <a:gd name="T9" fmla="*/ 0 h 360"/>
                  <a:gd name="T10" fmla="*/ 141 w 141"/>
                  <a:gd name="T11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1" h="360">
                    <a:moveTo>
                      <a:pt x="141" y="0"/>
                    </a:moveTo>
                    <a:lnTo>
                      <a:pt x="0" y="327"/>
                    </a:lnTo>
                    <a:lnTo>
                      <a:pt x="26" y="360"/>
                    </a:lnTo>
                    <a:lnTo>
                      <a:pt x="141" y="0"/>
                    </a:lnTo>
                    <a:close/>
                    <a:moveTo>
                      <a:pt x="141" y="0"/>
                    </a:moveTo>
                    <a:lnTo>
                      <a:pt x="141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1" name="任意多边形: 形状 550">
                <a:extLst>
                  <a:ext uri="{FF2B5EF4-FFF2-40B4-BE49-F238E27FC236}">
                    <a16:creationId xmlns:a16="http://schemas.microsoft.com/office/drawing/2014/main" id="{29762600-5639-4690-AB6B-7FE7B60AAC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51788" y="2314576"/>
                <a:ext cx="223838" cy="571500"/>
              </a:xfrm>
              <a:custGeom>
                <a:avLst/>
                <a:gdLst>
                  <a:gd name="T0" fmla="*/ 141 w 141"/>
                  <a:gd name="T1" fmla="*/ 0 h 360"/>
                  <a:gd name="T2" fmla="*/ 0 w 141"/>
                  <a:gd name="T3" fmla="*/ 327 h 360"/>
                  <a:gd name="T4" fmla="*/ 26 w 141"/>
                  <a:gd name="T5" fmla="*/ 360 h 360"/>
                  <a:gd name="T6" fmla="*/ 141 w 141"/>
                  <a:gd name="T7" fmla="*/ 0 h 360"/>
                  <a:gd name="T8" fmla="*/ 141 w 141"/>
                  <a:gd name="T9" fmla="*/ 0 h 360"/>
                  <a:gd name="T10" fmla="*/ 141 w 141"/>
                  <a:gd name="T11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1" h="360">
                    <a:moveTo>
                      <a:pt x="141" y="0"/>
                    </a:moveTo>
                    <a:lnTo>
                      <a:pt x="0" y="327"/>
                    </a:lnTo>
                    <a:lnTo>
                      <a:pt x="26" y="360"/>
                    </a:lnTo>
                    <a:lnTo>
                      <a:pt x="141" y="0"/>
                    </a:lnTo>
                    <a:moveTo>
                      <a:pt x="141" y="0"/>
                    </a:moveTo>
                    <a:lnTo>
                      <a:pt x="14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2" name="椭圆 551">
                <a:extLst>
                  <a:ext uri="{FF2B5EF4-FFF2-40B4-BE49-F238E27FC236}">
                    <a16:creationId xmlns:a16="http://schemas.microsoft.com/office/drawing/2014/main" id="{B0303605-41C1-40B0-AF28-A660377E25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02563" y="2817813"/>
                <a:ext cx="195263" cy="193675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3" name="任意多边形: 形状 552">
                <a:extLst>
                  <a:ext uri="{FF2B5EF4-FFF2-40B4-BE49-F238E27FC236}">
                    <a16:creationId xmlns:a16="http://schemas.microsoft.com/office/drawing/2014/main" id="{81E1C22D-E59D-4CC2-8260-0B3047920E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0976" y="2814638"/>
                <a:ext cx="198438" cy="200025"/>
              </a:xfrm>
              <a:custGeom>
                <a:avLst/>
                <a:gdLst>
                  <a:gd name="T0" fmla="*/ 86 w 87"/>
                  <a:gd name="T1" fmla="*/ 44 h 87"/>
                  <a:gd name="T2" fmla="*/ 84 w 87"/>
                  <a:gd name="T3" fmla="*/ 33 h 87"/>
                  <a:gd name="T4" fmla="*/ 69 w 87"/>
                  <a:gd name="T5" fmla="*/ 11 h 87"/>
                  <a:gd name="T6" fmla="*/ 51 w 87"/>
                  <a:gd name="T7" fmla="*/ 3 h 87"/>
                  <a:gd name="T8" fmla="*/ 30 w 87"/>
                  <a:gd name="T9" fmla="*/ 5 h 87"/>
                  <a:gd name="T10" fmla="*/ 19 w 87"/>
                  <a:gd name="T11" fmla="*/ 10 h 87"/>
                  <a:gd name="T12" fmla="*/ 10 w 87"/>
                  <a:gd name="T13" fmla="*/ 19 h 87"/>
                  <a:gd name="T14" fmla="*/ 2 w 87"/>
                  <a:gd name="T15" fmla="*/ 44 h 87"/>
                  <a:gd name="T16" fmla="*/ 10 w 87"/>
                  <a:gd name="T17" fmla="*/ 68 h 87"/>
                  <a:gd name="T18" fmla="*/ 19 w 87"/>
                  <a:gd name="T19" fmla="*/ 77 h 87"/>
                  <a:gd name="T20" fmla="*/ 30 w 87"/>
                  <a:gd name="T21" fmla="*/ 83 h 87"/>
                  <a:gd name="T22" fmla="*/ 51 w 87"/>
                  <a:gd name="T23" fmla="*/ 84 h 87"/>
                  <a:gd name="T24" fmla="*/ 69 w 87"/>
                  <a:gd name="T25" fmla="*/ 77 h 87"/>
                  <a:gd name="T26" fmla="*/ 84 w 87"/>
                  <a:gd name="T27" fmla="*/ 54 h 87"/>
                  <a:gd name="T28" fmla="*/ 86 w 87"/>
                  <a:gd name="T29" fmla="*/ 44 h 87"/>
                  <a:gd name="T30" fmla="*/ 85 w 87"/>
                  <a:gd name="T31" fmla="*/ 54 h 87"/>
                  <a:gd name="T32" fmla="*/ 70 w 87"/>
                  <a:gd name="T33" fmla="*/ 78 h 87"/>
                  <a:gd name="T34" fmla="*/ 52 w 87"/>
                  <a:gd name="T35" fmla="*/ 86 h 87"/>
                  <a:gd name="T36" fmla="*/ 29 w 87"/>
                  <a:gd name="T37" fmla="*/ 84 h 87"/>
                  <a:gd name="T38" fmla="*/ 18 w 87"/>
                  <a:gd name="T39" fmla="*/ 78 h 87"/>
                  <a:gd name="T40" fmla="*/ 9 w 87"/>
                  <a:gd name="T41" fmla="*/ 69 h 87"/>
                  <a:gd name="T42" fmla="*/ 0 w 87"/>
                  <a:gd name="T43" fmla="*/ 44 h 87"/>
                  <a:gd name="T44" fmla="*/ 9 w 87"/>
                  <a:gd name="T45" fmla="*/ 18 h 87"/>
                  <a:gd name="T46" fmla="*/ 18 w 87"/>
                  <a:gd name="T47" fmla="*/ 9 h 87"/>
                  <a:gd name="T48" fmla="*/ 29 w 87"/>
                  <a:gd name="T49" fmla="*/ 3 h 87"/>
                  <a:gd name="T50" fmla="*/ 52 w 87"/>
                  <a:gd name="T51" fmla="*/ 1 h 87"/>
                  <a:gd name="T52" fmla="*/ 70 w 87"/>
                  <a:gd name="T53" fmla="*/ 9 h 87"/>
                  <a:gd name="T54" fmla="*/ 85 w 87"/>
                  <a:gd name="T55" fmla="*/ 33 h 87"/>
                  <a:gd name="T56" fmla="*/ 86 w 87"/>
                  <a:gd name="T57" fmla="*/ 44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7" h="87">
                    <a:moveTo>
                      <a:pt x="86" y="44"/>
                    </a:moveTo>
                    <a:cubicBezTo>
                      <a:pt x="86" y="44"/>
                      <a:pt x="86" y="40"/>
                      <a:pt x="84" y="33"/>
                    </a:cubicBezTo>
                    <a:cubicBezTo>
                      <a:pt x="83" y="27"/>
                      <a:pt x="79" y="18"/>
                      <a:pt x="69" y="11"/>
                    </a:cubicBezTo>
                    <a:cubicBezTo>
                      <a:pt x="64" y="7"/>
                      <a:pt x="58" y="4"/>
                      <a:pt x="51" y="3"/>
                    </a:cubicBezTo>
                    <a:cubicBezTo>
                      <a:pt x="45" y="2"/>
                      <a:pt x="37" y="2"/>
                      <a:pt x="30" y="5"/>
                    </a:cubicBezTo>
                    <a:cubicBezTo>
                      <a:pt x="26" y="6"/>
                      <a:pt x="22" y="8"/>
                      <a:pt x="19" y="10"/>
                    </a:cubicBezTo>
                    <a:cubicBezTo>
                      <a:pt x="16" y="13"/>
                      <a:pt x="13" y="16"/>
                      <a:pt x="10" y="19"/>
                    </a:cubicBezTo>
                    <a:cubicBezTo>
                      <a:pt x="5" y="26"/>
                      <a:pt x="3" y="35"/>
                      <a:pt x="2" y="44"/>
                    </a:cubicBezTo>
                    <a:cubicBezTo>
                      <a:pt x="3" y="53"/>
                      <a:pt x="5" y="61"/>
                      <a:pt x="10" y="68"/>
                    </a:cubicBezTo>
                    <a:cubicBezTo>
                      <a:pt x="13" y="72"/>
                      <a:pt x="16" y="74"/>
                      <a:pt x="19" y="77"/>
                    </a:cubicBezTo>
                    <a:cubicBezTo>
                      <a:pt x="22" y="79"/>
                      <a:pt x="26" y="81"/>
                      <a:pt x="30" y="83"/>
                    </a:cubicBezTo>
                    <a:cubicBezTo>
                      <a:pt x="37" y="85"/>
                      <a:pt x="45" y="86"/>
                      <a:pt x="51" y="84"/>
                    </a:cubicBezTo>
                    <a:cubicBezTo>
                      <a:pt x="58" y="83"/>
                      <a:pt x="64" y="80"/>
                      <a:pt x="69" y="77"/>
                    </a:cubicBezTo>
                    <a:cubicBezTo>
                      <a:pt x="79" y="70"/>
                      <a:pt x="83" y="60"/>
                      <a:pt x="84" y="54"/>
                    </a:cubicBezTo>
                    <a:cubicBezTo>
                      <a:pt x="86" y="47"/>
                      <a:pt x="86" y="44"/>
                      <a:pt x="86" y="44"/>
                    </a:cubicBezTo>
                    <a:cubicBezTo>
                      <a:pt x="86" y="44"/>
                      <a:pt x="87" y="47"/>
                      <a:pt x="85" y="54"/>
                    </a:cubicBezTo>
                    <a:cubicBezTo>
                      <a:pt x="84" y="61"/>
                      <a:pt x="80" y="70"/>
                      <a:pt x="70" y="78"/>
                    </a:cubicBezTo>
                    <a:cubicBezTo>
                      <a:pt x="65" y="82"/>
                      <a:pt x="59" y="85"/>
                      <a:pt x="52" y="86"/>
                    </a:cubicBezTo>
                    <a:cubicBezTo>
                      <a:pt x="45" y="87"/>
                      <a:pt x="37" y="87"/>
                      <a:pt x="29" y="84"/>
                    </a:cubicBezTo>
                    <a:cubicBezTo>
                      <a:pt x="25" y="83"/>
                      <a:pt x="21" y="81"/>
                      <a:pt x="18" y="78"/>
                    </a:cubicBezTo>
                    <a:cubicBezTo>
                      <a:pt x="15" y="76"/>
                      <a:pt x="11" y="73"/>
                      <a:pt x="9" y="69"/>
                    </a:cubicBezTo>
                    <a:cubicBezTo>
                      <a:pt x="3" y="62"/>
                      <a:pt x="0" y="53"/>
                      <a:pt x="0" y="44"/>
                    </a:cubicBezTo>
                    <a:cubicBezTo>
                      <a:pt x="0" y="34"/>
                      <a:pt x="3" y="25"/>
                      <a:pt x="9" y="18"/>
                    </a:cubicBezTo>
                    <a:cubicBezTo>
                      <a:pt x="11" y="14"/>
                      <a:pt x="15" y="11"/>
                      <a:pt x="18" y="9"/>
                    </a:cubicBezTo>
                    <a:cubicBezTo>
                      <a:pt x="21" y="6"/>
                      <a:pt x="25" y="4"/>
                      <a:pt x="29" y="3"/>
                    </a:cubicBezTo>
                    <a:cubicBezTo>
                      <a:pt x="37" y="0"/>
                      <a:pt x="45" y="0"/>
                      <a:pt x="52" y="1"/>
                    </a:cubicBezTo>
                    <a:cubicBezTo>
                      <a:pt x="59" y="2"/>
                      <a:pt x="65" y="6"/>
                      <a:pt x="70" y="9"/>
                    </a:cubicBezTo>
                    <a:cubicBezTo>
                      <a:pt x="80" y="17"/>
                      <a:pt x="84" y="27"/>
                      <a:pt x="85" y="33"/>
                    </a:cubicBezTo>
                    <a:cubicBezTo>
                      <a:pt x="87" y="40"/>
                      <a:pt x="86" y="44"/>
                      <a:pt x="86" y="44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4" name="椭圆 553">
                <a:extLst>
                  <a:ext uri="{FF2B5EF4-FFF2-40B4-BE49-F238E27FC236}">
                    <a16:creationId xmlns:a16="http://schemas.microsoft.com/office/drawing/2014/main" id="{5F6A08CB-C840-42B5-93AC-181B8301A7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7963" y="2843213"/>
                <a:ext cx="144463" cy="142875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5" name="任意多边形: 形状 554">
                <a:extLst>
                  <a:ext uri="{FF2B5EF4-FFF2-40B4-BE49-F238E27FC236}">
                    <a16:creationId xmlns:a16="http://schemas.microsoft.com/office/drawing/2014/main" id="{6034533B-7AD3-4BD1-A022-A628454201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7401" y="3324226"/>
                <a:ext cx="476250" cy="1914525"/>
              </a:xfrm>
              <a:custGeom>
                <a:avLst/>
                <a:gdLst>
                  <a:gd name="T0" fmla="*/ 0 w 300"/>
                  <a:gd name="T1" fmla="*/ 1206 h 1206"/>
                  <a:gd name="T2" fmla="*/ 300 w 300"/>
                  <a:gd name="T3" fmla="*/ 1206 h 1206"/>
                  <a:gd name="T4" fmla="*/ 160 w 300"/>
                  <a:gd name="T5" fmla="*/ 0 h 1206"/>
                  <a:gd name="T6" fmla="*/ 0 w 300"/>
                  <a:gd name="T7" fmla="*/ 1206 h 1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0" h="1206">
                    <a:moveTo>
                      <a:pt x="0" y="1206"/>
                    </a:moveTo>
                    <a:lnTo>
                      <a:pt x="300" y="1206"/>
                    </a:lnTo>
                    <a:lnTo>
                      <a:pt x="160" y="0"/>
                    </a:lnTo>
                    <a:lnTo>
                      <a:pt x="0" y="1206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6" name="任意多边形: 形状 555">
                <a:extLst>
                  <a:ext uri="{FF2B5EF4-FFF2-40B4-BE49-F238E27FC236}">
                    <a16:creationId xmlns:a16="http://schemas.microsoft.com/office/drawing/2014/main" id="{083810E9-9C1F-4B51-9112-66D048F3FD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1" y="3324226"/>
                <a:ext cx="2908300" cy="1971675"/>
              </a:xfrm>
              <a:custGeom>
                <a:avLst/>
                <a:gdLst>
                  <a:gd name="T0" fmla="*/ 194 w 1832"/>
                  <a:gd name="T1" fmla="*/ 0 h 1242"/>
                  <a:gd name="T2" fmla="*/ 0 w 1832"/>
                  <a:gd name="T3" fmla="*/ 1220 h 1242"/>
                  <a:gd name="T4" fmla="*/ 1668 w 1832"/>
                  <a:gd name="T5" fmla="*/ 1242 h 1242"/>
                  <a:gd name="T6" fmla="*/ 1832 w 1832"/>
                  <a:gd name="T7" fmla="*/ 0 h 1242"/>
                  <a:gd name="T8" fmla="*/ 194 w 1832"/>
                  <a:gd name="T9" fmla="*/ 0 h 1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2" h="1242">
                    <a:moveTo>
                      <a:pt x="194" y="0"/>
                    </a:moveTo>
                    <a:lnTo>
                      <a:pt x="0" y="1220"/>
                    </a:lnTo>
                    <a:lnTo>
                      <a:pt x="1668" y="1242"/>
                    </a:lnTo>
                    <a:lnTo>
                      <a:pt x="1832" y="0"/>
                    </a:lnTo>
                    <a:lnTo>
                      <a:pt x="194" y="0"/>
                    </a:ln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7" name="任意多边形: 形状 556">
                <a:extLst>
                  <a:ext uri="{FF2B5EF4-FFF2-40B4-BE49-F238E27FC236}">
                    <a16:creationId xmlns:a16="http://schemas.microsoft.com/office/drawing/2014/main" id="{156F9C88-6DA9-4C20-B933-0CB1404959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1" y="3324226"/>
                <a:ext cx="2908300" cy="1971675"/>
              </a:xfrm>
              <a:custGeom>
                <a:avLst/>
                <a:gdLst>
                  <a:gd name="T0" fmla="*/ 194 w 1832"/>
                  <a:gd name="T1" fmla="*/ 0 h 1242"/>
                  <a:gd name="T2" fmla="*/ 0 w 1832"/>
                  <a:gd name="T3" fmla="*/ 1220 h 1242"/>
                  <a:gd name="T4" fmla="*/ 1668 w 1832"/>
                  <a:gd name="T5" fmla="*/ 1242 h 1242"/>
                  <a:gd name="T6" fmla="*/ 1832 w 1832"/>
                  <a:gd name="T7" fmla="*/ 0 h 1242"/>
                  <a:gd name="T8" fmla="*/ 194 w 1832"/>
                  <a:gd name="T9" fmla="*/ 0 h 1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2" h="1242">
                    <a:moveTo>
                      <a:pt x="194" y="0"/>
                    </a:moveTo>
                    <a:lnTo>
                      <a:pt x="0" y="1220"/>
                    </a:lnTo>
                    <a:lnTo>
                      <a:pt x="1668" y="1242"/>
                    </a:lnTo>
                    <a:lnTo>
                      <a:pt x="1832" y="0"/>
                    </a:lnTo>
                    <a:lnTo>
                      <a:pt x="19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8" name="任意多边形: 形状 557">
                <a:extLst>
                  <a:ext uri="{FF2B5EF4-FFF2-40B4-BE49-F238E27FC236}">
                    <a16:creationId xmlns:a16="http://schemas.microsoft.com/office/drawing/2014/main" id="{85B34A5C-68C4-444A-985E-14E06920D6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36 w 1682"/>
                  <a:gd name="T5" fmla="*/ 0 h 225"/>
                  <a:gd name="T6" fmla="*/ 1682 w 1682"/>
                  <a:gd name="T7" fmla="*/ 0 h 225"/>
                  <a:gd name="T8" fmla="*/ 1654 w 1682"/>
                  <a:gd name="T9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54" y="225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9" name="任意多边形: 形状 558">
                <a:extLst>
                  <a:ext uri="{FF2B5EF4-FFF2-40B4-BE49-F238E27FC236}">
                    <a16:creationId xmlns:a16="http://schemas.microsoft.com/office/drawing/2014/main" id="{A180C7D0-A166-4E7A-9F16-49EADEB165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36 w 1682"/>
                  <a:gd name="T5" fmla="*/ 0 h 225"/>
                  <a:gd name="T6" fmla="*/ 1682 w 1682"/>
                  <a:gd name="T7" fmla="*/ 0 h 225"/>
                  <a:gd name="T8" fmla="*/ 1654 w 1682"/>
                  <a:gd name="T9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54" y="2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0" name="任意多边形: 形状 559">
                <a:extLst>
                  <a:ext uri="{FF2B5EF4-FFF2-40B4-BE49-F238E27FC236}">
                    <a16:creationId xmlns:a16="http://schemas.microsoft.com/office/drawing/2014/main" id="{434FAA39-E866-4377-9BAE-DE2BD42EBB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0 w 1682"/>
                  <a:gd name="T5" fmla="*/ 225 h 225"/>
                  <a:gd name="T6" fmla="*/ 36 w 1682"/>
                  <a:gd name="T7" fmla="*/ 0 h 225"/>
                  <a:gd name="T8" fmla="*/ 1682 w 1682"/>
                  <a:gd name="T9" fmla="*/ 0 h 225"/>
                  <a:gd name="T10" fmla="*/ 1682 w 1682"/>
                  <a:gd name="T11" fmla="*/ 0 h 225"/>
                  <a:gd name="T12" fmla="*/ 1654 w 1682"/>
                  <a:gd name="T13" fmla="*/ 225 h 225"/>
                  <a:gd name="T14" fmla="*/ 0 w 1682"/>
                  <a:gd name="T15" fmla="*/ 225 h 225"/>
                  <a:gd name="T16" fmla="*/ 1652 w 1682"/>
                  <a:gd name="T17" fmla="*/ 225 h 225"/>
                  <a:gd name="T18" fmla="*/ 1682 w 1682"/>
                  <a:gd name="T19" fmla="*/ 0 h 225"/>
                  <a:gd name="T20" fmla="*/ 36 w 1682"/>
                  <a:gd name="T21" fmla="*/ 0 h 225"/>
                  <a:gd name="T22" fmla="*/ 0 w 1682"/>
                  <a:gd name="T2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82" y="0"/>
                    </a:lnTo>
                    <a:lnTo>
                      <a:pt x="1654" y="225"/>
                    </a:lnTo>
                    <a:close/>
                    <a:moveTo>
                      <a:pt x="0" y="225"/>
                    </a:moveTo>
                    <a:lnTo>
                      <a:pt x="1652" y="225"/>
                    </a:lnTo>
                    <a:lnTo>
                      <a:pt x="1682" y="0"/>
                    </a:lnTo>
                    <a:lnTo>
                      <a:pt x="36" y="0"/>
                    </a:lnTo>
                    <a:lnTo>
                      <a:pt x="0" y="225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1" name="任意多边形: 形状 560">
                <a:extLst>
                  <a:ext uri="{FF2B5EF4-FFF2-40B4-BE49-F238E27FC236}">
                    <a16:creationId xmlns:a16="http://schemas.microsoft.com/office/drawing/2014/main" id="{92ECE8ED-811B-41C6-B8EE-95C00E8EBD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0 w 1682"/>
                  <a:gd name="T5" fmla="*/ 225 h 225"/>
                  <a:gd name="T6" fmla="*/ 36 w 1682"/>
                  <a:gd name="T7" fmla="*/ 0 h 225"/>
                  <a:gd name="T8" fmla="*/ 1682 w 1682"/>
                  <a:gd name="T9" fmla="*/ 0 h 225"/>
                  <a:gd name="T10" fmla="*/ 1682 w 1682"/>
                  <a:gd name="T11" fmla="*/ 0 h 225"/>
                  <a:gd name="T12" fmla="*/ 1654 w 1682"/>
                  <a:gd name="T13" fmla="*/ 225 h 225"/>
                  <a:gd name="T14" fmla="*/ 0 w 1682"/>
                  <a:gd name="T15" fmla="*/ 225 h 225"/>
                  <a:gd name="T16" fmla="*/ 1652 w 1682"/>
                  <a:gd name="T17" fmla="*/ 225 h 225"/>
                  <a:gd name="T18" fmla="*/ 1682 w 1682"/>
                  <a:gd name="T19" fmla="*/ 0 h 225"/>
                  <a:gd name="T20" fmla="*/ 36 w 1682"/>
                  <a:gd name="T21" fmla="*/ 0 h 225"/>
                  <a:gd name="T22" fmla="*/ 0 w 1682"/>
                  <a:gd name="T2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82" y="0"/>
                    </a:lnTo>
                    <a:lnTo>
                      <a:pt x="1654" y="225"/>
                    </a:lnTo>
                    <a:moveTo>
                      <a:pt x="0" y="225"/>
                    </a:moveTo>
                    <a:lnTo>
                      <a:pt x="1652" y="225"/>
                    </a:lnTo>
                    <a:lnTo>
                      <a:pt x="1682" y="0"/>
                    </a:lnTo>
                    <a:lnTo>
                      <a:pt x="36" y="0"/>
                    </a:lnTo>
                    <a:lnTo>
                      <a:pt x="0" y="2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2" name="任意多边形: 形状 561">
                <a:extLst>
                  <a:ext uri="{FF2B5EF4-FFF2-40B4-BE49-F238E27FC236}">
                    <a16:creationId xmlns:a16="http://schemas.microsoft.com/office/drawing/2014/main" id="{1117F008-2EF5-4E66-BC2C-437379C933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6938" y="3324226"/>
                <a:ext cx="2684463" cy="530225"/>
              </a:xfrm>
              <a:custGeom>
                <a:avLst/>
                <a:gdLst>
                  <a:gd name="T0" fmla="*/ 53 w 1691"/>
                  <a:gd name="T1" fmla="*/ 0 h 334"/>
                  <a:gd name="T2" fmla="*/ 0 w 1691"/>
                  <a:gd name="T3" fmla="*/ 334 h 334"/>
                  <a:gd name="T4" fmla="*/ 1646 w 1691"/>
                  <a:gd name="T5" fmla="*/ 334 h 334"/>
                  <a:gd name="T6" fmla="*/ 1691 w 1691"/>
                  <a:gd name="T7" fmla="*/ 0 h 334"/>
                  <a:gd name="T8" fmla="*/ 53 w 1691"/>
                  <a:gd name="T9" fmla="*/ 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1" h="334">
                    <a:moveTo>
                      <a:pt x="53" y="0"/>
                    </a:moveTo>
                    <a:lnTo>
                      <a:pt x="0" y="334"/>
                    </a:lnTo>
                    <a:lnTo>
                      <a:pt x="1646" y="334"/>
                    </a:lnTo>
                    <a:lnTo>
                      <a:pt x="1691" y="0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3" name="任意多边形: 形状 562">
                <a:extLst>
                  <a:ext uri="{FF2B5EF4-FFF2-40B4-BE49-F238E27FC236}">
                    <a16:creationId xmlns:a16="http://schemas.microsoft.com/office/drawing/2014/main" id="{83D1FA67-644D-4417-86E2-4CE61189F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6938" y="3324226"/>
                <a:ext cx="2684463" cy="530225"/>
              </a:xfrm>
              <a:custGeom>
                <a:avLst/>
                <a:gdLst>
                  <a:gd name="T0" fmla="*/ 53 w 1691"/>
                  <a:gd name="T1" fmla="*/ 0 h 334"/>
                  <a:gd name="T2" fmla="*/ 0 w 1691"/>
                  <a:gd name="T3" fmla="*/ 334 h 334"/>
                  <a:gd name="T4" fmla="*/ 1646 w 1691"/>
                  <a:gd name="T5" fmla="*/ 334 h 334"/>
                  <a:gd name="T6" fmla="*/ 1691 w 1691"/>
                  <a:gd name="T7" fmla="*/ 0 h 334"/>
                  <a:gd name="T8" fmla="*/ 53 w 1691"/>
                  <a:gd name="T9" fmla="*/ 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1" h="334">
                    <a:moveTo>
                      <a:pt x="53" y="0"/>
                    </a:moveTo>
                    <a:lnTo>
                      <a:pt x="0" y="334"/>
                    </a:lnTo>
                    <a:lnTo>
                      <a:pt x="1646" y="334"/>
                    </a:lnTo>
                    <a:lnTo>
                      <a:pt x="1691" y="0"/>
                    </a:lnTo>
                    <a:lnTo>
                      <a:pt x="5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4" name="任意多边形: 形状 563">
                <a:extLst>
                  <a:ext uri="{FF2B5EF4-FFF2-40B4-BE49-F238E27FC236}">
                    <a16:creationId xmlns:a16="http://schemas.microsoft.com/office/drawing/2014/main" id="{963E4E21-F849-4229-901D-2AE668A52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1" y="3322638"/>
                <a:ext cx="2911475" cy="1927225"/>
              </a:xfrm>
              <a:custGeom>
                <a:avLst/>
                <a:gdLst>
                  <a:gd name="T0" fmla="*/ 135 w 1273"/>
                  <a:gd name="T1" fmla="*/ 1 h 843"/>
                  <a:gd name="T2" fmla="*/ 1272 w 1273"/>
                  <a:gd name="T3" fmla="*/ 0 h 843"/>
                  <a:gd name="T4" fmla="*/ 1273 w 1273"/>
                  <a:gd name="T5" fmla="*/ 0 h 843"/>
                  <a:gd name="T6" fmla="*/ 1273 w 1273"/>
                  <a:gd name="T7" fmla="*/ 1 h 843"/>
                  <a:gd name="T8" fmla="*/ 1161 w 1273"/>
                  <a:gd name="T9" fmla="*/ 842 h 843"/>
                  <a:gd name="T10" fmla="*/ 1161 w 1273"/>
                  <a:gd name="T11" fmla="*/ 843 h 843"/>
                  <a:gd name="T12" fmla="*/ 1160 w 1273"/>
                  <a:gd name="T13" fmla="*/ 843 h 843"/>
                  <a:gd name="T14" fmla="*/ 1147 w 1273"/>
                  <a:gd name="T15" fmla="*/ 843 h 843"/>
                  <a:gd name="T16" fmla="*/ 1 w 1273"/>
                  <a:gd name="T17" fmla="*/ 843 h 843"/>
                  <a:gd name="T18" fmla="*/ 0 w 1273"/>
                  <a:gd name="T19" fmla="*/ 843 h 843"/>
                  <a:gd name="T20" fmla="*/ 0 w 1273"/>
                  <a:gd name="T21" fmla="*/ 842 h 843"/>
                  <a:gd name="T22" fmla="*/ 135 w 1273"/>
                  <a:gd name="T23" fmla="*/ 1 h 843"/>
                  <a:gd name="T24" fmla="*/ 2 w 1273"/>
                  <a:gd name="T25" fmla="*/ 842 h 843"/>
                  <a:gd name="T26" fmla="*/ 1 w 1273"/>
                  <a:gd name="T27" fmla="*/ 841 h 843"/>
                  <a:gd name="T28" fmla="*/ 1147 w 1273"/>
                  <a:gd name="T29" fmla="*/ 841 h 843"/>
                  <a:gd name="T30" fmla="*/ 1160 w 1273"/>
                  <a:gd name="T31" fmla="*/ 841 h 843"/>
                  <a:gd name="T32" fmla="*/ 1159 w 1273"/>
                  <a:gd name="T33" fmla="*/ 842 h 843"/>
                  <a:gd name="T34" fmla="*/ 1271 w 1273"/>
                  <a:gd name="T35" fmla="*/ 1 h 843"/>
                  <a:gd name="T36" fmla="*/ 1272 w 1273"/>
                  <a:gd name="T37" fmla="*/ 2 h 843"/>
                  <a:gd name="T38" fmla="*/ 135 w 1273"/>
                  <a:gd name="T39" fmla="*/ 1 h 8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73" h="843">
                    <a:moveTo>
                      <a:pt x="135" y="1"/>
                    </a:moveTo>
                    <a:cubicBezTo>
                      <a:pt x="144" y="1"/>
                      <a:pt x="598" y="1"/>
                      <a:pt x="1272" y="0"/>
                    </a:cubicBezTo>
                    <a:cubicBezTo>
                      <a:pt x="1273" y="0"/>
                      <a:pt x="1273" y="0"/>
                      <a:pt x="1273" y="0"/>
                    </a:cubicBezTo>
                    <a:cubicBezTo>
                      <a:pt x="1273" y="1"/>
                      <a:pt x="1273" y="1"/>
                      <a:pt x="1273" y="1"/>
                    </a:cubicBezTo>
                    <a:cubicBezTo>
                      <a:pt x="1240" y="254"/>
                      <a:pt x="1202" y="540"/>
                      <a:pt x="1161" y="842"/>
                    </a:cubicBezTo>
                    <a:cubicBezTo>
                      <a:pt x="1161" y="843"/>
                      <a:pt x="1161" y="843"/>
                      <a:pt x="1161" y="843"/>
                    </a:cubicBezTo>
                    <a:cubicBezTo>
                      <a:pt x="1160" y="843"/>
                      <a:pt x="1160" y="843"/>
                      <a:pt x="1160" y="843"/>
                    </a:cubicBezTo>
                    <a:cubicBezTo>
                      <a:pt x="1156" y="843"/>
                      <a:pt x="1152" y="843"/>
                      <a:pt x="1147" y="843"/>
                    </a:cubicBezTo>
                    <a:cubicBezTo>
                      <a:pt x="720" y="843"/>
                      <a:pt x="324" y="843"/>
                      <a:pt x="1" y="843"/>
                    </a:cubicBezTo>
                    <a:cubicBezTo>
                      <a:pt x="0" y="843"/>
                      <a:pt x="0" y="843"/>
                      <a:pt x="0" y="843"/>
                    </a:cubicBezTo>
                    <a:cubicBezTo>
                      <a:pt x="0" y="842"/>
                      <a:pt x="0" y="842"/>
                      <a:pt x="0" y="842"/>
                    </a:cubicBezTo>
                    <a:cubicBezTo>
                      <a:pt x="82" y="333"/>
                      <a:pt x="134" y="8"/>
                      <a:pt x="135" y="1"/>
                    </a:cubicBezTo>
                    <a:cubicBezTo>
                      <a:pt x="134" y="8"/>
                      <a:pt x="83" y="333"/>
                      <a:pt x="2" y="842"/>
                    </a:cubicBezTo>
                    <a:cubicBezTo>
                      <a:pt x="1" y="841"/>
                      <a:pt x="1" y="841"/>
                      <a:pt x="1" y="841"/>
                    </a:cubicBezTo>
                    <a:cubicBezTo>
                      <a:pt x="324" y="841"/>
                      <a:pt x="720" y="841"/>
                      <a:pt x="1147" y="841"/>
                    </a:cubicBezTo>
                    <a:cubicBezTo>
                      <a:pt x="1152" y="841"/>
                      <a:pt x="1156" y="841"/>
                      <a:pt x="1160" y="841"/>
                    </a:cubicBezTo>
                    <a:cubicBezTo>
                      <a:pt x="1159" y="842"/>
                      <a:pt x="1159" y="842"/>
                      <a:pt x="1159" y="842"/>
                    </a:cubicBezTo>
                    <a:cubicBezTo>
                      <a:pt x="1200" y="540"/>
                      <a:pt x="1238" y="253"/>
                      <a:pt x="1271" y="1"/>
                    </a:cubicBezTo>
                    <a:cubicBezTo>
                      <a:pt x="1272" y="2"/>
                      <a:pt x="1272" y="2"/>
                      <a:pt x="1272" y="2"/>
                    </a:cubicBezTo>
                    <a:cubicBezTo>
                      <a:pt x="598" y="1"/>
                      <a:pt x="144" y="1"/>
                      <a:pt x="135" y="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5" name="椭圆 564">
                <a:extLst>
                  <a:ext uri="{FF2B5EF4-FFF2-40B4-BE49-F238E27FC236}">
                    <a16:creationId xmlns:a16="http://schemas.microsoft.com/office/drawing/2014/main" id="{24E25682-714C-43AA-83BC-DB79A5183E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6938" y="3852863"/>
                <a:ext cx="2613025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6" name="椭圆 565">
                <a:extLst>
                  <a:ext uri="{FF2B5EF4-FFF2-40B4-BE49-F238E27FC236}">
                    <a16:creationId xmlns:a16="http://schemas.microsoft.com/office/drawing/2014/main" id="{31E3B863-7EE2-4627-82BB-1FCDE400C1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45026" y="4210051"/>
                <a:ext cx="2630488" cy="317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7" name="椭圆 566">
                <a:extLst>
                  <a:ext uri="{FF2B5EF4-FFF2-40B4-BE49-F238E27FC236}">
                    <a16:creationId xmlns:a16="http://schemas.microsoft.com/office/drawing/2014/main" id="{7CD254EF-91EB-433E-AF8C-75B00AC067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2638" y="4538663"/>
                <a:ext cx="2627313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8" name="椭圆 567">
                <a:extLst>
                  <a:ext uri="{FF2B5EF4-FFF2-40B4-BE49-F238E27FC236}">
                    <a16:creationId xmlns:a16="http://schemas.microsoft.com/office/drawing/2014/main" id="{884FB713-5335-4884-AFF8-AEC8A6D8C1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37076" y="4865688"/>
                <a:ext cx="2630488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9" name="任意多边形: 形状 568">
                <a:extLst>
                  <a:ext uri="{FF2B5EF4-FFF2-40B4-BE49-F238E27FC236}">
                    <a16:creationId xmlns:a16="http://schemas.microsoft.com/office/drawing/2014/main" id="{5AF3A878-2F68-4E85-889D-DCC5A8F4F0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2988" y="3854451"/>
                <a:ext cx="222250" cy="1395413"/>
              </a:xfrm>
              <a:custGeom>
                <a:avLst/>
                <a:gdLst>
                  <a:gd name="T0" fmla="*/ 0 w 97"/>
                  <a:gd name="T1" fmla="*/ 610 h 610"/>
                  <a:gd name="T2" fmla="*/ 47 w 97"/>
                  <a:gd name="T3" fmla="*/ 305 h 610"/>
                  <a:gd name="T4" fmla="*/ 96 w 97"/>
                  <a:gd name="T5" fmla="*/ 0 h 610"/>
                  <a:gd name="T6" fmla="*/ 49 w 97"/>
                  <a:gd name="T7" fmla="*/ 305 h 610"/>
                  <a:gd name="T8" fmla="*/ 0 w 97"/>
                  <a:gd name="T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10">
                    <a:moveTo>
                      <a:pt x="0" y="610"/>
                    </a:moveTo>
                    <a:cubicBezTo>
                      <a:pt x="0" y="610"/>
                      <a:pt x="21" y="474"/>
                      <a:pt x="47" y="305"/>
                    </a:cubicBezTo>
                    <a:cubicBezTo>
                      <a:pt x="74" y="137"/>
                      <a:pt x="96" y="0"/>
                      <a:pt x="96" y="0"/>
                    </a:cubicBezTo>
                    <a:cubicBezTo>
                      <a:pt x="97" y="0"/>
                      <a:pt x="76" y="137"/>
                      <a:pt x="49" y="305"/>
                    </a:cubicBezTo>
                    <a:cubicBezTo>
                      <a:pt x="23" y="474"/>
                      <a:pt x="1" y="610"/>
                      <a:pt x="0" y="6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0" name="任意多边形: 形状 569">
                <a:extLst>
                  <a:ext uri="{FF2B5EF4-FFF2-40B4-BE49-F238E27FC236}">
                    <a16:creationId xmlns:a16="http://schemas.microsoft.com/office/drawing/2014/main" id="{15A828DA-F69A-46BE-9E67-CD82EFF68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7801" y="3854451"/>
                <a:ext cx="222250" cy="1395413"/>
              </a:xfrm>
              <a:custGeom>
                <a:avLst/>
                <a:gdLst>
                  <a:gd name="T0" fmla="*/ 0 w 97"/>
                  <a:gd name="T1" fmla="*/ 610 h 610"/>
                  <a:gd name="T2" fmla="*/ 47 w 97"/>
                  <a:gd name="T3" fmla="*/ 305 h 610"/>
                  <a:gd name="T4" fmla="*/ 96 w 97"/>
                  <a:gd name="T5" fmla="*/ 0 h 610"/>
                  <a:gd name="T6" fmla="*/ 49 w 97"/>
                  <a:gd name="T7" fmla="*/ 305 h 610"/>
                  <a:gd name="T8" fmla="*/ 0 w 97"/>
                  <a:gd name="T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10">
                    <a:moveTo>
                      <a:pt x="0" y="610"/>
                    </a:moveTo>
                    <a:cubicBezTo>
                      <a:pt x="0" y="610"/>
                      <a:pt x="21" y="474"/>
                      <a:pt x="47" y="305"/>
                    </a:cubicBezTo>
                    <a:cubicBezTo>
                      <a:pt x="74" y="137"/>
                      <a:pt x="95" y="0"/>
                      <a:pt x="96" y="0"/>
                    </a:cubicBezTo>
                    <a:cubicBezTo>
                      <a:pt x="97" y="0"/>
                      <a:pt x="76" y="137"/>
                      <a:pt x="49" y="305"/>
                    </a:cubicBezTo>
                    <a:cubicBezTo>
                      <a:pt x="23" y="474"/>
                      <a:pt x="1" y="610"/>
                      <a:pt x="0" y="6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1" name="任意多边形: 形状 570">
                <a:extLst>
                  <a:ext uri="{FF2B5EF4-FFF2-40B4-BE49-F238E27FC236}">
                    <a16:creationId xmlns:a16="http://schemas.microsoft.com/office/drawing/2014/main" id="{8C16CE0C-61BE-49B4-9AAF-B072746DAB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2451" y="3854451"/>
                <a:ext cx="220663" cy="1381125"/>
              </a:xfrm>
              <a:custGeom>
                <a:avLst/>
                <a:gdLst>
                  <a:gd name="T0" fmla="*/ 1 w 96"/>
                  <a:gd name="T1" fmla="*/ 604 h 604"/>
                  <a:gd name="T2" fmla="*/ 47 w 96"/>
                  <a:gd name="T3" fmla="*/ 302 h 604"/>
                  <a:gd name="T4" fmla="*/ 95 w 96"/>
                  <a:gd name="T5" fmla="*/ 0 h 604"/>
                  <a:gd name="T6" fmla="*/ 49 w 96"/>
                  <a:gd name="T7" fmla="*/ 302 h 604"/>
                  <a:gd name="T8" fmla="*/ 1 w 96"/>
                  <a:gd name="T9" fmla="*/ 604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604">
                    <a:moveTo>
                      <a:pt x="1" y="604"/>
                    </a:moveTo>
                    <a:cubicBezTo>
                      <a:pt x="0" y="604"/>
                      <a:pt x="21" y="469"/>
                      <a:pt x="47" y="302"/>
                    </a:cubicBezTo>
                    <a:cubicBezTo>
                      <a:pt x="73" y="135"/>
                      <a:pt x="95" y="0"/>
                      <a:pt x="95" y="0"/>
                    </a:cubicBezTo>
                    <a:cubicBezTo>
                      <a:pt x="96" y="0"/>
                      <a:pt x="75" y="135"/>
                      <a:pt x="49" y="302"/>
                    </a:cubicBezTo>
                    <a:cubicBezTo>
                      <a:pt x="23" y="469"/>
                      <a:pt x="1" y="604"/>
                      <a:pt x="1" y="60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2" name="任意多边形: 形状 571">
                <a:extLst>
                  <a:ext uri="{FF2B5EF4-FFF2-40B4-BE49-F238E27FC236}">
                    <a16:creationId xmlns:a16="http://schemas.microsoft.com/office/drawing/2014/main" id="{14C4DA53-6BCF-4DAB-90FE-2005B14913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5513" y="3854451"/>
                <a:ext cx="219075" cy="1392238"/>
              </a:xfrm>
              <a:custGeom>
                <a:avLst/>
                <a:gdLst>
                  <a:gd name="T0" fmla="*/ 0 w 96"/>
                  <a:gd name="T1" fmla="*/ 609 h 609"/>
                  <a:gd name="T2" fmla="*/ 47 w 96"/>
                  <a:gd name="T3" fmla="*/ 304 h 609"/>
                  <a:gd name="T4" fmla="*/ 96 w 96"/>
                  <a:gd name="T5" fmla="*/ 0 h 609"/>
                  <a:gd name="T6" fmla="*/ 49 w 96"/>
                  <a:gd name="T7" fmla="*/ 305 h 609"/>
                  <a:gd name="T8" fmla="*/ 0 w 96"/>
                  <a:gd name="T9" fmla="*/ 609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609">
                    <a:moveTo>
                      <a:pt x="0" y="609"/>
                    </a:moveTo>
                    <a:cubicBezTo>
                      <a:pt x="0" y="609"/>
                      <a:pt x="21" y="473"/>
                      <a:pt x="47" y="304"/>
                    </a:cubicBezTo>
                    <a:cubicBezTo>
                      <a:pt x="73" y="136"/>
                      <a:pt x="95" y="0"/>
                      <a:pt x="96" y="0"/>
                    </a:cubicBezTo>
                    <a:cubicBezTo>
                      <a:pt x="96" y="0"/>
                      <a:pt x="75" y="137"/>
                      <a:pt x="49" y="305"/>
                    </a:cubicBezTo>
                    <a:cubicBezTo>
                      <a:pt x="23" y="473"/>
                      <a:pt x="1" y="609"/>
                      <a:pt x="0" y="60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3" name="任意多边形: 形状 572">
                <a:extLst>
                  <a:ext uri="{FF2B5EF4-FFF2-40B4-BE49-F238E27FC236}">
                    <a16:creationId xmlns:a16="http://schemas.microsoft.com/office/drawing/2014/main" id="{3EA104AB-2624-48E1-AEAB-A25F648A8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8576" y="3854451"/>
                <a:ext cx="222250" cy="1392238"/>
              </a:xfrm>
              <a:custGeom>
                <a:avLst/>
                <a:gdLst>
                  <a:gd name="T0" fmla="*/ 1 w 97"/>
                  <a:gd name="T1" fmla="*/ 609 h 609"/>
                  <a:gd name="T2" fmla="*/ 47 w 97"/>
                  <a:gd name="T3" fmla="*/ 304 h 609"/>
                  <a:gd name="T4" fmla="*/ 96 w 97"/>
                  <a:gd name="T5" fmla="*/ 0 h 609"/>
                  <a:gd name="T6" fmla="*/ 49 w 97"/>
                  <a:gd name="T7" fmla="*/ 305 h 609"/>
                  <a:gd name="T8" fmla="*/ 1 w 97"/>
                  <a:gd name="T9" fmla="*/ 609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09">
                    <a:moveTo>
                      <a:pt x="1" y="609"/>
                    </a:moveTo>
                    <a:cubicBezTo>
                      <a:pt x="0" y="609"/>
                      <a:pt x="21" y="473"/>
                      <a:pt x="47" y="304"/>
                    </a:cubicBezTo>
                    <a:cubicBezTo>
                      <a:pt x="74" y="136"/>
                      <a:pt x="96" y="0"/>
                      <a:pt x="96" y="0"/>
                    </a:cubicBezTo>
                    <a:cubicBezTo>
                      <a:pt x="97" y="0"/>
                      <a:pt x="76" y="137"/>
                      <a:pt x="49" y="305"/>
                    </a:cubicBezTo>
                    <a:cubicBezTo>
                      <a:pt x="23" y="473"/>
                      <a:pt x="1" y="609"/>
                      <a:pt x="1" y="60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4" name="任意多边形: 形状 573">
                <a:extLst>
                  <a:ext uri="{FF2B5EF4-FFF2-40B4-BE49-F238E27FC236}">
                    <a16:creationId xmlns:a16="http://schemas.microsoft.com/office/drawing/2014/main" id="{2880163A-D436-441B-8248-E6A89EDEC8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1638" y="3854451"/>
                <a:ext cx="220663" cy="1395413"/>
              </a:xfrm>
              <a:custGeom>
                <a:avLst/>
                <a:gdLst>
                  <a:gd name="T0" fmla="*/ 1 w 97"/>
                  <a:gd name="T1" fmla="*/ 610 h 610"/>
                  <a:gd name="T2" fmla="*/ 48 w 97"/>
                  <a:gd name="T3" fmla="*/ 305 h 610"/>
                  <a:gd name="T4" fmla="*/ 97 w 97"/>
                  <a:gd name="T5" fmla="*/ 0 h 610"/>
                  <a:gd name="T6" fmla="*/ 50 w 97"/>
                  <a:gd name="T7" fmla="*/ 305 h 610"/>
                  <a:gd name="T8" fmla="*/ 1 w 97"/>
                  <a:gd name="T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10">
                    <a:moveTo>
                      <a:pt x="1" y="610"/>
                    </a:moveTo>
                    <a:cubicBezTo>
                      <a:pt x="0" y="610"/>
                      <a:pt x="21" y="473"/>
                      <a:pt x="48" y="305"/>
                    </a:cubicBezTo>
                    <a:cubicBezTo>
                      <a:pt x="74" y="136"/>
                      <a:pt x="96" y="0"/>
                      <a:pt x="97" y="0"/>
                    </a:cubicBezTo>
                    <a:cubicBezTo>
                      <a:pt x="97" y="0"/>
                      <a:pt x="76" y="137"/>
                      <a:pt x="50" y="305"/>
                    </a:cubicBezTo>
                    <a:cubicBezTo>
                      <a:pt x="23" y="474"/>
                      <a:pt x="1" y="610"/>
                      <a:pt x="1" y="6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5" name="矩形 574">
                <a:extLst>
                  <a:ext uri="{FF2B5EF4-FFF2-40B4-BE49-F238E27FC236}">
                    <a16:creationId xmlns:a16="http://schemas.microsoft.com/office/drawing/2014/main" id="{DE5644B1-05EA-490E-84A7-3863198182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40488" y="3327401"/>
                <a:ext cx="287338" cy="525463"/>
              </a:xfrm>
              <a:prstGeom prst="rect">
                <a:avLst/>
              </a:prstGeom>
              <a:solidFill>
                <a:srgbClr val="0C3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6" name="任意多边形: 形状 575">
                <a:extLst>
                  <a:ext uri="{FF2B5EF4-FFF2-40B4-BE49-F238E27FC236}">
                    <a16:creationId xmlns:a16="http://schemas.microsoft.com/office/drawing/2014/main" id="{89A61E7A-D870-41D6-99F0-8AC9D01380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5251" y="3324226"/>
                <a:ext cx="276225" cy="3175"/>
              </a:xfrm>
              <a:custGeom>
                <a:avLst/>
                <a:gdLst>
                  <a:gd name="T0" fmla="*/ 121 w 121"/>
                  <a:gd name="T1" fmla="*/ 0 h 1"/>
                  <a:gd name="T2" fmla="*/ 0 w 121"/>
                  <a:gd name="T3" fmla="*/ 1 h 1"/>
                  <a:gd name="T4" fmla="*/ 121 w 121"/>
                  <a:gd name="T5" fmla="*/ 1 h 1"/>
                  <a:gd name="T6" fmla="*/ 121 w 12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1" h="1">
                    <a:moveTo>
                      <a:pt x="12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39" y="1"/>
                      <a:pt x="80" y="1"/>
                      <a:pt x="121" y="1"/>
                    </a:cubicBezTo>
                    <a:cubicBezTo>
                      <a:pt x="121" y="0"/>
                      <a:pt x="121" y="0"/>
                      <a:pt x="121" y="0"/>
                    </a:cubicBezTo>
                  </a:path>
                </a:pathLst>
              </a:custGeom>
              <a:solidFill>
                <a:srgbClr val="1E28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7" name="任意多边形: 形状 576">
                <a:extLst>
                  <a:ext uri="{FF2B5EF4-FFF2-40B4-BE49-F238E27FC236}">
                    <a16:creationId xmlns:a16="http://schemas.microsoft.com/office/drawing/2014/main" id="{B4FF5B2D-3CBE-46A1-8E56-980CE8BA4B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5101" y="3857626"/>
                <a:ext cx="36513" cy="22225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0 h 10"/>
                  <a:gd name="T4" fmla="*/ 1 w 16"/>
                  <a:gd name="T5" fmla="*/ 10 h 10"/>
                  <a:gd name="T6" fmla="*/ 16 w 16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1" y="0"/>
                      <a:pt x="5" y="0"/>
                      <a:pt x="0" y="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7" y="8"/>
                      <a:pt x="12" y="4"/>
                      <a:pt x="16" y="0"/>
                    </a:cubicBezTo>
                  </a:path>
                </a:pathLst>
              </a:custGeom>
              <a:solidFill>
                <a:srgbClr val="BCBC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8" name="任意多边形: 形状 577">
                <a:extLst>
                  <a:ext uri="{FF2B5EF4-FFF2-40B4-BE49-F238E27FC236}">
                    <a16:creationId xmlns:a16="http://schemas.microsoft.com/office/drawing/2014/main" id="{9E74F578-6059-4895-AAAF-AA0F524B3D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3513" y="3852863"/>
                <a:ext cx="42863" cy="4763"/>
              </a:xfrm>
              <a:custGeom>
                <a:avLst/>
                <a:gdLst>
                  <a:gd name="T0" fmla="*/ 0 w 19"/>
                  <a:gd name="T1" fmla="*/ 0 h 2"/>
                  <a:gd name="T2" fmla="*/ 1 w 19"/>
                  <a:gd name="T3" fmla="*/ 2 h 2"/>
                  <a:gd name="T4" fmla="*/ 17 w 19"/>
                  <a:gd name="T5" fmla="*/ 2 h 2"/>
                  <a:gd name="T6" fmla="*/ 19 w 19"/>
                  <a:gd name="T7" fmla="*/ 0 h 2"/>
                  <a:gd name="T8" fmla="*/ 0 w 19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">
                    <a:moveTo>
                      <a:pt x="0" y="0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6" y="2"/>
                      <a:pt x="12" y="2"/>
                      <a:pt x="17" y="2"/>
                    </a:cubicBezTo>
                    <a:cubicBezTo>
                      <a:pt x="18" y="1"/>
                      <a:pt x="18" y="1"/>
                      <a:pt x="19" y="0"/>
                    </a:cubicBezTo>
                    <a:cubicBezTo>
                      <a:pt x="13" y="0"/>
                      <a:pt x="7" y="0"/>
                      <a:pt x="0" y="0"/>
                    </a:cubicBezTo>
                  </a:path>
                </a:pathLst>
              </a:custGeom>
              <a:solidFill>
                <a:srgbClr val="1E28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9" name="任意多边形: 形状 578">
                <a:extLst>
                  <a:ext uri="{FF2B5EF4-FFF2-40B4-BE49-F238E27FC236}">
                    <a16:creationId xmlns:a16="http://schemas.microsoft.com/office/drawing/2014/main" id="{7959CF40-523B-4C2E-9041-6BBF80ACCB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5551" y="4238626"/>
                <a:ext cx="314325" cy="277813"/>
              </a:xfrm>
              <a:custGeom>
                <a:avLst/>
                <a:gdLst>
                  <a:gd name="T0" fmla="*/ 137 w 137"/>
                  <a:gd name="T1" fmla="*/ 0 h 121"/>
                  <a:gd name="T2" fmla="*/ 136 w 137"/>
                  <a:gd name="T3" fmla="*/ 1 h 121"/>
                  <a:gd name="T4" fmla="*/ 132 w 137"/>
                  <a:gd name="T5" fmla="*/ 5 h 121"/>
                  <a:gd name="T6" fmla="*/ 118 w 137"/>
                  <a:gd name="T7" fmla="*/ 19 h 121"/>
                  <a:gd name="T8" fmla="*/ 71 w 137"/>
                  <a:gd name="T9" fmla="*/ 63 h 121"/>
                  <a:gd name="T10" fmla="*/ 21 w 137"/>
                  <a:gd name="T11" fmla="*/ 105 h 121"/>
                  <a:gd name="T12" fmla="*/ 6 w 137"/>
                  <a:gd name="T13" fmla="*/ 117 h 121"/>
                  <a:gd name="T14" fmla="*/ 2 w 137"/>
                  <a:gd name="T15" fmla="*/ 120 h 121"/>
                  <a:gd name="T16" fmla="*/ 0 w 137"/>
                  <a:gd name="T17" fmla="*/ 121 h 121"/>
                  <a:gd name="T18" fmla="*/ 1 w 137"/>
                  <a:gd name="T19" fmla="*/ 120 h 121"/>
                  <a:gd name="T20" fmla="*/ 5 w 137"/>
                  <a:gd name="T21" fmla="*/ 116 h 121"/>
                  <a:gd name="T22" fmla="*/ 20 w 137"/>
                  <a:gd name="T23" fmla="*/ 103 h 121"/>
                  <a:gd name="T24" fmla="*/ 69 w 137"/>
                  <a:gd name="T25" fmla="*/ 61 h 121"/>
                  <a:gd name="T26" fmla="*/ 117 w 137"/>
                  <a:gd name="T27" fmla="*/ 18 h 121"/>
                  <a:gd name="T28" fmla="*/ 132 w 137"/>
                  <a:gd name="T29" fmla="*/ 4 h 121"/>
                  <a:gd name="T30" fmla="*/ 136 w 137"/>
                  <a:gd name="T31" fmla="*/ 1 h 121"/>
                  <a:gd name="T32" fmla="*/ 137 w 137"/>
                  <a:gd name="T3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" h="121">
                    <a:moveTo>
                      <a:pt x="137" y="0"/>
                    </a:moveTo>
                    <a:cubicBezTo>
                      <a:pt x="137" y="0"/>
                      <a:pt x="137" y="0"/>
                      <a:pt x="136" y="1"/>
                    </a:cubicBezTo>
                    <a:cubicBezTo>
                      <a:pt x="135" y="2"/>
                      <a:pt x="134" y="3"/>
                      <a:pt x="132" y="5"/>
                    </a:cubicBezTo>
                    <a:cubicBezTo>
                      <a:pt x="129" y="8"/>
                      <a:pt x="124" y="13"/>
                      <a:pt x="118" y="19"/>
                    </a:cubicBezTo>
                    <a:cubicBezTo>
                      <a:pt x="107" y="30"/>
                      <a:pt x="90" y="46"/>
                      <a:pt x="71" y="63"/>
                    </a:cubicBezTo>
                    <a:cubicBezTo>
                      <a:pt x="52" y="79"/>
                      <a:pt x="34" y="94"/>
                      <a:pt x="21" y="105"/>
                    </a:cubicBezTo>
                    <a:cubicBezTo>
                      <a:pt x="15" y="110"/>
                      <a:pt x="10" y="114"/>
                      <a:pt x="6" y="117"/>
                    </a:cubicBezTo>
                    <a:cubicBezTo>
                      <a:pt x="4" y="118"/>
                      <a:pt x="3" y="119"/>
                      <a:pt x="2" y="120"/>
                    </a:cubicBezTo>
                    <a:cubicBezTo>
                      <a:pt x="1" y="121"/>
                      <a:pt x="0" y="121"/>
                      <a:pt x="0" y="121"/>
                    </a:cubicBezTo>
                    <a:cubicBezTo>
                      <a:pt x="0" y="121"/>
                      <a:pt x="0" y="120"/>
                      <a:pt x="1" y="120"/>
                    </a:cubicBezTo>
                    <a:cubicBezTo>
                      <a:pt x="2" y="119"/>
                      <a:pt x="4" y="117"/>
                      <a:pt x="5" y="116"/>
                    </a:cubicBezTo>
                    <a:cubicBezTo>
                      <a:pt x="9" y="113"/>
                      <a:pt x="14" y="109"/>
                      <a:pt x="20" y="103"/>
                    </a:cubicBezTo>
                    <a:cubicBezTo>
                      <a:pt x="33" y="93"/>
                      <a:pt x="50" y="78"/>
                      <a:pt x="69" y="61"/>
                    </a:cubicBezTo>
                    <a:cubicBezTo>
                      <a:pt x="88" y="44"/>
                      <a:pt x="105" y="29"/>
                      <a:pt x="117" y="18"/>
                    </a:cubicBezTo>
                    <a:cubicBezTo>
                      <a:pt x="123" y="12"/>
                      <a:pt x="128" y="8"/>
                      <a:pt x="132" y="4"/>
                    </a:cubicBezTo>
                    <a:cubicBezTo>
                      <a:pt x="133" y="3"/>
                      <a:pt x="135" y="2"/>
                      <a:pt x="136" y="1"/>
                    </a:cubicBezTo>
                    <a:cubicBezTo>
                      <a:pt x="137" y="0"/>
                      <a:pt x="137" y="0"/>
                      <a:pt x="13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0" name="任意多边形: 形状 579">
                <a:extLst>
                  <a:ext uri="{FF2B5EF4-FFF2-40B4-BE49-F238E27FC236}">
                    <a16:creationId xmlns:a16="http://schemas.microsoft.com/office/drawing/2014/main" id="{5B176C68-39B9-40F6-BDE1-5F9CEA5900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1" y="4237038"/>
                <a:ext cx="268288" cy="282575"/>
              </a:xfrm>
              <a:custGeom>
                <a:avLst/>
                <a:gdLst>
                  <a:gd name="T0" fmla="*/ 117 w 117"/>
                  <a:gd name="T1" fmla="*/ 124 h 124"/>
                  <a:gd name="T2" fmla="*/ 113 w 117"/>
                  <a:gd name="T3" fmla="*/ 119 h 124"/>
                  <a:gd name="T4" fmla="*/ 100 w 117"/>
                  <a:gd name="T5" fmla="*/ 106 h 124"/>
                  <a:gd name="T6" fmla="*/ 59 w 117"/>
                  <a:gd name="T7" fmla="*/ 62 h 124"/>
                  <a:gd name="T8" fmla="*/ 17 w 117"/>
                  <a:gd name="T9" fmla="*/ 18 h 124"/>
                  <a:gd name="T10" fmla="*/ 5 w 117"/>
                  <a:gd name="T11" fmla="*/ 5 h 124"/>
                  <a:gd name="T12" fmla="*/ 0 w 117"/>
                  <a:gd name="T13" fmla="*/ 0 h 124"/>
                  <a:gd name="T14" fmla="*/ 5 w 117"/>
                  <a:gd name="T15" fmla="*/ 4 h 124"/>
                  <a:gd name="T16" fmla="*/ 18 w 117"/>
                  <a:gd name="T17" fmla="*/ 17 h 124"/>
                  <a:gd name="T18" fmla="*/ 60 w 117"/>
                  <a:gd name="T19" fmla="*/ 60 h 124"/>
                  <a:gd name="T20" fmla="*/ 101 w 117"/>
                  <a:gd name="T21" fmla="*/ 105 h 124"/>
                  <a:gd name="T22" fmla="*/ 113 w 117"/>
                  <a:gd name="T23" fmla="*/ 118 h 124"/>
                  <a:gd name="T24" fmla="*/ 117 w 117"/>
                  <a:gd name="T25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7" h="124">
                    <a:moveTo>
                      <a:pt x="117" y="124"/>
                    </a:moveTo>
                    <a:cubicBezTo>
                      <a:pt x="117" y="124"/>
                      <a:pt x="116" y="122"/>
                      <a:pt x="113" y="119"/>
                    </a:cubicBezTo>
                    <a:cubicBezTo>
                      <a:pt x="109" y="115"/>
                      <a:pt x="105" y="111"/>
                      <a:pt x="100" y="106"/>
                    </a:cubicBezTo>
                    <a:cubicBezTo>
                      <a:pt x="89" y="94"/>
                      <a:pt x="75" y="79"/>
                      <a:pt x="59" y="62"/>
                    </a:cubicBezTo>
                    <a:cubicBezTo>
                      <a:pt x="43" y="45"/>
                      <a:pt x="28" y="29"/>
                      <a:pt x="17" y="18"/>
                    </a:cubicBezTo>
                    <a:cubicBezTo>
                      <a:pt x="12" y="12"/>
                      <a:pt x="8" y="8"/>
                      <a:pt x="5" y="5"/>
                    </a:cubicBezTo>
                    <a:cubicBezTo>
                      <a:pt x="2" y="2"/>
                      <a:pt x="0" y="0"/>
                      <a:pt x="0" y="0"/>
                    </a:cubicBezTo>
                    <a:cubicBezTo>
                      <a:pt x="0" y="0"/>
                      <a:pt x="2" y="1"/>
                      <a:pt x="5" y="4"/>
                    </a:cubicBezTo>
                    <a:cubicBezTo>
                      <a:pt x="8" y="7"/>
                      <a:pt x="13" y="11"/>
                      <a:pt x="18" y="17"/>
                    </a:cubicBezTo>
                    <a:cubicBezTo>
                      <a:pt x="29" y="28"/>
                      <a:pt x="44" y="43"/>
                      <a:pt x="60" y="60"/>
                    </a:cubicBezTo>
                    <a:cubicBezTo>
                      <a:pt x="76" y="77"/>
                      <a:pt x="91" y="93"/>
                      <a:pt x="101" y="105"/>
                    </a:cubicBezTo>
                    <a:cubicBezTo>
                      <a:pt x="106" y="110"/>
                      <a:pt x="110" y="115"/>
                      <a:pt x="113" y="118"/>
                    </a:cubicBezTo>
                    <a:cubicBezTo>
                      <a:pt x="116" y="122"/>
                      <a:pt x="117" y="123"/>
                      <a:pt x="117" y="12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1" name="任意多边形: 形状 580">
                <a:extLst>
                  <a:ext uri="{FF2B5EF4-FFF2-40B4-BE49-F238E27FC236}">
                    <a16:creationId xmlns:a16="http://schemas.microsoft.com/office/drawing/2014/main" id="{A04C3594-FA08-407C-AB89-AA0069A419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2901" y="4227513"/>
                <a:ext cx="319088" cy="306388"/>
              </a:xfrm>
              <a:custGeom>
                <a:avLst/>
                <a:gdLst>
                  <a:gd name="T0" fmla="*/ 3 w 140"/>
                  <a:gd name="T1" fmla="*/ 38 h 134"/>
                  <a:gd name="T2" fmla="*/ 38 w 140"/>
                  <a:gd name="T3" fmla="*/ 8 h 134"/>
                  <a:gd name="T4" fmla="*/ 65 w 140"/>
                  <a:gd name="T5" fmla="*/ 4 h 134"/>
                  <a:gd name="T6" fmla="*/ 121 w 140"/>
                  <a:gd name="T7" fmla="*/ 41 h 134"/>
                  <a:gd name="T8" fmla="*/ 125 w 140"/>
                  <a:gd name="T9" fmla="*/ 102 h 134"/>
                  <a:gd name="T10" fmla="*/ 61 w 140"/>
                  <a:gd name="T11" fmla="*/ 131 h 134"/>
                  <a:gd name="T12" fmla="*/ 13 w 140"/>
                  <a:gd name="T13" fmla="*/ 110 h 134"/>
                  <a:gd name="T14" fmla="*/ 1 w 140"/>
                  <a:gd name="T15" fmla="*/ 85 h 134"/>
                  <a:gd name="T16" fmla="*/ 41 w 140"/>
                  <a:gd name="T17" fmla="*/ 11 h 134"/>
                  <a:gd name="T18" fmla="*/ 126 w 140"/>
                  <a:gd name="T19" fmla="*/ 28 h 134"/>
                  <a:gd name="T20" fmla="*/ 133 w 140"/>
                  <a:gd name="T21" fmla="*/ 90 h 134"/>
                  <a:gd name="T22" fmla="*/ 110 w 140"/>
                  <a:gd name="T23" fmla="*/ 114 h 134"/>
                  <a:gd name="T24" fmla="*/ 18 w 140"/>
                  <a:gd name="T25" fmla="*/ 104 h 134"/>
                  <a:gd name="T26" fmla="*/ 7 w 140"/>
                  <a:gd name="T27" fmla="*/ 46 h 134"/>
                  <a:gd name="T28" fmla="*/ 30 w 140"/>
                  <a:gd name="T29" fmla="*/ 27 h 134"/>
                  <a:gd name="T30" fmla="*/ 89 w 140"/>
                  <a:gd name="T31" fmla="*/ 27 h 134"/>
                  <a:gd name="T32" fmla="*/ 128 w 140"/>
                  <a:gd name="T33" fmla="*/ 65 h 134"/>
                  <a:gd name="T34" fmla="*/ 112 w 140"/>
                  <a:gd name="T35" fmla="*/ 114 h 134"/>
                  <a:gd name="T36" fmla="*/ 44 w 140"/>
                  <a:gd name="T37" fmla="*/ 130 h 134"/>
                  <a:gd name="T38" fmla="*/ 15 w 140"/>
                  <a:gd name="T39" fmla="*/ 99 h 134"/>
                  <a:gd name="T40" fmla="*/ 26 w 140"/>
                  <a:gd name="T41" fmla="*/ 45 h 134"/>
                  <a:gd name="T42" fmla="*/ 80 w 140"/>
                  <a:gd name="T43" fmla="*/ 25 h 134"/>
                  <a:gd name="T44" fmla="*/ 122 w 140"/>
                  <a:gd name="T45" fmla="*/ 45 h 134"/>
                  <a:gd name="T46" fmla="*/ 122 w 140"/>
                  <a:gd name="T47" fmla="*/ 46 h 134"/>
                  <a:gd name="T48" fmla="*/ 80 w 140"/>
                  <a:gd name="T49" fmla="*/ 26 h 134"/>
                  <a:gd name="T50" fmla="*/ 27 w 140"/>
                  <a:gd name="T51" fmla="*/ 46 h 134"/>
                  <a:gd name="T52" fmla="*/ 16 w 140"/>
                  <a:gd name="T53" fmla="*/ 99 h 134"/>
                  <a:gd name="T54" fmla="*/ 45 w 140"/>
                  <a:gd name="T55" fmla="*/ 128 h 134"/>
                  <a:gd name="T56" fmla="*/ 111 w 140"/>
                  <a:gd name="T57" fmla="*/ 112 h 134"/>
                  <a:gd name="T58" fmla="*/ 126 w 140"/>
                  <a:gd name="T59" fmla="*/ 65 h 134"/>
                  <a:gd name="T60" fmla="*/ 89 w 140"/>
                  <a:gd name="T61" fmla="*/ 29 h 134"/>
                  <a:gd name="T62" fmla="*/ 31 w 140"/>
                  <a:gd name="T63" fmla="*/ 28 h 134"/>
                  <a:gd name="T64" fmla="*/ 4 w 140"/>
                  <a:gd name="T65" fmla="*/ 76 h 134"/>
                  <a:gd name="T66" fmla="*/ 47 w 140"/>
                  <a:gd name="T67" fmla="*/ 118 h 134"/>
                  <a:gd name="T68" fmla="*/ 122 w 140"/>
                  <a:gd name="T69" fmla="*/ 102 h 134"/>
                  <a:gd name="T70" fmla="*/ 136 w 140"/>
                  <a:gd name="T71" fmla="*/ 58 h 134"/>
                  <a:gd name="T72" fmla="*/ 100 w 140"/>
                  <a:gd name="T73" fmla="*/ 10 h 134"/>
                  <a:gd name="T74" fmla="*/ 6 w 140"/>
                  <a:gd name="T75" fmla="*/ 57 h 134"/>
                  <a:gd name="T76" fmla="*/ 7 w 140"/>
                  <a:gd name="T77" fmla="*/ 98 h 134"/>
                  <a:gd name="T78" fmla="*/ 36 w 140"/>
                  <a:gd name="T79" fmla="*/ 123 h 134"/>
                  <a:gd name="T80" fmla="*/ 108 w 140"/>
                  <a:gd name="T81" fmla="*/ 117 h 134"/>
                  <a:gd name="T82" fmla="*/ 120 w 140"/>
                  <a:gd name="T83" fmla="*/ 41 h 134"/>
                  <a:gd name="T84" fmla="*/ 64 w 140"/>
                  <a:gd name="T85" fmla="*/ 5 h 134"/>
                  <a:gd name="T86" fmla="*/ 38 w 140"/>
                  <a:gd name="T87" fmla="*/ 9 h 134"/>
                  <a:gd name="T88" fmla="*/ 3 w 140"/>
                  <a:gd name="T89" fmla="*/ 38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40" h="134">
                    <a:moveTo>
                      <a:pt x="2" y="41"/>
                    </a:moveTo>
                    <a:cubicBezTo>
                      <a:pt x="2" y="41"/>
                      <a:pt x="2" y="40"/>
                      <a:pt x="3" y="38"/>
                    </a:cubicBezTo>
                    <a:cubicBezTo>
                      <a:pt x="4" y="36"/>
                      <a:pt x="6" y="33"/>
                      <a:pt x="8" y="30"/>
                    </a:cubicBezTo>
                    <a:cubicBezTo>
                      <a:pt x="13" y="23"/>
                      <a:pt x="22" y="13"/>
                      <a:pt x="38" y="8"/>
                    </a:cubicBezTo>
                    <a:cubicBezTo>
                      <a:pt x="42" y="6"/>
                      <a:pt x="46" y="5"/>
                      <a:pt x="50" y="5"/>
                    </a:cubicBezTo>
                    <a:cubicBezTo>
                      <a:pt x="55" y="4"/>
                      <a:pt x="60" y="4"/>
                      <a:pt x="65" y="4"/>
                    </a:cubicBezTo>
                    <a:cubicBezTo>
                      <a:pt x="74" y="5"/>
                      <a:pt x="85" y="9"/>
                      <a:pt x="95" y="15"/>
                    </a:cubicBezTo>
                    <a:cubicBezTo>
                      <a:pt x="105" y="21"/>
                      <a:pt x="114" y="29"/>
                      <a:pt x="121" y="41"/>
                    </a:cubicBezTo>
                    <a:cubicBezTo>
                      <a:pt x="128" y="52"/>
                      <a:pt x="133" y="66"/>
                      <a:pt x="132" y="80"/>
                    </a:cubicBezTo>
                    <a:cubicBezTo>
                      <a:pt x="132" y="88"/>
                      <a:pt x="129" y="95"/>
                      <a:pt x="125" y="102"/>
                    </a:cubicBezTo>
                    <a:cubicBezTo>
                      <a:pt x="121" y="108"/>
                      <a:pt x="115" y="114"/>
                      <a:pt x="109" y="118"/>
                    </a:cubicBezTo>
                    <a:cubicBezTo>
                      <a:pt x="95" y="127"/>
                      <a:pt x="78" y="132"/>
                      <a:pt x="61" y="131"/>
                    </a:cubicBezTo>
                    <a:cubicBezTo>
                      <a:pt x="53" y="130"/>
                      <a:pt x="44" y="128"/>
                      <a:pt x="36" y="125"/>
                    </a:cubicBezTo>
                    <a:cubicBezTo>
                      <a:pt x="27" y="122"/>
                      <a:pt x="19" y="117"/>
                      <a:pt x="13" y="110"/>
                    </a:cubicBezTo>
                    <a:cubicBezTo>
                      <a:pt x="10" y="106"/>
                      <a:pt x="8" y="103"/>
                      <a:pt x="5" y="98"/>
                    </a:cubicBezTo>
                    <a:cubicBezTo>
                      <a:pt x="3" y="94"/>
                      <a:pt x="2" y="89"/>
                      <a:pt x="1" y="85"/>
                    </a:cubicBezTo>
                    <a:cubicBezTo>
                      <a:pt x="0" y="75"/>
                      <a:pt x="1" y="66"/>
                      <a:pt x="4" y="56"/>
                    </a:cubicBezTo>
                    <a:cubicBezTo>
                      <a:pt x="10" y="38"/>
                      <a:pt x="23" y="21"/>
                      <a:pt x="41" y="11"/>
                    </a:cubicBezTo>
                    <a:cubicBezTo>
                      <a:pt x="59" y="1"/>
                      <a:pt x="82" y="0"/>
                      <a:pt x="101" y="8"/>
                    </a:cubicBezTo>
                    <a:cubicBezTo>
                      <a:pt x="111" y="13"/>
                      <a:pt x="120" y="19"/>
                      <a:pt x="126" y="28"/>
                    </a:cubicBezTo>
                    <a:cubicBezTo>
                      <a:pt x="133" y="36"/>
                      <a:pt x="137" y="47"/>
                      <a:pt x="138" y="58"/>
                    </a:cubicBezTo>
                    <a:cubicBezTo>
                      <a:pt x="140" y="69"/>
                      <a:pt x="138" y="80"/>
                      <a:pt x="133" y="90"/>
                    </a:cubicBezTo>
                    <a:cubicBezTo>
                      <a:pt x="131" y="95"/>
                      <a:pt x="127" y="100"/>
                      <a:pt x="124" y="104"/>
                    </a:cubicBezTo>
                    <a:cubicBezTo>
                      <a:pt x="120" y="108"/>
                      <a:pt x="115" y="111"/>
                      <a:pt x="110" y="114"/>
                    </a:cubicBezTo>
                    <a:cubicBezTo>
                      <a:pt x="91" y="125"/>
                      <a:pt x="67" y="127"/>
                      <a:pt x="46" y="120"/>
                    </a:cubicBezTo>
                    <a:cubicBezTo>
                      <a:pt x="36" y="117"/>
                      <a:pt x="26" y="112"/>
                      <a:pt x="18" y="104"/>
                    </a:cubicBezTo>
                    <a:cubicBezTo>
                      <a:pt x="10" y="97"/>
                      <a:pt x="4" y="87"/>
                      <a:pt x="2" y="76"/>
                    </a:cubicBezTo>
                    <a:cubicBezTo>
                      <a:pt x="0" y="66"/>
                      <a:pt x="2" y="55"/>
                      <a:pt x="7" y="46"/>
                    </a:cubicBezTo>
                    <a:cubicBezTo>
                      <a:pt x="9" y="41"/>
                      <a:pt x="13" y="37"/>
                      <a:pt x="17" y="34"/>
                    </a:cubicBezTo>
                    <a:cubicBezTo>
                      <a:pt x="21" y="31"/>
                      <a:pt x="26" y="28"/>
                      <a:pt x="30" y="27"/>
                    </a:cubicBezTo>
                    <a:cubicBezTo>
                      <a:pt x="40" y="23"/>
                      <a:pt x="50" y="22"/>
                      <a:pt x="60" y="23"/>
                    </a:cubicBezTo>
                    <a:cubicBezTo>
                      <a:pt x="70" y="23"/>
                      <a:pt x="80" y="24"/>
                      <a:pt x="89" y="27"/>
                    </a:cubicBezTo>
                    <a:cubicBezTo>
                      <a:pt x="98" y="29"/>
                      <a:pt x="107" y="34"/>
                      <a:pt x="114" y="40"/>
                    </a:cubicBezTo>
                    <a:cubicBezTo>
                      <a:pt x="121" y="47"/>
                      <a:pt x="126" y="55"/>
                      <a:pt x="128" y="65"/>
                    </a:cubicBezTo>
                    <a:cubicBezTo>
                      <a:pt x="130" y="74"/>
                      <a:pt x="129" y="83"/>
                      <a:pt x="126" y="92"/>
                    </a:cubicBezTo>
                    <a:cubicBezTo>
                      <a:pt x="124" y="100"/>
                      <a:pt x="119" y="108"/>
                      <a:pt x="112" y="114"/>
                    </a:cubicBezTo>
                    <a:cubicBezTo>
                      <a:pt x="100" y="126"/>
                      <a:pt x="84" y="133"/>
                      <a:pt x="68" y="133"/>
                    </a:cubicBezTo>
                    <a:cubicBezTo>
                      <a:pt x="60" y="134"/>
                      <a:pt x="52" y="132"/>
                      <a:pt x="44" y="130"/>
                    </a:cubicBezTo>
                    <a:cubicBezTo>
                      <a:pt x="37" y="127"/>
                      <a:pt x="31" y="123"/>
                      <a:pt x="26" y="117"/>
                    </a:cubicBezTo>
                    <a:cubicBezTo>
                      <a:pt x="21" y="112"/>
                      <a:pt x="17" y="106"/>
                      <a:pt x="15" y="99"/>
                    </a:cubicBezTo>
                    <a:cubicBezTo>
                      <a:pt x="12" y="92"/>
                      <a:pt x="12" y="86"/>
                      <a:pt x="12" y="79"/>
                    </a:cubicBezTo>
                    <a:cubicBezTo>
                      <a:pt x="12" y="66"/>
                      <a:pt x="18" y="54"/>
                      <a:pt x="26" y="45"/>
                    </a:cubicBezTo>
                    <a:cubicBezTo>
                      <a:pt x="34" y="37"/>
                      <a:pt x="44" y="31"/>
                      <a:pt x="53" y="28"/>
                    </a:cubicBezTo>
                    <a:cubicBezTo>
                      <a:pt x="62" y="25"/>
                      <a:pt x="72" y="24"/>
                      <a:pt x="80" y="25"/>
                    </a:cubicBezTo>
                    <a:cubicBezTo>
                      <a:pt x="96" y="27"/>
                      <a:pt x="107" y="34"/>
                      <a:pt x="114" y="39"/>
                    </a:cubicBezTo>
                    <a:cubicBezTo>
                      <a:pt x="118" y="42"/>
                      <a:pt x="120" y="44"/>
                      <a:pt x="122" y="45"/>
                    </a:cubicBezTo>
                    <a:cubicBezTo>
                      <a:pt x="123" y="47"/>
                      <a:pt x="124" y="48"/>
                      <a:pt x="124" y="48"/>
                    </a:cubicBezTo>
                    <a:cubicBezTo>
                      <a:pt x="124" y="48"/>
                      <a:pt x="123" y="47"/>
                      <a:pt x="122" y="46"/>
                    </a:cubicBezTo>
                    <a:cubicBezTo>
                      <a:pt x="120" y="44"/>
                      <a:pt x="117" y="42"/>
                      <a:pt x="114" y="39"/>
                    </a:cubicBezTo>
                    <a:cubicBezTo>
                      <a:pt x="107" y="35"/>
                      <a:pt x="96" y="28"/>
                      <a:pt x="80" y="26"/>
                    </a:cubicBezTo>
                    <a:cubicBezTo>
                      <a:pt x="72" y="25"/>
                      <a:pt x="63" y="26"/>
                      <a:pt x="53" y="29"/>
                    </a:cubicBezTo>
                    <a:cubicBezTo>
                      <a:pt x="44" y="32"/>
                      <a:pt x="35" y="38"/>
                      <a:pt x="27" y="46"/>
                    </a:cubicBezTo>
                    <a:cubicBezTo>
                      <a:pt x="19" y="54"/>
                      <a:pt x="14" y="66"/>
                      <a:pt x="13" y="79"/>
                    </a:cubicBezTo>
                    <a:cubicBezTo>
                      <a:pt x="13" y="85"/>
                      <a:pt x="14" y="92"/>
                      <a:pt x="16" y="99"/>
                    </a:cubicBezTo>
                    <a:cubicBezTo>
                      <a:pt x="18" y="105"/>
                      <a:pt x="22" y="111"/>
                      <a:pt x="27" y="116"/>
                    </a:cubicBezTo>
                    <a:cubicBezTo>
                      <a:pt x="32" y="122"/>
                      <a:pt x="38" y="126"/>
                      <a:pt x="45" y="128"/>
                    </a:cubicBezTo>
                    <a:cubicBezTo>
                      <a:pt x="52" y="131"/>
                      <a:pt x="60" y="132"/>
                      <a:pt x="67" y="132"/>
                    </a:cubicBezTo>
                    <a:cubicBezTo>
                      <a:pt x="83" y="131"/>
                      <a:pt x="99" y="124"/>
                      <a:pt x="111" y="112"/>
                    </a:cubicBezTo>
                    <a:cubicBezTo>
                      <a:pt x="117" y="107"/>
                      <a:pt x="122" y="99"/>
                      <a:pt x="125" y="91"/>
                    </a:cubicBezTo>
                    <a:cubicBezTo>
                      <a:pt x="127" y="83"/>
                      <a:pt x="128" y="74"/>
                      <a:pt x="126" y="65"/>
                    </a:cubicBezTo>
                    <a:cubicBezTo>
                      <a:pt x="124" y="56"/>
                      <a:pt x="120" y="48"/>
                      <a:pt x="113" y="42"/>
                    </a:cubicBezTo>
                    <a:cubicBezTo>
                      <a:pt x="106" y="35"/>
                      <a:pt x="98" y="31"/>
                      <a:pt x="89" y="29"/>
                    </a:cubicBezTo>
                    <a:cubicBezTo>
                      <a:pt x="80" y="26"/>
                      <a:pt x="70" y="25"/>
                      <a:pt x="60" y="25"/>
                    </a:cubicBezTo>
                    <a:cubicBezTo>
                      <a:pt x="50" y="24"/>
                      <a:pt x="40" y="25"/>
                      <a:pt x="31" y="28"/>
                    </a:cubicBezTo>
                    <a:cubicBezTo>
                      <a:pt x="22" y="32"/>
                      <a:pt x="13" y="38"/>
                      <a:pt x="8" y="47"/>
                    </a:cubicBezTo>
                    <a:cubicBezTo>
                      <a:pt x="4" y="55"/>
                      <a:pt x="2" y="66"/>
                      <a:pt x="4" y="76"/>
                    </a:cubicBezTo>
                    <a:cubicBezTo>
                      <a:pt x="6" y="86"/>
                      <a:pt x="12" y="95"/>
                      <a:pt x="19" y="103"/>
                    </a:cubicBezTo>
                    <a:cubicBezTo>
                      <a:pt x="27" y="110"/>
                      <a:pt x="36" y="115"/>
                      <a:pt x="47" y="118"/>
                    </a:cubicBezTo>
                    <a:cubicBezTo>
                      <a:pt x="67" y="125"/>
                      <a:pt x="90" y="123"/>
                      <a:pt x="109" y="112"/>
                    </a:cubicBezTo>
                    <a:cubicBezTo>
                      <a:pt x="114" y="110"/>
                      <a:pt x="118" y="106"/>
                      <a:pt x="122" y="102"/>
                    </a:cubicBezTo>
                    <a:cubicBezTo>
                      <a:pt x="126" y="98"/>
                      <a:pt x="129" y="94"/>
                      <a:pt x="131" y="89"/>
                    </a:cubicBezTo>
                    <a:cubicBezTo>
                      <a:pt x="136" y="80"/>
                      <a:pt x="137" y="69"/>
                      <a:pt x="136" y="58"/>
                    </a:cubicBezTo>
                    <a:cubicBezTo>
                      <a:pt x="135" y="48"/>
                      <a:pt x="131" y="37"/>
                      <a:pt x="125" y="29"/>
                    </a:cubicBezTo>
                    <a:cubicBezTo>
                      <a:pt x="118" y="21"/>
                      <a:pt x="110" y="14"/>
                      <a:pt x="100" y="10"/>
                    </a:cubicBezTo>
                    <a:cubicBezTo>
                      <a:pt x="81" y="2"/>
                      <a:pt x="59" y="3"/>
                      <a:pt x="42" y="13"/>
                    </a:cubicBezTo>
                    <a:cubicBezTo>
                      <a:pt x="24" y="23"/>
                      <a:pt x="11" y="39"/>
                      <a:pt x="6" y="57"/>
                    </a:cubicBezTo>
                    <a:cubicBezTo>
                      <a:pt x="3" y="66"/>
                      <a:pt x="2" y="75"/>
                      <a:pt x="3" y="84"/>
                    </a:cubicBezTo>
                    <a:cubicBezTo>
                      <a:pt x="4" y="89"/>
                      <a:pt x="5" y="93"/>
                      <a:pt x="7" y="98"/>
                    </a:cubicBezTo>
                    <a:cubicBezTo>
                      <a:pt x="9" y="102"/>
                      <a:pt x="12" y="105"/>
                      <a:pt x="15" y="109"/>
                    </a:cubicBezTo>
                    <a:cubicBezTo>
                      <a:pt x="21" y="115"/>
                      <a:pt x="28" y="120"/>
                      <a:pt x="36" y="123"/>
                    </a:cubicBezTo>
                    <a:cubicBezTo>
                      <a:pt x="44" y="127"/>
                      <a:pt x="53" y="128"/>
                      <a:pt x="61" y="129"/>
                    </a:cubicBezTo>
                    <a:cubicBezTo>
                      <a:pt x="78" y="130"/>
                      <a:pt x="95" y="126"/>
                      <a:pt x="108" y="117"/>
                    </a:cubicBezTo>
                    <a:cubicBezTo>
                      <a:pt x="121" y="109"/>
                      <a:pt x="130" y="95"/>
                      <a:pt x="131" y="80"/>
                    </a:cubicBezTo>
                    <a:cubicBezTo>
                      <a:pt x="132" y="66"/>
                      <a:pt x="127" y="52"/>
                      <a:pt x="120" y="41"/>
                    </a:cubicBezTo>
                    <a:cubicBezTo>
                      <a:pt x="113" y="30"/>
                      <a:pt x="104" y="22"/>
                      <a:pt x="94" y="16"/>
                    </a:cubicBezTo>
                    <a:cubicBezTo>
                      <a:pt x="85" y="10"/>
                      <a:pt x="74" y="6"/>
                      <a:pt x="64" y="5"/>
                    </a:cubicBezTo>
                    <a:cubicBezTo>
                      <a:pt x="60" y="5"/>
                      <a:pt x="55" y="5"/>
                      <a:pt x="50" y="6"/>
                    </a:cubicBezTo>
                    <a:cubicBezTo>
                      <a:pt x="46" y="6"/>
                      <a:pt x="42" y="7"/>
                      <a:pt x="38" y="9"/>
                    </a:cubicBezTo>
                    <a:cubicBezTo>
                      <a:pt x="23" y="14"/>
                      <a:pt x="13" y="23"/>
                      <a:pt x="8" y="30"/>
                    </a:cubicBezTo>
                    <a:cubicBezTo>
                      <a:pt x="6" y="34"/>
                      <a:pt x="4" y="36"/>
                      <a:pt x="3" y="38"/>
                    </a:cubicBezTo>
                    <a:cubicBezTo>
                      <a:pt x="3" y="40"/>
                      <a:pt x="2" y="41"/>
                      <a:pt x="2" y="41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2" name="任意多边形: 形状 581">
                <a:extLst>
                  <a:ext uri="{FF2B5EF4-FFF2-40B4-BE49-F238E27FC236}">
                    <a16:creationId xmlns:a16="http://schemas.microsoft.com/office/drawing/2014/main" id="{B42353C3-4683-4AF9-BB86-2051BC7C15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6701" y="4573588"/>
                <a:ext cx="330200" cy="276225"/>
              </a:xfrm>
              <a:custGeom>
                <a:avLst/>
                <a:gdLst>
                  <a:gd name="T0" fmla="*/ 143 w 144"/>
                  <a:gd name="T1" fmla="*/ 1 h 121"/>
                  <a:gd name="T2" fmla="*/ 73 w 144"/>
                  <a:gd name="T3" fmla="*/ 61 h 121"/>
                  <a:gd name="T4" fmla="*/ 0 w 144"/>
                  <a:gd name="T5" fmla="*/ 120 h 121"/>
                  <a:gd name="T6" fmla="*/ 71 w 144"/>
                  <a:gd name="T7" fmla="*/ 60 h 121"/>
                  <a:gd name="T8" fmla="*/ 143 w 144"/>
                  <a:gd name="T9" fmla="*/ 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121">
                    <a:moveTo>
                      <a:pt x="143" y="1"/>
                    </a:moveTo>
                    <a:cubicBezTo>
                      <a:pt x="144" y="1"/>
                      <a:pt x="112" y="28"/>
                      <a:pt x="73" y="61"/>
                    </a:cubicBezTo>
                    <a:cubicBezTo>
                      <a:pt x="33" y="94"/>
                      <a:pt x="1" y="121"/>
                      <a:pt x="0" y="120"/>
                    </a:cubicBezTo>
                    <a:cubicBezTo>
                      <a:pt x="0" y="120"/>
                      <a:pt x="32" y="93"/>
                      <a:pt x="71" y="60"/>
                    </a:cubicBezTo>
                    <a:cubicBezTo>
                      <a:pt x="111" y="27"/>
                      <a:pt x="143" y="0"/>
                      <a:pt x="14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3" name="任意多边形: 形状 582">
                <a:extLst>
                  <a:ext uri="{FF2B5EF4-FFF2-40B4-BE49-F238E27FC236}">
                    <a16:creationId xmlns:a16="http://schemas.microsoft.com/office/drawing/2014/main" id="{3B92407F-9CDC-4BD4-A5C8-753B1842F2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4326" y="4600576"/>
                <a:ext cx="295275" cy="239713"/>
              </a:xfrm>
              <a:custGeom>
                <a:avLst/>
                <a:gdLst>
                  <a:gd name="T0" fmla="*/ 129 w 129"/>
                  <a:gd name="T1" fmla="*/ 105 h 105"/>
                  <a:gd name="T2" fmla="*/ 124 w 129"/>
                  <a:gd name="T3" fmla="*/ 101 h 105"/>
                  <a:gd name="T4" fmla="*/ 110 w 129"/>
                  <a:gd name="T5" fmla="*/ 90 h 105"/>
                  <a:gd name="T6" fmla="*/ 64 w 129"/>
                  <a:gd name="T7" fmla="*/ 53 h 105"/>
                  <a:gd name="T8" fmla="*/ 19 w 129"/>
                  <a:gd name="T9" fmla="*/ 16 h 105"/>
                  <a:gd name="T10" fmla="*/ 5 w 129"/>
                  <a:gd name="T11" fmla="*/ 4 h 105"/>
                  <a:gd name="T12" fmla="*/ 0 w 129"/>
                  <a:gd name="T13" fmla="*/ 0 h 105"/>
                  <a:gd name="T14" fmla="*/ 6 w 129"/>
                  <a:gd name="T15" fmla="*/ 4 h 105"/>
                  <a:gd name="T16" fmla="*/ 20 w 129"/>
                  <a:gd name="T17" fmla="*/ 15 h 105"/>
                  <a:gd name="T18" fmla="*/ 65 w 129"/>
                  <a:gd name="T19" fmla="*/ 52 h 105"/>
                  <a:gd name="T20" fmla="*/ 111 w 129"/>
                  <a:gd name="T21" fmla="*/ 89 h 105"/>
                  <a:gd name="T22" fmla="*/ 124 w 129"/>
                  <a:gd name="T23" fmla="*/ 100 h 105"/>
                  <a:gd name="T24" fmla="*/ 129 w 129"/>
                  <a:gd name="T2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105">
                    <a:moveTo>
                      <a:pt x="129" y="105"/>
                    </a:moveTo>
                    <a:cubicBezTo>
                      <a:pt x="129" y="105"/>
                      <a:pt x="127" y="104"/>
                      <a:pt x="124" y="101"/>
                    </a:cubicBezTo>
                    <a:cubicBezTo>
                      <a:pt x="120" y="98"/>
                      <a:pt x="116" y="95"/>
                      <a:pt x="110" y="90"/>
                    </a:cubicBezTo>
                    <a:cubicBezTo>
                      <a:pt x="98" y="81"/>
                      <a:pt x="82" y="68"/>
                      <a:pt x="64" y="53"/>
                    </a:cubicBezTo>
                    <a:cubicBezTo>
                      <a:pt x="46" y="39"/>
                      <a:pt x="30" y="26"/>
                      <a:pt x="19" y="16"/>
                    </a:cubicBezTo>
                    <a:cubicBezTo>
                      <a:pt x="13" y="11"/>
                      <a:pt x="9" y="7"/>
                      <a:pt x="5" y="4"/>
                    </a:cubicBezTo>
                    <a:cubicBezTo>
                      <a:pt x="2" y="2"/>
                      <a:pt x="0" y="0"/>
                      <a:pt x="0" y="0"/>
                    </a:cubicBezTo>
                    <a:cubicBezTo>
                      <a:pt x="0" y="0"/>
                      <a:pt x="2" y="1"/>
                      <a:pt x="6" y="4"/>
                    </a:cubicBezTo>
                    <a:cubicBezTo>
                      <a:pt x="9" y="7"/>
                      <a:pt x="14" y="10"/>
                      <a:pt x="20" y="15"/>
                    </a:cubicBezTo>
                    <a:cubicBezTo>
                      <a:pt x="31" y="24"/>
                      <a:pt x="48" y="37"/>
                      <a:pt x="65" y="52"/>
                    </a:cubicBezTo>
                    <a:cubicBezTo>
                      <a:pt x="83" y="66"/>
                      <a:pt x="99" y="79"/>
                      <a:pt x="111" y="89"/>
                    </a:cubicBezTo>
                    <a:cubicBezTo>
                      <a:pt x="116" y="94"/>
                      <a:pt x="121" y="97"/>
                      <a:pt x="124" y="100"/>
                    </a:cubicBezTo>
                    <a:cubicBezTo>
                      <a:pt x="128" y="103"/>
                      <a:pt x="129" y="105"/>
                      <a:pt x="129" y="10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4" name="任意多边形: 形状 583">
                <a:extLst>
                  <a:ext uri="{FF2B5EF4-FFF2-40B4-BE49-F238E27FC236}">
                    <a16:creationId xmlns:a16="http://schemas.microsoft.com/office/drawing/2014/main" id="{44ADA611-925E-4CBD-ABC7-C85A33CFCB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4576" y="4576763"/>
                <a:ext cx="315913" cy="236538"/>
              </a:xfrm>
              <a:custGeom>
                <a:avLst/>
                <a:gdLst>
                  <a:gd name="T0" fmla="*/ 137 w 138"/>
                  <a:gd name="T1" fmla="*/ 0 h 103"/>
                  <a:gd name="T2" fmla="*/ 70 w 138"/>
                  <a:gd name="T3" fmla="*/ 52 h 103"/>
                  <a:gd name="T4" fmla="*/ 0 w 138"/>
                  <a:gd name="T5" fmla="*/ 103 h 103"/>
                  <a:gd name="T6" fmla="*/ 68 w 138"/>
                  <a:gd name="T7" fmla="*/ 51 h 103"/>
                  <a:gd name="T8" fmla="*/ 137 w 138"/>
                  <a:gd name="T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8" h="103">
                    <a:moveTo>
                      <a:pt x="137" y="0"/>
                    </a:moveTo>
                    <a:cubicBezTo>
                      <a:pt x="138" y="1"/>
                      <a:pt x="107" y="24"/>
                      <a:pt x="70" y="52"/>
                    </a:cubicBezTo>
                    <a:cubicBezTo>
                      <a:pt x="32" y="80"/>
                      <a:pt x="1" y="103"/>
                      <a:pt x="0" y="103"/>
                    </a:cubicBezTo>
                    <a:cubicBezTo>
                      <a:pt x="0" y="102"/>
                      <a:pt x="30" y="79"/>
                      <a:pt x="68" y="51"/>
                    </a:cubicBezTo>
                    <a:cubicBezTo>
                      <a:pt x="106" y="22"/>
                      <a:pt x="137" y="0"/>
                      <a:pt x="13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5" name="任意多边形: 形状 584">
                <a:extLst>
                  <a:ext uri="{FF2B5EF4-FFF2-40B4-BE49-F238E27FC236}">
                    <a16:creationId xmlns:a16="http://schemas.microsoft.com/office/drawing/2014/main" id="{6B4DFD14-7AF9-401D-9E73-74F9202017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8863" y="4592638"/>
                <a:ext cx="327025" cy="211138"/>
              </a:xfrm>
              <a:custGeom>
                <a:avLst/>
                <a:gdLst>
                  <a:gd name="T0" fmla="*/ 143 w 143"/>
                  <a:gd name="T1" fmla="*/ 92 h 92"/>
                  <a:gd name="T2" fmla="*/ 71 w 143"/>
                  <a:gd name="T3" fmla="*/ 47 h 92"/>
                  <a:gd name="T4" fmla="*/ 0 w 143"/>
                  <a:gd name="T5" fmla="*/ 1 h 92"/>
                  <a:gd name="T6" fmla="*/ 72 w 143"/>
                  <a:gd name="T7" fmla="*/ 45 h 92"/>
                  <a:gd name="T8" fmla="*/ 143 w 143"/>
                  <a:gd name="T9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92">
                    <a:moveTo>
                      <a:pt x="143" y="92"/>
                    </a:moveTo>
                    <a:cubicBezTo>
                      <a:pt x="143" y="92"/>
                      <a:pt x="111" y="72"/>
                      <a:pt x="71" y="47"/>
                    </a:cubicBezTo>
                    <a:cubicBezTo>
                      <a:pt x="32" y="22"/>
                      <a:pt x="0" y="1"/>
                      <a:pt x="0" y="1"/>
                    </a:cubicBezTo>
                    <a:cubicBezTo>
                      <a:pt x="1" y="0"/>
                      <a:pt x="33" y="20"/>
                      <a:pt x="72" y="45"/>
                    </a:cubicBezTo>
                    <a:cubicBezTo>
                      <a:pt x="112" y="71"/>
                      <a:pt x="143" y="91"/>
                      <a:pt x="143" y="9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6" name="任意多边形: 形状 585">
                <a:extLst>
                  <a:ext uri="{FF2B5EF4-FFF2-40B4-BE49-F238E27FC236}">
                    <a16:creationId xmlns:a16="http://schemas.microsoft.com/office/drawing/2014/main" id="{70E559E0-18BF-4AF4-ADDD-5E9091762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4838" y="4913313"/>
                <a:ext cx="327025" cy="336550"/>
              </a:xfrm>
              <a:custGeom>
                <a:avLst/>
                <a:gdLst>
                  <a:gd name="T0" fmla="*/ 1 w 143"/>
                  <a:gd name="T1" fmla="*/ 146 h 147"/>
                  <a:gd name="T2" fmla="*/ 71 w 143"/>
                  <a:gd name="T3" fmla="*/ 72 h 147"/>
                  <a:gd name="T4" fmla="*/ 143 w 143"/>
                  <a:gd name="T5" fmla="*/ 0 h 147"/>
                  <a:gd name="T6" fmla="*/ 72 w 143"/>
                  <a:gd name="T7" fmla="*/ 74 h 147"/>
                  <a:gd name="T8" fmla="*/ 1 w 143"/>
                  <a:gd name="T9" fmla="*/ 14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147">
                    <a:moveTo>
                      <a:pt x="1" y="146"/>
                    </a:moveTo>
                    <a:cubicBezTo>
                      <a:pt x="0" y="146"/>
                      <a:pt x="32" y="113"/>
                      <a:pt x="71" y="72"/>
                    </a:cubicBezTo>
                    <a:cubicBezTo>
                      <a:pt x="110" y="32"/>
                      <a:pt x="142" y="0"/>
                      <a:pt x="143" y="0"/>
                    </a:cubicBezTo>
                    <a:cubicBezTo>
                      <a:pt x="143" y="0"/>
                      <a:pt x="112" y="33"/>
                      <a:pt x="72" y="74"/>
                    </a:cubicBezTo>
                    <a:cubicBezTo>
                      <a:pt x="33" y="114"/>
                      <a:pt x="1" y="147"/>
                      <a:pt x="1" y="146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7" name="任意多边形: 形状 586">
                <a:extLst>
                  <a:ext uri="{FF2B5EF4-FFF2-40B4-BE49-F238E27FC236}">
                    <a16:creationId xmlns:a16="http://schemas.microsoft.com/office/drawing/2014/main" id="{D183360E-7F8C-411A-83B0-2A6E0A861C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8651" y="4935538"/>
                <a:ext cx="282575" cy="311150"/>
              </a:xfrm>
              <a:custGeom>
                <a:avLst/>
                <a:gdLst>
                  <a:gd name="T0" fmla="*/ 124 w 124"/>
                  <a:gd name="T1" fmla="*/ 136 h 136"/>
                  <a:gd name="T2" fmla="*/ 123 w 124"/>
                  <a:gd name="T3" fmla="*/ 135 h 136"/>
                  <a:gd name="T4" fmla="*/ 119 w 124"/>
                  <a:gd name="T5" fmla="*/ 130 h 136"/>
                  <a:gd name="T6" fmla="*/ 107 w 124"/>
                  <a:gd name="T7" fmla="*/ 115 h 136"/>
                  <a:gd name="T8" fmla="*/ 64 w 124"/>
                  <a:gd name="T9" fmla="*/ 65 h 136"/>
                  <a:gd name="T10" fmla="*/ 19 w 124"/>
                  <a:gd name="T11" fmla="*/ 19 h 136"/>
                  <a:gd name="T12" fmla="*/ 5 w 124"/>
                  <a:gd name="T13" fmla="*/ 5 h 136"/>
                  <a:gd name="T14" fmla="*/ 1 w 124"/>
                  <a:gd name="T15" fmla="*/ 1 h 136"/>
                  <a:gd name="T16" fmla="*/ 0 w 124"/>
                  <a:gd name="T17" fmla="*/ 0 h 136"/>
                  <a:gd name="T18" fmla="*/ 1 w 124"/>
                  <a:gd name="T19" fmla="*/ 1 h 136"/>
                  <a:gd name="T20" fmla="*/ 5 w 124"/>
                  <a:gd name="T21" fmla="*/ 4 h 136"/>
                  <a:gd name="T22" fmla="*/ 20 w 124"/>
                  <a:gd name="T23" fmla="*/ 18 h 136"/>
                  <a:gd name="T24" fmla="*/ 66 w 124"/>
                  <a:gd name="T25" fmla="*/ 64 h 136"/>
                  <a:gd name="T26" fmla="*/ 108 w 124"/>
                  <a:gd name="T27" fmla="*/ 114 h 136"/>
                  <a:gd name="T28" fmla="*/ 120 w 124"/>
                  <a:gd name="T29" fmla="*/ 130 h 136"/>
                  <a:gd name="T30" fmla="*/ 123 w 124"/>
                  <a:gd name="T31" fmla="*/ 134 h 136"/>
                  <a:gd name="T32" fmla="*/ 124 w 124"/>
                  <a:gd name="T3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4" h="136">
                    <a:moveTo>
                      <a:pt x="124" y="136"/>
                    </a:moveTo>
                    <a:cubicBezTo>
                      <a:pt x="124" y="136"/>
                      <a:pt x="123" y="136"/>
                      <a:pt x="123" y="135"/>
                    </a:cubicBezTo>
                    <a:cubicBezTo>
                      <a:pt x="122" y="134"/>
                      <a:pt x="120" y="132"/>
                      <a:pt x="119" y="130"/>
                    </a:cubicBezTo>
                    <a:cubicBezTo>
                      <a:pt x="116" y="127"/>
                      <a:pt x="112" y="121"/>
                      <a:pt x="107" y="115"/>
                    </a:cubicBezTo>
                    <a:cubicBezTo>
                      <a:pt x="96" y="102"/>
                      <a:pt x="82" y="84"/>
                      <a:pt x="64" y="65"/>
                    </a:cubicBezTo>
                    <a:cubicBezTo>
                      <a:pt x="47" y="47"/>
                      <a:pt x="31" y="30"/>
                      <a:pt x="19" y="19"/>
                    </a:cubicBezTo>
                    <a:cubicBezTo>
                      <a:pt x="13" y="13"/>
                      <a:pt x="8" y="8"/>
                      <a:pt x="5" y="5"/>
                    </a:cubicBezTo>
                    <a:cubicBezTo>
                      <a:pt x="3" y="3"/>
                      <a:pt x="2" y="2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2" y="2"/>
                      <a:pt x="4" y="3"/>
                      <a:pt x="5" y="4"/>
                    </a:cubicBezTo>
                    <a:cubicBezTo>
                      <a:pt x="9" y="7"/>
                      <a:pt x="14" y="12"/>
                      <a:pt x="20" y="18"/>
                    </a:cubicBezTo>
                    <a:cubicBezTo>
                      <a:pt x="32" y="29"/>
                      <a:pt x="49" y="45"/>
                      <a:pt x="66" y="64"/>
                    </a:cubicBezTo>
                    <a:cubicBezTo>
                      <a:pt x="83" y="83"/>
                      <a:pt x="98" y="101"/>
                      <a:pt x="108" y="114"/>
                    </a:cubicBezTo>
                    <a:cubicBezTo>
                      <a:pt x="113" y="121"/>
                      <a:pt x="117" y="126"/>
                      <a:pt x="120" y="130"/>
                    </a:cubicBezTo>
                    <a:cubicBezTo>
                      <a:pt x="121" y="132"/>
                      <a:pt x="122" y="133"/>
                      <a:pt x="123" y="134"/>
                    </a:cubicBezTo>
                    <a:cubicBezTo>
                      <a:pt x="124" y="135"/>
                      <a:pt x="124" y="136"/>
                      <a:pt x="124" y="136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8" name="任意多边形: 形状 587">
                <a:extLst>
                  <a:ext uri="{FF2B5EF4-FFF2-40B4-BE49-F238E27FC236}">
                    <a16:creationId xmlns:a16="http://schemas.microsoft.com/office/drawing/2014/main" id="{5A8B8D34-EF91-469A-BE35-92CEC39D5E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3463" y="4830763"/>
                <a:ext cx="403225" cy="390525"/>
              </a:xfrm>
              <a:custGeom>
                <a:avLst/>
                <a:gdLst>
                  <a:gd name="T0" fmla="*/ 174 w 176"/>
                  <a:gd name="T1" fmla="*/ 14 h 171"/>
                  <a:gd name="T2" fmla="*/ 151 w 176"/>
                  <a:gd name="T3" fmla="*/ 171 h 171"/>
                  <a:gd name="T4" fmla="*/ 0 w 176"/>
                  <a:gd name="T5" fmla="*/ 145 h 171"/>
                  <a:gd name="T6" fmla="*/ 33 w 176"/>
                  <a:gd name="T7" fmla="*/ 0 h 171"/>
                  <a:gd name="T8" fmla="*/ 174 w 176"/>
                  <a:gd name="T9" fmla="*/ 14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6" h="171">
                    <a:moveTo>
                      <a:pt x="174" y="14"/>
                    </a:moveTo>
                    <a:cubicBezTo>
                      <a:pt x="174" y="14"/>
                      <a:pt x="176" y="112"/>
                      <a:pt x="151" y="171"/>
                    </a:cubicBezTo>
                    <a:cubicBezTo>
                      <a:pt x="0" y="145"/>
                      <a:pt x="0" y="145"/>
                      <a:pt x="0" y="145"/>
                    </a:cubicBezTo>
                    <a:cubicBezTo>
                      <a:pt x="0" y="145"/>
                      <a:pt x="45" y="52"/>
                      <a:pt x="33" y="0"/>
                    </a:cubicBezTo>
                    <a:lnTo>
                      <a:pt x="174" y="14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9" name="任意多边形: 形状 588">
                <a:extLst>
                  <a:ext uri="{FF2B5EF4-FFF2-40B4-BE49-F238E27FC236}">
                    <a16:creationId xmlns:a16="http://schemas.microsoft.com/office/drawing/2014/main" id="{CF87E0AC-41A0-4920-A096-6940A0264B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0763" y="4803776"/>
                <a:ext cx="411163" cy="409575"/>
              </a:xfrm>
              <a:custGeom>
                <a:avLst/>
                <a:gdLst>
                  <a:gd name="T0" fmla="*/ 180 w 180"/>
                  <a:gd name="T1" fmla="*/ 22 h 179"/>
                  <a:gd name="T2" fmla="*/ 150 w 180"/>
                  <a:gd name="T3" fmla="*/ 179 h 179"/>
                  <a:gd name="T4" fmla="*/ 0 w 180"/>
                  <a:gd name="T5" fmla="*/ 149 h 179"/>
                  <a:gd name="T6" fmla="*/ 30 w 180"/>
                  <a:gd name="T7" fmla="*/ 0 h 179"/>
                  <a:gd name="T8" fmla="*/ 180 w 180"/>
                  <a:gd name="T9" fmla="*/ 22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179">
                    <a:moveTo>
                      <a:pt x="180" y="22"/>
                    </a:moveTo>
                    <a:cubicBezTo>
                      <a:pt x="180" y="22"/>
                      <a:pt x="161" y="143"/>
                      <a:pt x="150" y="17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0" y="149"/>
                      <a:pt x="30" y="32"/>
                      <a:pt x="30" y="0"/>
                    </a:cubicBezTo>
                    <a:lnTo>
                      <a:pt x="180" y="22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0" name="任意多边形: 形状 589">
                <a:extLst>
                  <a:ext uri="{FF2B5EF4-FFF2-40B4-BE49-F238E27FC236}">
                    <a16:creationId xmlns:a16="http://schemas.microsoft.com/office/drawing/2014/main" id="{F06D776E-9BD7-4AD8-9521-1883BCAFC2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951" y="4924426"/>
                <a:ext cx="230188" cy="52388"/>
              </a:xfrm>
              <a:custGeom>
                <a:avLst/>
                <a:gdLst>
                  <a:gd name="T0" fmla="*/ 0 w 101"/>
                  <a:gd name="T1" fmla="*/ 1 h 23"/>
                  <a:gd name="T2" fmla="*/ 50 w 101"/>
                  <a:gd name="T3" fmla="*/ 12 h 23"/>
                  <a:gd name="T4" fmla="*/ 101 w 101"/>
                  <a:gd name="T5" fmla="*/ 22 h 23"/>
                  <a:gd name="T6" fmla="*/ 51 w 101"/>
                  <a:gd name="T7" fmla="*/ 10 h 23"/>
                  <a:gd name="T8" fmla="*/ 0 w 101"/>
                  <a:gd name="T9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23">
                    <a:moveTo>
                      <a:pt x="0" y="1"/>
                    </a:moveTo>
                    <a:cubicBezTo>
                      <a:pt x="0" y="1"/>
                      <a:pt x="23" y="7"/>
                      <a:pt x="50" y="12"/>
                    </a:cubicBezTo>
                    <a:cubicBezTo>
                      <a:pt x="78" y="18"/>
                      <a:pt x="101" y="23"/>
                      <a:pt x="101" y="22"/>
                    </a:cubicBezTo>
                    <a:cubicBezTo>
                      <a:pt x="101" y="22"/>
                      <a:pt x="79" y="16"/>
                      <a:pt x="51" y="10"/>
                    </a:cubicBezTo>
                    <a:cubicBezTo>
                      <a:pt x="23" y="5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1" name="任意多边形: 形状 590">
                <a:extLst>
                  <a:ext uri="{FF2B5EF4-FFF2-40B4-BE49-F238E27FC236}">
                    <a16:creationId xmlns:a16="http://schemas.microsoft.com/office/drawing/2014/main" id="{2FEE691B-541A-4232-8159-74C880B44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426" y="4984751"/>
                <a:ext cx="230188" cy="49213"/>
              </a:xfrm>
              <a:custGeom>
                <a:avLst/>
                <a:gdLst>
                  <a:gd name="T0" fmla="*/ 0 w 101"/>
                  <a:gd name="T1" fmla="*/ 0 h 22"/>
                  <a:gd name="T2" fmla="*/ 51 w 101"/>
                  <a:gd name="T3" fmla="*/ 12 h 22"/>
                  <a:gd name="T4" fmla="*/ 101 w 101"/>
                  <a:gd name="T5" fmla="*/ 22 h 22"/>
                  <a:gd name="T6" fmla="*/ 51 w 101"/>
                  <a:gd name="T7" fmla="*/ 10 h 22"/>
                  <a:gd name="T8" fmla="*/ 0 w 10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22">
                    <a:moveTo>
                      <a:pt x="0" y="0"/>
                    </a:moveTo>
                    <a:cubicBezTo>
                      <a:pt x="0" y="1"/>
                      <a:pt x="23" y="6"/>
                      <a:pt x="51" y="12"/>
                    </a:cubicBezTo>
                    <a:cubicBezTo>
                      <a:pt x="78" y="18"/>
                      <a:pt x="101" y="22"/>
                      <a:pt x="101" y="22"/>
                    </a:cubicBezTo>
                    <a:cubicBezTo>
                      <a:pt x="101" y="21"/>
                      <a:pt x="79" y="16"/>
                      <a:pt x="51" y="10"/>
                    </a:cubicBezTo>
                    <a:cubicBezTo>
                      <a:pt x="23" y="4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2" name="任意多边形: 形状 591">
                <a:extLst>
                  <a:ext uri="{FF2B5EF4-FFF2-40B4-BE49-F238E27FC236}">
                    <a16:creationId xmlns:a16="http://schemas.microsoft.com/office/drawing/2014/main" id="{45F03BAD-136A-4F15-A02F-27873ACB4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638" y="5049838"/>
                <a:ext cx="133350" cy="30163"/>
              </a:xfrm>
              <a:custGeom>
                <a:avLst/>
                <a:gdLst>
                  <a:gd name="T0" fmla="*/ 0 w 58"/>
                  <a:gd name="T1" fmla="*/ 0 h 13"/>
                  <a:gd name="T2" fmla="*/ 9 w 58"/>
                  <a:gd name="T3" fmla="*/ 3 h 13"/>
                  <a:gd name="T4" fmla="*/ 29 w 58"/>
                  <a:gd name="T5" fmla="*/ 7 h 13"/>
                  <a:gd name="T6" fmla="*/ 49 w 58"/>
                  <a:gd name="T7" fmla="*/ 11 h 13"/>
                  <a:gd name="T8" fmla="*/ 58 w 58"/>
                  <a:gd name="T9" fmla="*/ 12 h 13"/>
                  <a:gd name="T10" fmla="*/ 50 w 58"/>
                  <a:gd name="T11" fmla="*/ 10 h 13"/>
                  <a:gd name="T12" fmla="*/ 29 w 58"/>
                  <a:gd name="T13" fmla="*/ 5 h 13"/>
                  <a:gd name="T14" fmla="*/ 9 w 58"/>
                  <a:gd name="T15" fmla="*/ 1 h 13"/>
                  <a:gd name="T16" fmla="*/ 0 w 58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13">
                    <a:moveTo>
                      <a:pt x="0" y="0"/>
                    </a:moveTo>
                    <a:cubicBezTo>
                      <a:pt x="0" y="1"/>
                      <a:pt x="4" y="2"/>
                      <a:pt x="9" y="3"/>
                    </a:cubicBezTo>
                    <a:cubicBezTo>
                      <a:pt x="14" y="4"/>
                      <a:pt x="21" y="6"/>
                      <a:pt x="29" y="7"/>
                    </a:cubicBezTo>
                    <a:cubicBezTo>
                      <a:pt x="37" y="9"/>
                      <a:pt x="44" y="10"/>
                      <a:pt x="49" y="11"/>
                    </a:cubicBezTo>
                    <a:cubicBezTo>
                      <a:pt x="55" y="12"/>
                      <a:pt x="58" y="13"/>
                      <a:pt x="58" y="12"/>
                    </a:cubicBezTo>
                    <a:cubicBezTo>
                      <a:pt x="58" y="12"/>
                      <a:pt x="55" y="11"/>
                      <a:pt x="50" y="10"/>
                    </a:cubicBezTo>
                    <a:cubicBezTo>
                      <a:pt x="44" y="9"/>
                      <a:pt x="37" y="7"/>
                      <a:pt x="29" y="5"/>
                    </a:cubicBezTo>
                    <a:cubicBezTo>
                      <a:pt x="21" y="4"/>
                      <a:pt x="14" y="2"/>
                      <a:pt x="9" y="1"/>
                    </a:cubicBezTo>
                    <a:cubicBezTo>
                      <a:pt x="4" y="1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3" name="任意多边形: 形状 592">
                <a:extLst>
                  <a:ext uri="{FF2B5EF4-FFF2-40B4-BE49-F238E27FC236}">
                    <a16:creationId xmlns:a16="http://schemas.microsoft.com/office/drawing/2014/main" id="{5B0B398D-8E57-424F-A044-D8C51AFDFF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0976" y="4232276"/>
                <a:ext cx="382588" cy="358775"/>
              </a:xfrm>
              <a:custGeom>
                <a:avLst/>
                <a:gdLst>
                  <a:gd name="T0" fmla="*/ 151 w 167"/>
                  <a:gd name="T1" fmla="*/ 0 h 157"/>
                  <a:gd name="T2" fmla="*/ 151 w 167"/>
                  <a:gd name="T3" fmla="*/ 157 h 157"/>
                  <a:gd name="T4" fmla="*/ 0 w 167"/>
                  <a:gd name="T5" fmla="*/ 153 h 157"/>
                  <a:gd name="T6" fmla="*/ 11 w 167"/>
                  <a:gd name="T7" fmla="*/ 7 h 157"/>
                  <a:gd name="T8" fmla="*/ 151 w 167"/>
                  <a:gd name="T9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157">
                    <a:moveTo>
                      <a:pt x="151" y="0"/>
                    </a:moveTo>
                    <a:cubicBezTo>
                      <a:pt x="151" y="0"/>
                      <a:pt x="167" y="96"/>
                      <a:pt x="151" y="157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53"/>
                      <a:pt x="31" y="56"/>
                      <a:pt x="11" y="7"/>
                    </a:cubicBez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4" name="任意多边形: 形状 593">
                <a:extLst>
                  <a:ext uri="{FF2B5EF4-FFF2-40B4-BE49-F238E27FC236}">
                    <a16:creationId xmlns:a16="http://schemas.microsoft.com/office/drawing/2014/main" id="{4AB6E05C-ECAD-404A-BB30-220A529BA5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5101" y="4222751"/>
                <a:ext cx="361950" cy="358775"/>
              </a:xfrm>
              <a:custGeom>
                <a:avLst/>
                <a:gdLst>
                  <a:gd name="T0" fmla="*/ 158 w 158"/>
                  <a:gd name="T1" fmla="*/ 0 h 157"/>
                  <a:gd name="T2" fmla="*/ 151 w 158"/>
                  <a:gd name="T3" fmla="*/ 157 h 157"/>
                  <a:gd name="T4" fmla="*/ 0 w 158"/>
                  <a:gd name="T5" fmla="*/ 150 h 157"/>
                  <a:gd name="T6" fmla="*/ 8 w 158"/>
                  <a:gd name="T7" fmla="*/ 0 h 157"/>
                  <a:gd name="T8" fmla="*/ 158 w 158"/>
                  <a:gd name="T9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157">
                    <a:moveTo>
                      <a:pt x="158" y="0"/>
                    </a:moveTo>
                    <a:cubicBezTo>
                      <a:pt x="158" y="0"/>
                      <a:pt x="157" y="121"/>
                      <a:pt x="151" y="157"/>
                    </a:cubicBezTo>
                    <a:cubicBezTo>
                      <a:pt x="0" y="150"/>
                      <a:pt x="0" y="150"/>
                      <a:pt x="0" y="150"/>
                    </a:cubicBezTo>
                    <a:cubicBezTo>
                      <a:pt x="0" y="150"/>
                      <a:pt x="13" y="32"/>
                      <a:pt x="8" y="0"/>
                    </a:cubicBezTo>
                    <a:lnTo>
                      <a:pt x="158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5" name="任意多边形: 形状 594">
                <a:extLst>
                  <a:ext uri="{FF2B5EF4-FFF2-40B4-BE49-F238E27FC236}">
                    <a16:creationId xmlns:a16="http://schemas.microsoft.com/office/drawing/2014/main" id="{F14A922B-63A8-45EC-83CF-F4846143E5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1776" y="4344988"/>
                <a:ext cx="233363" cy="3175"/>
              </a:xfrm>
              <a:custGeom>
                <a:avLst/>
                <a:gdLst>
                  <a:gd name="T0" fmla="*/ 0 w 102"/>
                  <a:gd name="T1" fmla="*/ 1 h 2"/>
                  <a:gd name="T2" fmla="*/ 51 w 102"/>
                  <a:gd name="T3" fmla="*/ 2 h 2"/>
                  <a:gd name="T4" fmla="*/ 102 w 102"/>
                  <a:gd name="T5" fmla="*/ 1 h 2"/>
                  <a:gd name="T6" fmla="*/ 51 w 102"/>
                  <a:gd name="T7" fmla="*/ 0 h 2"/>
                  <a:gd name="T8" fmla="*/ 0 w 102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2">
                    <a:moveTo>
                      <a:pt x="0" y="1"/>
                    </a:moveTo>
                    <a:cubicBezTo>
                      <a:pt x="0" y="1"/>
                      <a:pt x="23" y="2"/>
                      <a:pt x="51" y="2"/>
                    </a:cubicBezTo>
                    <a:cubicBezTo>
                      <a:pt x="79" y="2"/>
                      <a:pt x="102" y="2"/>
                      <a:pt x="102" y="1"/>
                    </a:cubicBezTo>
                    <a:cubicBezTo>
                      <a:pt x="102" y="0"/>
                      <a:pt x="79" y="0"/>
                      <a:pt x="51" y="0"/>
                    </a:cubicBezTo>
                    <a:cubicBezTo>
                      <a:pt x="23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6" name="任意多边形: 形状 595">
                <a:extLst>
                  <a:ext uri="{FF2B5EF4-FFF2-40B4-BE49-F238E27FC236}">
                    <a16:creationId xmlns:a16="http://schemas.microsoft.com/office/drawing/2014/main" id="{2D84CAE6-8A9B-45A8-847F-C781B631F3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6538" y="4402138"/>
                <a:ext cx="231775" cy="3175"/>
              </a:xfrm>
              <a:custGeom>
                <a:avLst/>
                <a:gdLst>
                  <a:gd name="T0" fmla="*/ 0 w 101"/>
                  <a:gd name="T1" fmla="*/ 1 h 2"/>
                  <a:gd name="T2" fmla="*/ 50 w 101"/>
                  <a:gd name="T3" fmla="*/ 2 h 2"/>
                  <a:gd name="T4" fmla="*/ 101 w 101"/>
                  <a:gd name="T5" fmla="*/ 2 h 2"/>
                  <a:gd name="T6" fmla="*/ 50 w 101"/>
                  <a:gd name="T7" fmla="*/ 0 h 2"/>
                  <a:gd name="T8" fmla="*/ 0 w 101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2">
                    <a:moveTo>
                      <a:pt x="0" y="1"/>
                    </a:moveTo>
                    <a:cubicBezTo>
                      <a:pt x="0" y="2"/>
                      <a:pt x="22" y="2"/>
                      <a:pt x="50" y="2"/>
                    </a:cubicBezTo>
                    <a:cubicBezTo>
                      <a:pt x="78" y="2"/>
                      <a:pt x="101" y="2"/>
                      <a:pt x="101" y="2"/>
                    </a:cubicBezTo>
                    <a:cubicBezTo>
                      <a:pt x="101" y="1"/>
                      <a:pt x="78" y="0"/>
                      <a:pt x="50" y="0"/>
                    </a:cubicBezTo>
                    <a:cubicBezTo>
                      <a:pt x="22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7" name="任意多边形: 形状 596">
                <a:extLst>
                  <a:ext uri="{FF2B5EF4-FFF2-40B4-BE49-F238E27FC236}">
                    <a16:creationId xmlns:a16="http://schemas.microsoft.com/office/drawing/2014/main" id="{0AB06E73-4A1F-4077-8432-D5410FF867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8451" y="4456113"/>
                <a:ext cx="131763" cy="4763"/>
              </a:xfrm>
              <a:custGeom>
                <a:avLst/>
                <a:gdLst>
                  <a:gd name="T0" fmla="*/ 0 w 58"/>
                  <a:gd name="T1" fmla="*/ 1 h 2"/>
                  <a:gd name="T2" fmla="*/ 8 w 58"/>
                  <a:gd name="T3" fmla="*/ 2 h 2"/>
                  <a:gd name="T4" fmla="*/ 29 w 58"/>
                  <a:gd name="T5" fmla="*/ 2 h 2"/>
                  <a:gd name="T6" fmla="*/ 49 w 58"/>
                  <a:gd name="T7" fmla="*/ 2 h 2"/>
                  <a:gd name="T8" fmla="*/ 58 w 58"/>
                  <a:gd name="T9" fmla="*/ 1 h 2"/>
                  <a:gd name="T10" fmla="*/ 49 w 58"/>
                  <a:gd name="T11" fmla="*/ 0 h 2"/>
                  <a:gd name="T12" fmla="*/ 29 w 58"/>
                  <a:gd name="T13" fmla="*/ 0 h 2"/>
                  <a:gd name="T14" fmla="*/ 8 w 58"/>
                  <a:gd name="T15" fmla="*/ 0 h 2"/>
                  <a:gd name="T16" fmla="*/ 0 w 58"/>
                  <a:gd name="T1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2">
                    <a:moveTo>
                      <a:pt x="0" y="1"/>
                    </a:moveTo>
                    <a:cubicBezTo>
                      <a:pt x="0" y="1"/>
                      <a:pt x="3" y="1"/>
                      <a:pt x="8" y="2"/>
                    </a:cubicBezTo>
                    <a:cubicBezTo>
                      <a:pt x="13" y="2"/>
                      <a:pt x="21" y="2"/>
                      <a:pt x="29" y="2"/>
                    </a:cubicBezTo>
                    <a:cubicBezTo>
                      <a:pt x="37" y="2"/>
                      <a:pt x="44" y="2"/>
                      <a:pt x="49" y="2"/>
                    </a:cubicBezTo>
                    <a:cubicBezTo>
                      <a:pt x="54" y="1"/>
                      <a:pt x="58" y="1"/>
                      <a:pt x="58" y="1"/>
                    </a:cubicBezTo>
                    <a:cubicBezTo>
                      <a:pt x="58" y="1"/>
                      <a:pt x="54" y="0"/>
                      <a:pt x="49" y="0"/>
                    </a:cubicBezTo>
                    <a:cubicBezTo>
                      <a:pt x="44" y="0"/>
                      <a:pt x="37" y="0"/>
                      <a:pt x="29" y="0"/>
                    </a:cubicBezTo>
                    <a:cubicBezTo>
                      <a:pt x="21" y="0"/>
                      <a:pt x="13" y="0"/>
                      <a:pt x="8" y="0"/>
                    </a:cubicBezTo>
                    <a:cubicBezTo>
                      <a:pt x="3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8" name="任意多边形: 形状 597">
                <a:extLst>
                  <a:ext uri="{FF2B5EF4-FFF2-40B4-BE49-F238E27FC236}">
                    <a16:creationId xmlns:a16="http://schemas.microsoft.com/office/drawing/2014/main" id="{2EA5A2FA-65FF-4837-952B-56DB9F05A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3701" y="3079751"/>
                <a:ext cx="441325" cy="522288"/>
              </a:xfrm>
              <a:custGeom>
                <a:avLst/>
                <a:gdLst>
                  <a:gd name="T0" fmla="*/ 91 w 193"/>
                  <a:gd name="T1" fmla="*/ 228 h 228"/>
                  <a:gd name="T2" fmla="*/ 19 w 193"/>
                  <a:gd name="T3" fmla="*/ 182 h 228"/>
                  <a:gd name="T4" fmla="*/ 6 w 193"/>
                  <a:gd name="T5" fmla="*/ 92 h 228"/>
                  <a:gd name="T6" fmla="*/ 74 w 193"/>
                  <a:gd name="T7" fmla="*/ 8 h 228"/>
                  <a:gd name="T8" fmla="*/ 175 w 193"/>
                  <a:gd name="T9" fmla="*/ 44 h 228"/>
                  <a:gd name="T10" fmla="*/ 191 w 193"/>
                  <a:gd name="T11" fmla="*/ 107 h 228"/>
                  <a:gd name="T12" fmla="*/ 178 w 193"/>
                  <a:gd name="T13" fmla="*/ 118 h 228"/>
                  <a:gd name="T14" fmla="*/ 167 w 193"/>
                  <a:gd name="T15" fmla="*/ 105 h 228"/>
                  <a:gd name="T16" fmla="*/ 154 w 193"/>
                  <a:gd name="T17" fmla="*/ 56 h 228"/>
                  <a:gd name="T18" fmla="*/ 81 w 193"/>
                  <a:gd name="T19" fmla="*/ 31 h 228"/>
                  <a:gd name="T20" fmla="*/ 30 w 193"/>
                  <a:gd name="T21" fmla="*/ 97 h 228"/>
                  <a:gd name="T22" fmla="*/ 40 w 193"/>
                  <a:gd name="T23" fmla="*/ 171 h 228"/>
                  <a:gd name="T24" fmla="*/ 97 w 193"/>
                  <a:gd name="T25" fmla="*/ 203 h 228"/>
                  <a:gd name="T26" fmla="*/ 111 w 193"/>
                  <a:gd name="T27" fmla="*/ 213 h 228"/>
                  <a:gd name="T28" fmla="*/ 101 w 193"/>
                  <a:gd name="T29" fmla="*/ 227 h 228"/>
                  <a:gd name="T30" fmla="*/ 91 w 193"/>
                  <a:gd name="T31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3" h="228">
                    <a:moveTo>
                      <a:pt x="91" y="228"/>
                    </a:moveTo>
                    <a:cubicBezTo>
                      <a:pt x="62" y="228"/>
                      <a:pt x="34" y="210"/>
                      <a:pt x="19" y="182"/>
                    </a:cubicBezTo>
                    <a:cubicBezTo>
                      <a:pt x="5" y="155"/>
                      <a:pt x="0" y="122"/>
                      <a:pt x="6" y="92"/>
                    </a:cubicBezTo>
                    <a:cubicBezTo>
                      <a:pt x="15" y="52"/>
                      <a:pt x="41" y="19"/>
                      <a:pt x="74" y="8"/>
                    </a:cubicBezTo>
                    <a:cubicBezTo>
                      <a:pt x="102" y="0"/>
                      <a:pt x="151" y="5"/>
                      <a:pt x="175" y="44"/>
                    </a:cubicBezTo>
                    <a:cubicBezTo>
                      <a:pt x="193" y="74"/>
                      <a:pt x="191" y="106"/>
                      <a:pt x="191" y="107"/>
                    </a:cubicBezTo>
                    <a:cubicBezTo>
                      <a:pt x="190" y="114"/>
                      <a:pt x="185" y="119"/>
                      <a:pt x="178" y="118"/>
                    </a:cubicBezTo>
                    <a:cubicBezTo>
                      <a:pt x="172" y="118"/>
                      <a:pt x="167" y="112"/>
                      <a:pt x="167" y="105"/>
                    </a:cubicBezTo>
                    <a:cubicBezTo>
                      <a:pt x="167" y="105"/>
                      <a:pt x="168" y="80"/>
                      <a:pt x="154" y="56"/>
                    </a:cubicBezTo>
                    <a:cubicBezTo>
                      <a:pt x="136" y="26"/>
                      <a:pt x="96" y="26"/>
                      <a:pt x="81" y="31"/>
                    </a:cubicBezTo>
                    <a:cubicBezTo>
                      <a:pt x="53" y="40"/>
                      <a:pt x="35" y="71"/>
                      <a:pt x="30" y="97"/>
                    </a:cubicBezTo>
                    <a:cubicBezTo>
                      <a:pt x="25" y="122"/>
                      <a:pt x="28" y="149"/>
                      <a:pt x="40" y="171"/>
                    </a:cubicBezTo>
                    <a:cubicBezTo>
                      <a:pt x="52" y="193"/>
                      <a:pt x="76" y="207"/>
                      <a:pt x="97" y="203"/>
                    </a:cubicBezTo>
                    <a:cubicBezTo>
                      <a:pt x="104" y="202"/>
                      <a:pt x="110" y="207"/>
                      <a:pt x="111" y="213"/>
                    </a:cubicBezTo>
                    <a:cubicBezTo>
                      <a:pt x="112" y="220"/>
                      <a:pt x="107" y="226"/>
                      <a:pt x="101" y="227"/>
                    </a:cubicBezTo>
                    <a:cubicBezTo>
                      <a:pt x="97" y="227"/>
                      <a:pt x="94" y="228"/>
                      <a:pt x="91" y="22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9" name="任意多边形: 形状 598">
                <a:extLst>
                  <a:ext uri="{FF2B5EF4-FFF2-40B4-BE49-F238E27FC236}">
                    <a16:creationId xmlns:a16="http://schemas.microsoft.com/office/drawing/2014/main" id="{F30C7FB0-4888-4820-A549-C9D55A0713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2051" y="3087688"/>
                <a:ext cx="295275" cy="514350"/>
              </a:xfrm>
              <a:custGeom>
                <a:avLst/>
                <a:gdLst>
                  <a:gd name="T0" fmla="*/ 91 w 129"/>
                  <a:gd name="T1" fmla="*/ 225 h 225"/>
                  <a:gd name="T2" fmla="*/ 19 w 129"/>
                  <a:gd name="T3" fmla="*/ 179 h 225"/>
                  <a:gd name="T4" fmla="*/ 6 w 129"/>
                  <a:gd name="T5" fmla="*/ 89 h 225"/>
                  <a:gd name="T6" fmla="*/ 74 w 129"/>
                  <a:gd name="T7" fmla="*/ 5 h 225"/>
                  <a:gd name="T8" fmla="*/ 129 w 129"/>
                  <a:gd name="T9" fmla="*/ 8 h 225"/>
                  <a:gd name="T10" fmla="*/ 120 w 129"/>
                  <a:gd name="T11" fmla="*/ 31 h 225"/>
                  <a:gd name="T12" fmla="*/ 81 w 129"/>
                  <a:gd name="T13" fmla="*/ 28 h 225"/>
                  <a:gd name="T14" fmla="*/ 30 w 129"/>
                  <a:gd name="T15" fmla="*/ 94 h 225"/>
                  <a:gd name="T16" fmla="*/ 40 w 129"/>
                  <a:gd name="T17" fmla="*/ 168 h 225"/>
                  <a:gd name="T18" fmla="*/ 97 w 129"/>
                  <a:gd name="T19" fmla="*/ 200 h 225"/>
                  <a:gd name="T20" fmla="*/ 101 w 129"/>
                  <a:gd name="T21" fmla="*/ 224 h 225"/>
                  <a:gd name="T22" fmla="*/ 91 w 129"/>
                  <a:gd name="T2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9" h="225">
                    <a:moveTo>
                      <a:pt x="91" y="225"/>
                    </a:moveTo>
                    <a:cubicBezTo>
                      <a:pt x="63" y="225"/>
                      <a:pt x="34" y="207"/>
                      <a:pt x="19" y="179"/>
                    </a:cubicBezTo>
                    <a:cubicBezTo>
                      <a:pt x="5" y="152"/>
                      <a:pt x="0" y="119"/>
                      <a:pt x="6" y="89"/>
                    </a:cubicBezTo>
                    <a:cubicBezTo>
                      <a:pt x="13" y="55"/>
                      <a:pt x="37" y="16"/>
                      <a:pt x="74" y="5"/>
                    </a:cubicBezTo>
                    <a:cubicBezTo>
                      <a:pt x="91" y="0"/>
                      <a:pt x="112" y="2"/>
                      <a:pt x="129" y="8"/>
                    </a:cubicBezTo>
                    <a:cubicBezTo>
                      <a:pt x="120" y="31"/>
                      <a:pt x="120" y="31"/>
                      <a:pt x="120" y="31"/>
                    </a:cubicBezTo>
                    <a:cubicBezTo>
                      <a:pt x="105" y="25"/>
                      <a:pt x="90" y="26"/>
                      <a:pt x="81" y="28"/>
                    </a:cubicBezTo>
                    <a:cubicBezTo>
                      <a:pt x="53" y="36"/>
                      <a:pt x="35" y="67"/>
                      <a:pt x="30" y="94"/>
                    </a:cubicBezTo>
                    <a:cubicBezTo>
                      <a:pt x="25" y="119"/>
                      <a:pt x="29" y="146"/>
                      <a:pt x="40" y="168"/>
                    </a:cubicBezTo>
                    <a:cubicBezTo>
                      <a:pt x="52" y="190"/>
                      <a:pt x="76" y="204"/>
                      <a:pt x="97" y="200"/>
                    </a:cubicBezTo>
                    <a:cubicBezTo>
                      <a:pt x="101" y="224"/>
                      <a:pt x="101" y="224"/>
                      <a:pt x="101" y="224"/>
                    </a:cubicBezTo>
                    <a:cubicBezTo>
                      <a:pt x="98" y="224"/>
                      <a:pt x="94" y="225"/>
                      <a:pt x="91" y="22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0" name="任意多边形: 形状 599">
                <a:extLst>
                  <a:ext uri="{FF2B5EF4-FFF2-40B4-BE49-F238E27FC236}">
                    <a16:creationId xmlns:a16="http://schemas.microsoft.com/office/drawing/2014/main" id="{AEAF13E0-ABD2-4FAD-A92E-E5DAE9DCF4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4038" y="3327401"/>
                <a:ext cx="404813" cy="136525"/>
              </a:xfrm>
              <a:custGeom>
                <a:avLst/>
                <a:gdLst>
                  <a:gd name="T0" fmla="*/ 16 w 255"/>
                  <a:gd name="T1" fmla="*/ 0 h 86"/>
                  <a:gd name="T2" fmla="*/ 0 w 255"/>
                  <a:gd name="T3" fmla="*/ 86 h 86"/>
                  <a:gd name="T4" fmla="*/ 234 w 255"/>
                  <a:gd name="T5" fmla="*/ 86 h 86"/>
                  <a:gd name="T6" fmla="*/ 255 w 255"/>
                  <a:gd name="T7" fmla="*/ 0 h 86"/>
                  <a:gd name="T8" fmla="*/ 16 w 255"/>
                  <a:gd name="T9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5" h="86">
                    <a:moveTo>
                      <a:pt x="16" y="0"/>
                    </a:moveTo>
                    <a:lnTo>
                      <a:pt x="0" y="86"/>
                    </a:lnTo>
                    <a:lnTo>
                      <a:pt x="234" y="86"/>
                    </a:lnTo>
                    <a:lnTo>
                      <a:pt x="255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1" name="椭圆 600">
                <a:extLst>
                  <a:ext uri="{FF2B5EF4-FFF2-40B4-BE49-F238E27FC236}">
                    <a16:creationId xmlns:a16="http://schemas.microsoft.com/office/drawing/2014/main" id="{79719DD2-1361-42BA-A694-0D9E7CE634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54613" y="3519488"/>
                <a:ext cx="119063" cy="1190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2" name="椭圆 601">
                <a:extLst>
                  <a:ext uri="{FF2B5EF4-FFF2-40B4-BE49-F238E27FC236}">
                    <a16:creationId xmlns:a16="http://schemas.microsoft.com/office/drawing/2014/main" id="{4BE5B12F-9C80-4661-830C-E7D360EECE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24676" y="3519488"/>
                <a:ext cx="119063" cy="1190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3" name="任意多边形: 形状 602">
                <a:extLst>
                  <a:ext uri="{FF2B5EF4-FFF2-40B4-BE49-F238E27FC236}">
                    <a16:creationId xmlns:a16="http://schemas.microsoft.com/office/drawing/2014/main" id="{70F0E8A5-5A36-4FBC-8458-09708069C0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7213" y="2435226"/>
                <a:ext cx="558800" cy="481013"/>
              </a:xfrm>
              <a:custGeom>
                <a:avLst/>
                <a:gdLst>
                  <a:gd name="T0" fmla="*/ 272 w 352"/>
                  <a:gd name="T1" fmla="*/ 0 h 303"/>
                  <a:gd name="T2" fmla="*/ 211 w 352"/>
                  <a:gd name="T3" fmla="*/ 232 h 303"/>
                  <a:gd name="T4" fmla="*/ 0 w 352"/>
                  <a:gd name="T5" fmla="*/ 255 h 303"/>
                  <a:gd name="T6" fmla="*/ 0 w 352"/>
                  <a:gd name="T7" fmla="*/ 293 h 303"/>
                  <a:gd name="T8" fmla="*/ 297 w 352"/>
                  <a:gd name="T9" fmla="*/ 303 h 303"/>
                  <a:gd name="T10" fmla="*/ 352 w 352"/>
                  <a:gd name="T11" fmla="*/ 42 h 303"/>
                  <a:gd name="T12" fmla="*/ 272 w 352"/>
                  <a:gd name="T13" fmla="*/ 0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2" h="303">
                    <a:moveTo>
                      <a:pt x="272" y="0"/>
                    </a:moveTo>
                    <a:lnTo>
                      <a:pt x="211" y="232"/>
                    </a:lnTo>
                    <a:lnTo>
                      <a:pt x="0" y="255"/>
                    </a:lnTo>
                    <a:lnTo>
                      <a:pt x="0" y="293"/>
                    </a:lnTo>
                    <a:lnTo>
                      <a:pt x="297" y="303"/>
                    </a:lnTo>
                    <a:lnTo>
                      <a:pt x="352" y="42"/>
                    </a:lnTo>
                    <a:lnTo>
                      <a:pt x="272" y="0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4" name="任意多边形: 形状 603">
                <a:extLst>
                  <a:ext uri="{FF2B5EF4-FFF2-40B4-BE49-F238E27FC236}">
                    <a16:creationId xmlns:a16="http://schemas.microsoft.com/office/drawing/2014/main" id="{C8010C11-B9A9-4611-A7E1-F205FAD0D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7976" y="2895601"/>
                <a:ext cx="990600" cy="428625"/>
              </a:xfrm>
              <a:custGeom>
                <a:avLst/>
                <a:gdLst>
                  <a:gd name="T0" fmla="*/ 360 w 433"/>
                  <a:gd name="T1" fmla="*/ 13 h 188"/>
                  <a:gd name="T2" fmla="*/ 65 w 433"/>
                  <a:gd name="T3" fmla="*/ 54 h 188"/>
                  <a:gd name="T4" fmla="*/ 31 w 433"/>
                  <a:gd name="T5" fmla="*/ 188 h 188"/>
                  <a:gd name="T6" fmla="*/ 400 w 433"/>
                  <a:gd name="T7" fmla="*/ 187 h 188"/>
                  <a:gd name="T8" fmla="*/ 433 w 433"/>
                  <a:gd name="T9" fmla="*/ 0 h 188"/>
                  <a:gd name="T10" fmla="*/ 360 w 433"/>
                  <a:gd name="T11" fmla="*/ 1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3" h="188">
                    <a:moveTo>
                      <a:pt x="360" y="13"/>
                    </a:moveTo>
                    <a:cubicBezTo>
                      <a:pt x="360" y="13"/>
                      <a:pt x="131" y="3"/>
                      <a:pt x="65" y="54"/>
                    </a:cubicBezTo>
                    <a:cubicBezTo>
                      <a:pt x="0" y="105"/>
                      <a:pt x="31" y="188"/>
                      <a:pt x="31" y="188"/>
                    </a:cubicBezTo>
                    <a:cubicBezTo>
                      <a:pt x="400" y="187"/>
                      <a:pt x="400" y="187"/>
                      <a:pt x="400" y="187"/>
                    </a:cubicBezTo>
                    <a:cubicBezTo>
                      <a:pt x="433" y="0"/>
                      <a:pt x="433" y="0"/>
                      <a:pt x="433" y="0"/>
                    </a:cubicBezTo>
                    <a:lnTo>
                      <a:pt x="360" y="13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5" name="任意多边形: 形状 604">
                <a:extLst>
                  <a:ext uri="{FF2B5EF4-FFF2-40B4-BE49-F238E27FC236}">
                    <a16:creationId xmlns:a16="http://schemas.microsoft.com/office/drawing/2014/main" id="{DA8F0C35-35C8-4470-B818-17C210F91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3713" y="3071813"/>
                <a:ext cx="727075" cy="136525"/>
              </a:xfrm>
              <a:custGeom>
                <a:avLst/>
                <a:gdLst>
                  <a:gd name="T0" fmla="*/ 318 w 318"/>
                  <a:gd name="T1" fmla="*/ 60 h 60"/>
                  <a:gd name="T2" fmla="*/ 314 w 318"/>
                  <a:gd name="T3" fmla="*/ 60 h 60"/>
                  <a:gd name="T4" fmla="*/ 305 w 318"/>
                  <a:gd name="T5" fmla="*/ 58 h 60"/>
                  <a:gd name="T6" fmla="*/ 270 w 318"/>
                  <a:gd name="T7" fmla="*/ 53 h 60"/>
                  <a:gd name="T8" fmla="*/ 159 w 318"/>
                  <a:gd name="T9" fmla="*/ 27 h 60"/>
                  <a:gd name="T10" fmla="*/ 98 w 318"/>
                  <a:gd name="T11" fmla="*/ 10 h 60"/>
                  <a:gd name="T12" fmla="*/ 47 w 318"/>
                  <a:gd name="T13" fmla="*/ 2 h 60"/>
                  <a:gd name="T14" fmla="*/ 13 w 318"/>
                  <a:gd name="T15" fmla="*/ 4 h 60"/>
                  <a:gd name="T16" fmla="*/ 4 w 318"/>
                  <a:gd name="T17" fmla="*/ 6 h 60"/>
                  <a:gd name="T18" fmla="*/ 0 w 318"/>
                  <a:gd name="T19" fmla="*/ 6 h 60"/>
                  <a:gd name="T20" fmla="*/ 3 w 318"/>
                  <a:gd name="T21" fmla="*/ 5 h 60"/>
                  <a:gd name="T22" fmla="*/ 13 w 318"/>
                  <a:gd name="T23" fmla="*/ 3 h 60"/>
                  <a:gd name="T24" fmla="*/ 47 w 318"/>
                  <a:gd name="T25" fmla="*/ 0 h 60"/>
                  <a:gd name="T26" fmla="*/ 98 w 318"/>
                  <a:gd name="T27" fmla="*/ 8 h 60"/>
                  <a:gd name="T28" fmla="*/ 159 w 318"/>
                  <a:gd name="T29" fmla="*/ 25 h 60"/>
                  <a:gd name="T30" fmla="*/ 271 w 318"/>
                  <a:gd name="T31" fmla="*/ 52 h 60"/>
                  <a:gd name="T32" fmla="*/ 305 w 318"/>
                  <a:gd name="T33" fmla="*/ 58 h 60"/>
                  <a:gd name="T34" fmla="*/ 314 w 318"/>
                  <a:gd name="T35" fmla="*/ 59 h 60"/>
                  <a:gd name="T36" fmla="*/ 318 w 318"/>
                  <a:gd name="T3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8" h="60">
                    <a:moveTo>
                      <a:pt x="318" y="60"/>
                    </a:moveTo>
                    <a:cubicBezTo>
                      <a:pt x="318" y="60"/>
                      <a:pt x="316" y="60"/>
                      <a:pt x="314" y="60"/>
                    </a:cubicBezTo>
                    <a:cubicBezTo>
                      <a:pt x="312" y="59"/>
                      <a:pt x="309" y="59"/>
                      <a:pt x="305" y="58"/>
                    </a:cubicBezTo>
                    <a:cubicBezTo>
                      <a:pt x="297" y="57"/>
                      <a:pt x="285" y="56"/>
                      <a:pt x="270" y="53"/>
                    </a:cubicBezTo>
                    <a:cubicBezTo>
                      <a:pt x="241" y="48"/>
                      <a:pt x="202" y="40"/>
                      <a:pt x="159" y="27"/>
                    </a:cubicBezTo>
                    <a:cubicBezTo>
                      <a:pt x="137" y="21"/>
                      <a:pt x="117" y="15"/>
                      <a:pt x="98" y="10"/>
                    </a:cubicBezTo>
                    <a:cubicBezTo>
                      <a:pt x="79" y="5"/>
                      <a:pt x="62" y="3"/>
                      <a:pt x="47" y="2"/>
                    </a:cubicBezTo>
                    <a:cubicBezTo>
                      <a:pt x="33" y="1"/>
                      <a:pt x="21" y="2"/>
                      <a:pt x="13" y="4"/>
                    </a:cubicBezTo>
                    <a:cubicBezTo>
                      <a:pt x="9" y="4"/>
                      <a:pt x="6" y="5"/>
                      <a:pt x="4" y="6"/>
                    </a:cubicBezTo>
                    <a:cubicBezTo>
                      <a:pt x="1" y="6"/>
                      <a:pt x="0" y="6"/>
                      <a:pt x="0" y="6"/>
                    </a:cubicBezTo>
                    <a:cubicBezTo>
                      <a:pt x="0" y="6"/>
                      <a:pt x="1" y="6"/>
                      <a:pt x="3" y="5"/>
                    </a:cubicBezTo>
                    <a:cubicBezTo>
                      <a:pt x="6" y="5"/>
                      <a:pt x="9" y="4"/>
                      <a:pt x="13" y="3"/>
                    </a:cubicBezTo>
                    <a:cubicBezTo>
                      <a:pt x="21" y="1"/>
                      <a:pt x="33" y="0"/>
                      <a:pt x="47" y="0"/>
                    </a:cubicBezTo>
                    <a:cubicBezTo>
                      <a:pt x="62" y="1"/>
                      <a:pt x="79" y="4"/>
                      <a:pt x="98" y="8"/>
                    </a:cubicBezTo>
                    <a:cubicBezTo>
                      <a:pt x="117" y="13"/>
                      <a:pt x="138" y="19"/>
                      <a:pt x="159" y="25"/>
                    </a:cubicBezTo>
                    <a:cubicBezTo>
                      <a:pt x="202" y="38"/>
                      <a:pt x="242" y="47"/>
                      <a:pt x="271" y="52"/>
                    </a:cubicBezTo>
                    <a:cubicBezTo>
                      <a:pt x="285" y="55"/>
                      <a:pt x="297" y="56"/>
                      <a:pt x="305" y="58"/>
                    </a:cubicBezTo>
                    <a:cubicBezTo>
                      <a:pt x="309" y="58"/>
                      <a:pt x="312" y="59"/>
                      <a:pt x="314" y="59"/>
                    </a:cubicBezTo>
                    <a:cubicBezTo>
                      <a:pt x="316" y="59"/>
                      <a:pt x="318" y="60"/>
                      <a:pt x="318" y="6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6" name="任意多边形: 形状 605">
                <a:extLst>
                  <a:ext uri="{FF2B5EF4-FFF2-40B4-BE49-F238E27FC236}">
                    <a16:creationId xmlns:a16="http://schemas.microsoft.com/office/drawing/2014/main" id="{4347BFF1-8D59-4CCF-881D-8AC88890EA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3413" y="3038476"/>
                <a:ext cx="100013" cy="53975"/>
              </a:xfrm>
              <a:custGeom>
                <a:avLst/>
                <a:gdLst>
                  <a:gd name="T0" fmla="*/ 44 w 44"/>
                  <a:gd name="T1" fmla="*/ 23 h 23"/>
                  <a:gd name="T2" fmla="*/ 23 w 44"/>
                  <a:gd name="T3" fmla="*/ 9 h 23"/>
                  <a:gd name="T4" fmla="*/ 0 w 44"/>
                  <a:gd name="T5" fmla="*/ 0 h 23"/>
                  <a:gd name="T6" fmla="*/ 7 w 44"/>
                  <a:gd name="T7" fmla="*/ 1 h 23"/>
                  <a:gd name="T8" fmla="*/ 24 w 44"/>
                  <a:gd name="T9" fmla="*/ 7 h 23"/>
                  <a:gd name="T10" fmla="*/ 39 w 44"/>
                  <a:gd name="T11" fmla="*/ 17 h 23"/>
                  <a:gd name="T12" fmla="*/ 44 w 44"/>
                  <a:gd name="T1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23">
                    <a:moveTo>
                      <a:pt x="44" y="23"/>
                    </a:moveTo>
                    <a:cubicBezTo>
                      <a:pt x="43" y="23"/>
                      <a:pt x="35" y="15"/>
                      <a:pt x="23" y="9"/>
                    </a:cubicBezTo>
                    <a:cubicBezTo>
                      <a:pt x="11" y="2"/>
                      <a:pt x="0" y="1"/>
                      <a:pt x="0" y="0"/>
                    </a:cubicBezTo>
                    <a:cubicBezTo>
                      <a:pt x="0" y="0"/>
                      <a:pt x="3" y="0"/>
                      <a:pt x="7" y="1"/>
                    </a:cubicBezTo>
                    <a:cubicBezTo>
                      <a:pt x="12" y="2"/>
                      <a:pt x="18" y="4"/>
                      <a:pt x="24" y="7"/>
                    </a:cubicBezTo>
                    <a:cubicBezTo>
                      <a:pt x="30" y="10"/>
                      <a:pt x="36" y="14"/>
                      <a:pt x="39" y="17"/>
                    </a:cubicBezTo>
                    <a:cubicBezTo>
                      <a:pt x="42" y="20"/>
                      <a:pt x="44" y="23"/>
                      <a:pt x="44" y="23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7" name="任意多边形: 形状 606">
                <a:extLst>
                  <a:ext uri="{FF2B5EF4-FFF2-40B4-BE49-F238E27FC236}">
                    <a16:creationId xmlns:a16="http://schemas.microsoft.com/office/drawing/2014/main" id="{DB22AB05-1FF2-4ACB-83F0-815D6B8D47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4588" y="4062413"/>
                <a:ext cx="204788" cy="425450"/>
              </a:xfrm>
              <a:custGeom>
                <a:avLst/>
                <a:gdLst>
                  <a:gd name="T0" fmla="*/ 18 w 89"/>
                  <a:gd name="T1" fmla="*/ 0 h 186"/>
                  <a:gd name="T2" fmla="*/ 21 w 89"/>
                  <a:gd name="T3" fmla="*/ 97 h 186"/>
                  <a:gd name="T4" fmla="*/ 1 w 89"/>
                  <a:gd name="T5" fmla="*/ 174 h 186"/>
                  <a:gd name="T6" fmla="*/ 9 w 89"/>
                  <a:gd name="T7" fmla="*/ 186 h 186"/>
                  <a:gd name="T8" fmla="*/ 18 w 89"/>
                  <a:gd name="T9" fmla="*/ 183 h 186"/>
                  <a:gd name="T10" fmla="*/ 85 w 89"/>
                  <a:gd name="T11" fmla="*/ 109 h 186"/>
                  <a:gd name="T12" fmla="*/ 89 w 89"/>
                  <a:gd name="T13" fmla="*/ 7 h 186"/>
                  <a:gd name="T14" fmla="*/ 18 w 89"/>
                  <a:gd name="T15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186">
                    <a:moveTo>
                      <a:pt x="18" y="0"/>
                    </a:moveTo>
                    <a:cubicBezTo>
                      <a:pt x="21" y="97"/>
                      <a:pt x="21" y="97"/>
                      <a:pt x="21" y="97"/>
                    </a:cubicBezTo>
                    <a:cubicBezTo>
                      <a:pt x="1" y="174"/>
                      <a:pt x="1" y="174"/>
                      <a:pt x="1" y="174"/>
                    </a:cubicBezTo>
                    <a:cubicBezTo>
                      <a:pt x="0" y="179"/>
                      <a:pt x="4" y="185"/>
                      <a:pt x="9" y="186"/>
                    </a:cubicBezTo>
                    <a:cubicBezTo>
                      <a:pt x="12" y="186"/>
                      <a:pt x="16" y="185"/>
                      <a:pt x="18" y="183"/>
                    </a:cubicBezTo>
                    <a:cubicBezTo>
                      <a:pt x="32" y="169"/>
                      <a:pt x="86" y="116"/>
                      <a:pt x="85" y="109"/>
                    </a:cubicBezTo>
                    <a:cubicBezTo>
                      <a:pt x="84" y="101"/>
                      <a:pt x="89" y="7"/>
                      <a:pt x="89" y="7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8" name="任意多边形: 形状 607">
                <a:extLst>
                  <a:ext uri="{FF2B5EF4-FFF2-40B4-BE49-F238E27FC236}">
                    <a16:creationId xmlns:a16="http://schemas.microsoft.com/office/drawing/2014/main" id="{88630ECC-B581-4CF9-90E6-2DBE876093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5226" y="4298951"/>
                <a:ext cx="174625" cy="188913"/>
              </a:xfrm>
              <a:custGeom>
                <a:avLst/>
                <a:gdLst>
                  <a:gd name="T0" fmla="*/ 75 w 76"/>
                  <a:gd name="T1" fmla="*/ 9 h 83"/>
                  <a:gd name="T2" fmla="*/ 9 w 76"/>
                  <a:gd name="T3" fmla="*/ 80 h 83"/>
                  <a:gd name="T4" fmla="*/ 2 w 76"/>
                  <a:gd name="T5" fmla="*/ 83 h 83"/>
                  <a:gd name="T6" fmla="*/ 0 w 76"/>
                  <a:gd name="T7" fmla="*/ 83 h 83"/>
                  <a:gd name="T8" fmla="*/ 2 w 76"/>
                  <a:gd name="T9" fmla="*/ 83 h 83"/>
                  <a:gd name="T10" fmla="*/ 9 w 76"/>
                  <a:gd name="T11" fmla="*/ 80 h 83"/>
                  <a:gd name="T12" fmla="*/ 73 w 76"/>
                  <a:gd name="T13" fmla="*/ 14 h 83"/>
                  <a:gd name="T14" fmla="*/ 75 w 76"/>
                  <a:gd name="T15" fmla="*/ 9 h 83"/>
                  <a:gd name="T16" fmla="*/ 76 w 76"/>
                  <a:gd name="T17" fmla="*/ 0 h 83"/>
                  <a:gd name="T18" fmla="*/ 76 w 76"/>
                  <a:gd name="T19" fmla="*/ 0 h 83"/>
                  <a:gd name="T20" fmla="*/ 76 w 76"/>
                  <a:gd name="T21" fmla="*/ 5 h 83"/>
                  <a:gd name="T22" fmla="*/ 76 w 76"/>
                  <a:gd name="T23" fmla="*/ 4 h 83"/>
                  <a:gd name="T24" fmla="*/ 76 w 76"/>
                  <a:gd name="T25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6" h="83">
                    <a:moveTo>
                      <a:pt x="75" y="9"/>
                    </a:moveTo>
                    <a:cubicBezTo>
                      <a:pt x="69" y="21"/>
                      <a:pt x="22" y="67"/>
                      <a:pt x="9" y="80"/>
                    </a:cubicBezTo>
                    <a:cubicBezTo>
                      <a:pt x="7" y="82"/>
                      <a:pt x="5" y="83"/>
                      <a:pt x="2" y="83"/>
                    </a:cubicBezTo>
                    <a:cubicBezTo>
                      <a:pt x="1" y="83"/>
                      <a:pt x="1" y="83"/>
                      <a:pt x="0" y="83"/>
                    </a:cubicBezTo>
                    <a:cubicBezTo>
                      <a:pt x="1" y="83"/>
                      <a:pt x="2" y="83"/>
                      <a:pt x="2" y="83"/>
                    </a:cubicBezTo>
                    <a:cubicBezTo>
                      <a:pt x="5" y="83"/>
                      <a:pt x="7" y="82"/>
                      <a:pt x="9" y="80"/>
                    </a:cubicBezTo>
                    <a:cubicBezTo>
                      <a:pt x="49" y="40"/>
                      <a:pt x="67" y="21"/>
                      <a:pt x="73" y="14"/>
                    </a:cubicBezTo>
                    <a:cubicBezTo>
                      <a:pt x="74" y="12"/>
                      <a:pt x="75" y="10"/>
                      <a:pt x="75" y="9"/>
                    </a:cubicBezTo>
                    <a:moveTo>
                      <a:pt x="76" y="0"/>
                    </a:moveTo>
                    <a:cubicBezTo>
                      <a:pt x="76" y="0"/>
                      <a:pt x="76" y="0"/>
                      <a:pt x="76" y="0"/>
                    </a:cubicBezTo>
                    <a:cubicBezTo>
                      <a:pt x="76" y="2"/>
                      <a:pt x="76" y="4"/>
                      <a:pt x="76" y="5"/>
                    </a:cubicBezTo>
                    <a:cubicBezTo>
                      <a:pt x="76" y="5"/>
                      <a:pt x="76" y="4"/>
                      <a:pt x="76" y="4"/>
                    </a:cubicBezTo>
                    <a:cubicBezTo>
                      <a:pt x="76" y="0"/>
                      <a:pt x="76" y="0"/>
                      <a:pt x="76" y="0"/>
                    </a:cubicBezTo>
                  </a:path>
                </a:pathLst>
              </a:custGeom>
              <a:solidFill>
                <a:srgbClr val="FDFD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9" name="任意多边形: 形状 608">
                <a:extLst>
                  <a:ext uri="{FF2B5EF4-FFF2-40B4-BE49-F238E27FC236}">
                    <a16:creationId xmlns:a16="http://schemas.microsoft.com/office/drawing/2014/main" id="{877CACE8-842F-43C6-BF18-E08F162B3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5226" y="4298951"/>
                <a:ext cx="174625" cy="188913"/>
              </a:xfrm>
              <a:custGeom>
                <a:avLst/>
                <a:gdLst>
                  <a:gd name="T0" fmla="*/ 76 w 76"/>
                  <a:gd name="T1" fmla="*/ 0 h 83"/>
                  <a:gd name="T2" fmla="*/ 0 w 76"/>
                  <a:gd name="T3" fmla="*/ 83 h 83"/>
                  <a:gd name="T4" fmla="*/ 0 w 76"/>
                  <a:gd name="T5" fmla="*/ 83 h 83"/>
                  <a:gd name="T6" fmla="*/ 2 w 76"/>
                  <a:gd name="T7" fmla="*/ 83 h 83"/>
                  <a:gd name="T8" fmla="*/ 9 w 76"/>
                  <a:gd name="T9" fmla="*/ 80 h 83"/>
                  <a:gd name="T10" fmla="*/ 75 w 76"/>
                  <a:gd name="T11" fmla="*/ 9 h 83"/>
                  <a:gd name="T12" fmla="*/ 76 w 76"/>
                  <a:gd name="T13" fmla="*/ 5 h 83"/>
                  <a:gd name="T14" fmla="*/ 76 w 76"/>
                  <a:gd name="T15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6" h="83">
                    <a:moveTo>
                      <a:pt x="76" y="0"/>
                    </a:moveTo>
                    <a:cubicBezTo>
                      <a:pt x="0" y="83"/>
                      <a:pt x="0" y="83"/>
                      <a:pt x="0" y="83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" y="83"/>
                      <a:pt x="1" y="83"/>
                      <a:pt x="2" y="83"/>
                    </a:cubicBezTo>
                    <a:cubicBezTo>
                      <a:pt x="5" y="83"/>
                      <a:pt x="7" y="82"/>
                      <a:pt x="9" y="80"/>
                    </a:cubicBezTo>
                    <a:cubicBezTo>
                      <a:pt x="22" y="67"/>
                      <a:pt x="69" y="21"/>
                      <a:pt x="75" y="9"/>
                    </a:cubicBezTo>
                    <a:cubicBezTo>
                      <a:pt x="76" y="7"/>
                      <a:pt x="76" y="6"/>
                      <a:pt x="76" y="5"/>
                    </a:cubicBezTo>
                    <a:cubicBezTo>
                      <a:pt x="76" y="4"/>
                      <a:pt x="76" y="2"/>
                      <a:pt x="76" y="0"/>
                    </a:cubicBezTo>
                  </a:path>
                </a:pathLst>
              </a:custGeom>
              <a:solidFill>
                <a:srgbClr val="9FB7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0" name="任意多边形: 形状 609">
                <a:extLst>
                  <a:ext uri="{FF2B5EF4-FFF2-40B4-BE49-F238E27FC236}">
                    <a16:creationId xmlns:a16="http://schemas.microsoft.com/office/drawing/2014/main" id="{1C73D201-1F4E-47EF-9F9C-F63EFE7C87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7463" y="4225926"/>
                <a:ext cx="28575" cy="25400"/>
              </a:xfrm>
              <a:custGeom>
                <a:avLst/>
                <a:gdLst>
                  <a:gd name="T0" fmla="*/ 3 w 13"/>
                  <a:gd name="T1" fmla="*/ 1 h 11"/>
                  <a:gd name="T2" fmla="*/ 3 w 13"/>
                  <a:gd name="T3" fmla="*/ 1 h 11"/>
                  <a:gd name="T4" fmla="*/ 3 w 13"/>
                  <a:gd name="T5" fmla="*/ 1 h 11"/>
                  <a:gd name="T6" fmla="*/ 6 w 13"/>
                  <a:gd name="T7" fmla="*/ 0 h 11"/>
                  <a:gd name="T8" fmla="*/ 3 w 13"/>
                  <a:gd name="T9" fmla="*/ 1 h 11"/>
                  <a:gd name="T10" fmla="*/ 1 w 13"/>
                  <a:gd name="T11" fmla="*/ 9 h 11"/>
                  <a:gd name="T12" fmla="*/ 6 w 13"/>
                  <a:gd name="T13" fmla="*/ 11 h 11"/>
                  <a:gd name="T14" fmla="*/ 9 w 13"/>
                  <a:gd name="T15" fmla="*/ 10 h 11"/>
                  <a:gd name="T16" fmla="*/ 11 w 13"/>
                  <a:gd name="T17" fmla="*/ 2 h 11"/>
                  <a:gd name="T18" fmla="*/ 6 w 13"/>
                  <a:gd name="T1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1">
                    <a:moveTo>
                      <a:pt x="3" y="1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moveTo>
                      <a:pt x="6" y="0"/>
                    </a:moveTo>
                    <a:cubicBezTo>
                      <a:pt x="5" y="0"/>
                      <a:pt x="3" y="0"/>
                      <a:pt x="3" y="1"/>
                    </a:cubicBezTo>
                    <a:cubicBezTo>
                      <a:pt x="1" y="3"/>
                      <a:pt x="0" y="6"/>
                      <a:pt x="1" y="9"/>
                    </a:cubicBezTo>
                    <a:cubicBezTo>
                      <a:pt x="2" y="10"/>
                      <a:pt x="4" y="11"/>
                      <a:pt x="6" y="11"/>
                    </a:cubicBezTo>
                    <a:cubicBezTo>
                      <a:pt x="7" y="11"/>
                      <a:pt x="8" y="11"/>
                      <a:pt x="9" y="10"/>
                    </a:cubicBezTo>
                    <a:cubicBezTo>
                      <a:pt x="12" y="9"/>
                      <a:pt x="13" y="4"/>
                      <a:pt x="11" y="2"/>
                    </a:cubicBezTo>
                    <a:cubicBezTo>
                      <a:pt x="10" y="1"/>
                      <a:pt x="8" y="0"/>
                      <a:pt x="6" y="0"/>
                    </a:cubicBezTo>
                  </a:path>
                </a:pathLst>
              </a:custGeom>
              <a:solidFill>
                <a:srgbClr val="9FB7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1" name="任意多边形: 形状 610">
                <a:extLst>
                  <a:ext uri="{FF2B5EF4-FFF2-40B4-BE49-F238E27FC236}">
                    <a16:creationId xmlns:a16="http://schemas.microsoft.com/office/drawing/2014/main" id="{FF92AAF2-441B-4A6A-860A-F5D791CA52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9988" y="4365626"/>
                <a:ext cx="46038" cy="26988"/>
              </a:xfrm>
              <a:custGeom>
                <a:avLst/>
                <a:gdLst>
                  <a:gd name="T0" fmla="*/ 20 w 20"/>
                  <a:gd name="T1" fmla="*/ 12 h 12"/>
                  <a:gd name="T2" fmla="*/ 11 w 20"/>
                  <a:gd name="T3" fmla="*/ 4 h 12"/>
                  <a:gd name="T4" fmla="*/ 0 w 20"/>
                  <a:gd name="T5" fmla="*/ 2 h 12"/>
                  <a:gd name="T6" fmla="*/ 4 w 20"/>
                  <a:gd name="T7" fmla="*/ 1 h 12"/>
                  <a:gd name="T8" fmla="*/ 12 w 20"/>
                  <a:gd name="T9" fmla="*/ 2 h 12"/>
                  <a:gd name="T10" fmla="*/ 19 w 20"/>
                  <a:gd name="T11" fmla="*/ 8 h 12"/>
                  <a:gd name="T12" fmla="*/ 20 w 2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cubicBezTo>
                      <a:pt x="19" y="12"/>
                      <a:pt x="17" y="7"/>
                      <a:pt x="11" y="4"/>
                    </a:cubicBezTo>
                    <a:cubicBezTo>
                      <a:pt x="6" y="1"/>
                      <a:pt x="0" y="3"/>
                      <a:pt x="0" y="2"/>
                    </a:cubicBezTo>
                    <a:cubicBezTo>
                      <a:pt x="0" y="2"/>
                      <a:pt x="1" y="1"/>
                      <a:pt x="4" y="1"/>
                    </a:cubicBezTo>
                    <a:cubicBezTo>
                      <a:pt x="6" y="0"/>
                      <a:pt x="9" y="1"/>
                      <a:pt x="12" y="2"/>
                    </a:cubicBezTo>
                    <a:cubicBezTo>
                      <a:pt x="15" y="4"/>
                      <a:pt x="18" y="6"/>
                      <a:pt x="19" y="8"/>
                    </a:cubicBezTo>
                    <a:cubicBezTo>
                      <a:pt x="20" y="10"/>
                      <a:pt x="20" y="11"/>
                      <a:pt x="20" y="1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2" name="任意多边形: 形状 611">
                <a:extLst>
                  <a:ext uri="{FF2B5EF4-FFF2-40B4-BE49-F238E27FC236}">
                    <a16:creationId xmlns:a16="http://schemas.microsoft.com/office/drawing/2014/main" id="{111DDD38-9BA5-4AEB-8B53-2A0724D311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8876" y="4403726"/>
                <a:ext cx="42863" cy="19050"/>
              </a:xfrm>
              <a:custGeom>
                <a:avLst/>
                <a:gdLst>
                  <a:gd name="T0" fmla="*/ 18 w 19"/>
                  <a:gd name="T1" fmla="*/ 7 h 8"/>
                  <a:gd name="T2" fmla="*/ 10 w 19"/>
                  <a:gd name="T3" fmla="*/ 3 h 8"/>
                  <a:gd name="T4" fmla="*/ 0 w 19"/>
                  <a:gd name="T5" fmla="*/ 2 h 8"/>
                  <a:gd name="T6" fmla="*/ 10 w 19"/>
                  <a:gd name="T7" fmla="*/ 1 h 8"/>
                  <a:gd name="T8" fmla="*/ 18 w 19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8">
                    <a:moveTo>
                      <a:pt x="18" y="7"/>
                    </a:moveTo>
                    <a:cubicBezTo>
                      <a:pt x="18" y="8"/>
                      <a:pt x="15" y="5"/>
                      <a:pt x="10" y="3"/>
                    </a:cubicBezTo>
                    <a:cubicBezTo>
                      <a:pt x="5" y="2"/>
                      <a:pt x="0" y="3"/>
                      <a:pt x="0" y="2"/>
                    </a:cubicBezTo>
                    <a:cubicBezTo>
                      <a:pt x="0" y="2"/>
                      <a:pt x="4" y="0"/>
                      <a:pt x="10" y="1"/>
                    </a:cubicBezTo>
                    <a:cubicBezTo>
                      <a:pt x="16" y="3"/>
                      <a:pt x="19" y="7"/>
                      <a:pt x="18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3" name="任意多边形: 形状 612">
                <a:extLst>
                  <a:ext uri="{FF2B5EF4-FFF2-40B4-BE49-F238E27FC236}">
                    <a16:creationId xmlns:a16="http://schemas.microsoft.com/office/drawing/2014/main" id="{1B0DB589-4E69-4C8E-933C-B03A0EDF34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101" y="4325938"/>
                <a:ext cx="65088" cy="26988"/>
              </a:xfrm>
              <a:custGeom>
                <a:avLst/>
                <a:gdLst>
                  <a:gd name="T0" fmla="*/ 27 w 28"/>
                  <a:gd name="T1" fmla="*/ 12 h 12"/>
                  <a:gd name="T2" fmla="*/ 15 w 28"/>
                  <a:gd name="T3" fmla="*/ 5 h 12"/>
                  <a:gd name="T4" fmla="*/ 0 w 28"/>
                  <a:gd name="T5" fmla="*/ 1 h 12"/>
                  <a:gd name="T6" fmla="*/ 15 w 28"/>
                  <a:gd name="T7" fmla="*/ 3 h 12"/>
                  <a:gd name="T8" fmla="*/ 27 w 28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2">
                    <a:moveTo>
                      <a:pt x="27" y="12"/>
                    </a:moveTo>
                    <a:cubicBezTo>
                      <a:pt x="27" y="12"/>
                      <a:pt x="22" y="8"/>
                      <a:pt x="15" y="5"/>
                    </a:cubicBezTo>
                    <a:cubicBezTo>
                      <a:pt x="7" y="2"/>
                      <a:pt x="0" y="2"/>
                      <a:pt x="0" y="1"/>
                    </a:cubicBezTo>
                    <a:cubicBezTo>
                      <a:pt x="0" y="1"/>
                      <a:pt x="7" y="0"/>
                      <a:pt x="15" y="3"/>
                    </a:cubicBezTo>
                    <a:cubicBezTo>
                      <a:pt x="24" y="6"/>
                      <a:pt x="28" y="12"/>
                      <a:pt x="27" y="1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4" name="任意多边形: 形状 613">
                <a:extLst>
                  <a:ext uri="{FF2B5EF4-FFF2-40B4-BE49-F238E27FC236}">
                    <a16:creationId xmlns:a16="http://schemas.microsoft.com/office/drawing/2014/main" id="{42214B06-C6C1-42F7-B66D-78358C493C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6" y="4275138"/>
                <a:ext cx="57150" cy="12700"/>
              </a:xfrm>
              <a:custGeom>
                <a:avLst/>
                <a:gdLst>
                  <a:gd name="T0" fmla="*/ 25 w 25"/>
                  <a:gd name="T1" fmla="*/ 5 h 5"/>
                  <a:gd name="T2" fmla="*/ 12 w 25"/>
                  <a:gd name="T3" fmla="*/ 3 h 5"/>
                  <a:gd name="T4" fmla="*/ 0 w 25"/>
                  <a:gd name="T5" fmla="*/ 4 h 5"/>
                  <a:gd name="T6" fmla="*/ 13 w 25"/>
                  <a:gd name="T7" fmla="*/ 1 h 5"/>
                  <a:gd name="T8" fmla="*/ 25 w 25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5">
                    <a:moveTo>
                      <a:pt x="25" y="5"/>
                    </a:moveTo>
                    <a:cubicBezTo>
                      <a:pt x="25" y="5"/>
                      <a:pt x="19" y="3"/>
                      <a:pt x="12" y="3"/>
                    </a:cubicBezTo>
                    <a:cubicBezTo>
                      <a:pt x="6" y="2"/>
                      <a:pt x="0" y="4"/>
                      <a:pt x="0" y="4"/>
                    </a:cubicBezTo>
                    <a:cubicBezTo>
                      <a:pt x="0" y="3"/>
                      <a:pt x="5" y="0"/>
                      <a:pt x="13" y="1"/>
                    </a:cubicBezTo>
                    <a:cubicBezTo>
                      <a:pt x="20" y="1"/>
                      <a:pt x="25" y="4"/>
                      <a:pt x="25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8" name="任意多边形: 形状 757">
                <a:extLst>
                  <a:ext uri="{FF2B5EF4-FFF2-40B4-BE49-F238E27FC236}">
                    <a16:creationId xmlns:a16="http://schemas.microsoft.com/office/drawing/2014/main" id="{72DDDE8F-975F-4FC2-BEA8-32CED53A3A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9038" y="4211638"/>
                <a:ext cx="58738" cy="14288"/>
              </a:xfrm>
              <a:custGeom>
                <a:avLst/>
                <a:gdLst>
                  <a:gd name="T0" fmla="*/ 26 w 26"/>
                  <a:gd name="T1" fmla="*/ 4 h 6"/>
                  <a:gd name="T2" fmla="*/ 13 w 26"/>
                  <a:gd name="T3" fmla="*/ 2 h 6"/>
                  <a:gd name="T4" fmla="*/ 0 w 26"/>
                  <a:gd name="T5" fmla="*/ 5 h 6"/>
                  <a:gd name="T6" fmla="*/ 3 w 26"/>
                  <a:gd name="T7" fmla="*/ 3 h 6"/>
                  <a:gd name="T8" fmla="*/ 13 w 26"/>
                  <a:gd name="T9" fmla="*/ 0 h 6"/>
                  <a:gd name="T10" fmla="*/ 22 w 26"/>
                  <a:gd name="T11" fmla="*/ 2 h 6"/>
                  <a:gd name="T12" fmla="*/ 26 w 26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6">
                    <a:moveTo>
                      <a:pt x="26" y="4"/>
                    </a:moveTo>
                    <a:cubicBezTo>
                      <a:pt x="25" y="5"/>
                      <a:pt x="20" y="2"/>
                      <a:pt x="13" y="2"/>
                    </a:cubicBezTo>
                    <a:cubicBezTo>
                      <a:pt x="5" y="2"/>
                      <a:pt x="0" y="6"/>
                      <a:pt x="0" y="5"/>
                    </a:cubicBezTo>
                    <a:cubicBezTo>
                      <a:pt x="0" y="5"/>
                      <a:pt x="1" y="4"/>
                      <a:pt x="3" y="3"/>
                    </a:cubicBezTo>
                    <a:cubicBezTo>
                      <a:pt x="5" y="1"/>
                      <a:pt x="9" y="0"/>
                      <a:pt x="13" y="0"/>
                    </a:cubicBezTo>
                    <a:cubicBezTo>
                      <a:pt x="17" y="0"/>
                      <a:pt x="20" y="1"/>
                      <a:pt x="22" y="2"/>
                    </a:cubicBezTo>
                    <a:cubicBezTo>
                      <a:pt x="25" y="3"/>
                      <a:pt x="26" y="4"/>
                      <a:pt x="26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9" name="任意多边形: 形状 758">
                <a:extLst>
                  <a:ext uri="{FF2B5EF4-FFF2-40B4-BE49-F238E27FC236}">
                    <a16:creationId xmlns:a16="http://schemas.microsoft.com/office/drawing/2014/main" id="{AEF39771-C405-4F85-AE82-1AB57D852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101" y="4159251"/>
                <a:ext cx="66675" cy="46038"/>
              </a:xfrm>
              <a:custGeom>
                <a:avLst/>
                <a:gdLst>
                  <a:gd name="T0" fmla="*/ 16 w 29"/>
                  <a:gd name="T1" fmla="*/ 20 h 20"/>
                  <a:gd name="T2" fmla="*/ 16 w 29"/>
                  <a:gd name="T3" fmla="*/ 16 h 20"/>
                  <a:gd name="T4" fmla="*/ 19 w 29"/>
                  <a:gd name="T5" fmla="*/ 6 h 20"/>
                  <a:gd name="T6" fmla="*/ 23 w 29"/>
                  <a:gd name="T7" fmla="*/ 1 h 20"/>
                  <a:gd name="T8" fmla="*/ 28 w 29"/>
                  <a:gd name="T9" fmla="*/ 2 h 20"/>
                  <a:gd name="T10" fmla="*/ 29 w 29"/>
                  <a:gd name="T11" fmla="*/ 6 h 20"/>
                  <a:gd name="T12" fmla="*/ 17 w 29"/>
                  <a:gd name="T13" fmla="*/ 19 h 20"/>
                  <a:gd name="T14" fmla="*/ 1 w 29"/>
                  <a:gd name="T15" fmla="*/ 11 h 20"/>
                  <a:gd name="T16" fmla="*/ 1 w 29"/>
                  <a:gd name="T17" fmla="*/ 6 h 20"/>
                  <a:gd name="T18" fmla="*/ 5 w 29"/>
                  <a:gd name="T19" fmla="*/ 4 h 20"/>
                  <a:gd name="T20" fmla="*/ 11 w 29"/>
                  <a:gd name="T21" fmla="*/ 7 h 20"/>
                  <a:gd name="T22" fmla="*/ 18 w 29"/>
                  <a:gd name="T23" fmla="*/ 15 h 20"/>
                  <a:gd name="T24" fmla="*/ 20 w 29"/>
                  <a:gd name="T25" fmla="*/ 18 h 20"/>
                  <a:gd name="T26" fmla="*/ 10 w 29"/>
                  <a:gd name="T27" fmla="*/ 9 h 20"/>
                  <a:gd name="T28" fmla="*/ 5 w 29"/>
                  <a:gd name="T29" fmla="*/ 6 h 20"/>
                  <a:gd name="T30" fmla="*/ 3 w 29"/>
                  <a:gd name="T31" fmla="*/ 7 h 20"/>
                  <a:gd name="T32" fmla="*/ 3 w 29"/>
                  <a:gd name="T33" fmla="*/ 10 h 20"/>
                  <a:gd name="T34" fmla="*/ 17 w 29"/>
                  <a:gd name="T35" fmla="*/ 17 h 20"/>
                  <a:gd name="T36" fmla="*/ 27 w 29"/>
                  <a:gd name="T37" fmla="*/ 6 h 20"/>
                  <a:gd name="T38" fmla="*/ 26 w 29"/>
                  <a:gd name="T39" fmla="*/ 3 h 20"/>
                  <a:gd name="T40" fmla="*/ 24 w 29"/>
                  <a:gd name="T41" fmla="*/ 3 h 20"/>
                  <a:gd name="T42" fmla="*/ 20 w 29"/>
                  <a:gd name="T43" fmla="*/ 7 h 20"/>
                  <a:gd name="T44" fmla="*/ 16 w 29"/>
                  <a:gd name="T4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9" h="20">
                    <a:moveTo>
                      <a:pt x="16" y="20"/>
                    </a:moveTo>
                    <a:cubicBezTo>
                      <a:pt x="16" y="20"/>
                      <a:pt x="16" y="18"/>
                      <a:pt x="16" y="16"/>
                    </a:cubicBezTo>
                    <a:cubicBezTo>
                      <a:pt x="16" y="14"/>
                      <a:pt x="17" y="10"/>
                      <a:pt x="19" y="6"/>
                    </a:cubicBezTo>
                    <a:cubicBezTo>
                      <a:pt x="20" y="5"/>
                      <a:pt x="21" y="2"/>
                      <a:pt x="23" y="1"/>
                    </a:cubicBezTo>
                    <a:cubicBezTo>
                      <a:pt x="25" y="0"/>
                      <a:pt x="27" y="1"/>
                      <a:pt x="28" y="2"/>
                    </a:cubicBezTo>
                    <a:cubicBezTo>
                      <a:pt x="29" y="3"/>
                      <a:pt x="29" y="5"/>
                      <a:pt x="29" y="6"/>
                    </a:cubicBezTo>
                    <a:cubicBezTo>
                      <a:pt x="29" y="12"/>
                      <a:pt x="24" y="18"/>
                      <a:pt x="17" y="19"/>
                    </a:cubicBezTo>
                    <a:cubicBezTo>
                      <a:pt x="10" y="20"/>
                      <a:pt x="4" y="16"/>
                      <a:pt x="1" y="11"/>
                    </a:cubicBezTo>
                    <a:cubicBezTo>
                      <a:pt x="1" y="10"/>
                      <a:pt x="0" y="8"/>
                      <a:pt x="1" y="6"/>
                    </a:cubicBezTo>
                    <a:cubicBezTo>
                      <a:pt x="2" y="5"/>
                      <a:pt x="4" y="4"/>
                      <a:pt x="5" y="4"/>
                    </a:cubicBezTo>
                    <a:cubicBezTo>
                      <a:pt x="8" y="5"/>
                      <a:pt x="10" y="6"/>
                      <a:pt x="11" y="7"/>
                    </a:cubicBezTo>
                    <a:cubicBezTo>
                      <a:pt x="15" y="10"/>
                      <a:pt x="17" y="13"/>
                      <a:pt x="18" y="15"/>
                    </a:cubicBezTo>
                    <a:cubicBezTo>
                      <a:pt x="19" y="17"/>
                      <a:pt x="20" y="18"/>
                      <a:pt x="20" y="18"/>
                    </a:cubicBezTo>
                    <a:cubicBezTo>
                      <a:pt x="19" y="18"/>
                      <a:pt x="17" y="13"/>
                      <a:pt x="10" y="9"/>
                    </a:cubicBezTo>
                    <a:cubicBezTo>
                      <a:pt x="9" y="7"/>
                      <a:pt x="7" y="6"/>
                      <a:pt x="5" y="6"/>
                    </a:cubicBezTo>
                    <a:cubicBezTo>
                      <a:pt x="4" y="6"/>
                      <a:pt x="3" y="6"/>
                      <a:pt x="3" y="7"/>
                    </a:cubicBezTo>
                    <a:cubicBezTo>
                      <a:pt x="2" y="8"/>
                      <a:pt x="3" y="9"/>
                      <a:pt x="3" y="10"/>
                    </a:cubicBezTo>
                    <a:cubicBezTo>
                      <a:pt x="5" y="14"/>
                      <a:pt x="11" y="18"/>
                      <a:pt x="17" y="17"/>
                    </a:cubicBezTo>
                    <a:cubicBezTo>
                      <a:pt x="23" y="16"/>
                      <a:pt x="27" y="11"/>
                      <a:pt x="27" y="6"/>
                    </a:cubicBezTo>
                    <a:cubicBezTo>
                      <a:pt x="27" y="5"/>
                      <a:pt x="27" y="4"/>
                      <a:pt x="26" y="3"/>
                    </a:cubicBezTo>
                    <a:cubicBezTo>
                      <a:pt x="26" y="2"/>
                      <a:pt x="25" y="2"/>
                      <a:pt x="24" y="3"/>
                    </a:cubicBezTo>
                    <a:cubicBezTo>
                      <a:pt x="22" y="3"/>
                      <a:pt x="21" y="5"/>
                      <a:pt x="20" y="7"/>
                    </a:cubicBezTo>
                    <a:cubicBezTo>
                      <a:pt x="16" y="14"/>
                      <a:pt x="16" y="20"/>
                      <a:pt x="16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0" name="任意多边形: 形状 759">
                <a:extLst>
                  <a:ext uri="{FF2B5EF4-FFF2-40B4-BE49-F238E27FC236}">
                    <a16:creationId xmlns:a16="http://schemas.microsoft.com/office/drawing/2014/main" id="{D016ADAF-D48D-4860-A2DF-FE82289672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213" y="2840038"/>
                <a:ext cx="612775" cy="1320800"/>
              </a:xfrm>
              <a:custGeom>
                <a:avLst/>
                <a:gdLst>
                  <a:gd name="T0" fmla="*/ 102 w 268"/>
                  <a:gd name="T1" fmla="*/ 24 h 578"/>
                  <a:gd name="T2" fmla="*/ 1 w 268"/>
                  <a:gd name="T3" fmla="*/ 244 h 578"/>
                  <a:gd name="T4" fmla="*/ 1 w 268"/>
                  <a:gd name="T5" fmla="*/ 578 h 578"/>
                  <a:gd name="T6" fmla="*/ 155 w 268"/>
                  <a:gd name="T7" fmla="*/ 578 h 578"/>
                  <a:gd name="T8" fmla="*/ 177 w 268"/>
                  <a:gd name="T9" fmla="*/ 411 h 578"/>
                  <a:gd name="T10" fmla="*/ 156 w 268"/>
                  <a:gd name="T11" fmla="*/ 212 h 578"/>
                  <a:gd name="T12" fmla="*/ 244 w 268"/>
                  <a:gd name="T13" fmla="*/ 212 h 578"/>
                  <a:gd name="T14" fmla="*/ 267 w 268"/>
                  <a:gd name="T15" fmla="*/ 153 h 578"/>
                  <a:gd name="T16" fmla="*/ 243 w 268"/>
                  <a:gd name="T17" fmla="*/ 78 h 578"/>
                  <a:gd name="T18" fmla="*/ 187 w 268"/>
                  <a:gd name="T19" fmla="*/ 0 h 578"/>
                  <a:gd name="T20" fmla="*/ 102 w 268"/>
                  <a:gd name="T21" fmla="*/ 24 h 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8" h="578">
                    <a:moveTo>
                      <a:pt x="102" y="24"/>
                    </a:moveTo>
                    <a:cubicBezTo>
                      <a:pt x="102" y="24"/>
                      <a:pt x="3" y="211"/>
                      <a:pt x="1" y="244"/>
                    </a:cubicBezTo>
                    <a:cubicBezTo>
                      <a:pt x="0" y="277"/>
                      <a:pt x="1" y="578"/>
                      <a:pt x="1" y="578"/>
                    </a:cubicBezTo>
                    <a:cubicBezTo>
                      <a:pt x="155" y="578"/>
                      <a:pt x="155" y="578"/>
                      <a:pt x="155" y="578"/>
                    </a:cubicBezTo>
                    <a:cubicBezTo>
                      <a:pt x="159" y="578"/>
                      <a:pt x="182" y="442"/>
                      <a:pt x="177" y="411"/>
                    </a:cubicBezTo>
                    <a:cubicBezTo>
                      <a:pt x="172" y="380"/>
                      <a:pt x="156" y="212"/>
                      <a:pt x="156" y="212"/>
                    </a:cubicBezTo>
                    <a:cubicBezTo>
                      <a:pt x="244" y="212"/>
                      <a:pt x="244" y="212"/>
                      <a:pt x="244" y="212"/>
                    </a:cubicBezTo>
                    <a:cubicBezTo>
                      <a:pt x="244" y="212"/>
                      <a:pt x="268" y="186"/>
                      <a:pt x="267" y="153"/>
                    </a:cubicBezTo>
                    <a:cubicBezTo>
                      <a:pt x="267" y="135"/>
                      <a:pt x="255" y="98"/>
                      <a:pt x="243" y="78"/>
                    </a:cubicBezTo>
                    <a:cubicBezTo>
                      <a:pt x="236" y="66"/>
                      <a:pt x="187" y="0"/>
                      <a:pt x="187" y="0"/>
                    </a:cubicBezTo>
                    <a:lnTo>
                      <a:pt x="102" y="24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1" name="任意多边形: 形状 760">
                <a:extLst>
                  <a:ext uri="{FF2B5EF4-FFF2-40B4-BE49-F238E27FC236}">
                    <a16:creationId xmlns:a16="http://schemas.microsoft.com/office/drawing/2014/main" id="{4DDA60FB-F7F8-482B-B2C9-9431664EAB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8863" y="2924176"/>
                <a:ext cx="223838" cy="971550"/>
              </a:xfrm>
              <a:custGeom>
                <a:avLst/>
                <a:gdLst>
                  <a:gd name="T0" fmla="*/ 98 w 98"/>
                  <a:gd name="T1" fmla="*/ 0 h 425"/>
                  <a:gd name="T2" fmla="*/ 98 w 98"/>
                  <a:gd name="T3" fmla="*/ 1 h 425"/>
                  <a:gd name="T4" fmla="*/ 96 w 98"/>
                  <a:gd name="T5" fmla="*/ 4 h 425"/>
                  <a:gd name="T6" fmla="*/ 90 w 98"/>
                  <a:gd name="T7" fmla="*/ 16 h 425"/>
                  <a:gd name="T8" fmla="*/ 81 w 98"/>
                  <a:gd name="T9" fmla="*/ 34 h 425"/>
                  <a:gd name="T10" fmla="*/ 75 w 98"/>
                  <a:gd name="T11" fmla="*/ 45 h 425"/>
                  <a:gd name="T12" fmla="*/ 69 w 98"/>
                  <a:gd name="T13" fmla="*/ 59 h 425"/>
                  <a:gd name="T14" fmla="*/ 39 w 98"/>
                  <a:gd name="T15" fmla="*/ 123 h 425"/>
                  <a:gd name="T16" fmla="*/ 22 w 98"/>
                  <a:gd name="T17" fmla="*/ 161 h 425"/>
                  <a:gd name="T18" fmla="*/ 12 w 98"/>
                  <a:gd name="T19" fmla="*/ 181 h 425"/>
                  <a:gd name="T20" fmla="*/ 6 w 98"/>
                  <a:gd name="T21" fmla="*/ 203 h 425"/>
                  <a:gd name="T22" fmla="*/ 3 w 98"/>
                  <a:gd name="T23" fmla="*/ 225 h 425"/>
                  <a:gd name="T24" fmla="*/ 3 w 98"/>
                  <a:gd name="T25" fmla="*/ 247 h 425"/>
                  <a:gd name="T26" fmla="*/ 2 w 98"/>
                  <a:gd name="T27" fmla="*/ 289 h 425"/>
                  <a:gd name="T28" fmla="*/ 3 w 98"/>
                  <a:gd name="T29" fmla="*/ 360 h 425"/>
                  <a:gd name="T30" fmla="*/ 4 w 98"/>
                  <a:gd name="T31" fmla="*/ 408 h 425"/>
                  <a:gd name="T32" fmla="*/ 4 w 98"/>
                  <a:gd name="T33" fmla="*/ 421 h 425"/>
                  <a:gd name="T34" fmla="*/ 4 w 98"/>
                  <a:gd name="T35" fmla="*/ 424 h 425"/>
                  <a:gd name="T36" fmla="*/ 4 w 98"/>
                  <a:gd name="T37" fmla="*/ 425 h 425"/>
                  <a:gd name="T38" fmla="*/ 4 w 98"/>
                  <a:gd name="T39" fmla="*/ 424 h 425"/>
                  <a:gd name="T40" fmla="*/ 3 w 98"/>
                  <a:gd name="T41" fmla="*/ 421 h 425"/>
                  <a:gd name="T42" fmla="*/ 3 w 98"/>
                  <a:gd name="T43" fmla="*/ 408 h 425"/>
                  <a:gd name="T44" fmla="*/ 2 w 98"/>
                  <a:gd name="T45" fmla="*/ 360 h 425"/>
                  <a:gd name="T46" fmla="*/ 0 w 98"/>
                  <a:gd name="T47" fmla="*/ 289 h 425"/>
                  <a:gd name="T48" fmla="*/ 1 w 98"/>
                  <a:gd name="T49" fmla="*/ 247 h 425"/>
                  <a:gd name="T50" fmla="*/ 1 w 98"/>
                  <a:gd name="T51" fmla="*/ 225 h 425"/>
                  <a:gd name="T52" fmla="*/ 3 w 98"/>
                  <a:gd name="T53" fmla="*/ 202 h 425"/>
                  <a:gd name="T54" fmla="*/ 10 w 98"/>
                  <a:gd name="T55" fmla="*/ 180 h 425"/>
                  <a:gd name="T56" fmla="*/ 20 w 98"/>
                  <a:gd name="T57" fmla="*/ 160 h 425"/>
                  <a:gd name="T58" fmla="*/ 38 w 98"/>
                  <a:gd name="T59" fmla="*/ 122 h 425"/>
                  <a:gd name="T60" fmla="*/ 68 w 98"/>
                  <a:gd name="T61" fmla="*/ 58 h 425"/>
                  <a:gd name="T62" fmla="*/ 74 w 98"/>
                  <a:gd name="T63" fmla="*/ 45 h 425"/>
                  <a:gd name="T64" fmla="*/ 80 w 98"/>
                  <a:gd name="T65" fmla="*/ 33 h 425"/>
                  <a:gd name="T66" fmla="*/ 90 w 98"/>
                  <a:gd name="T67" fmla="*/ 15 h 425"/>
                  <a:gd name="T68" fmla="*/ 96 w 98"/>
                  <a:gd name="T69" fmla="*/ 4 h 425"/>
                  <a:gd name="T70" fmla="*/ 97 w 98"/>
                  <a:gd name="T71" fmla="*/ 1 h 425"/>
                  <a:gd name="T72" fmla="*/ 98 w 98"/>
                  <a:gd name="T7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98" h="425">
                    <a:moveTo>
                      <a:pt x="98" y="0"/>
                    </a:moveTo>
                    <a:cubicBezTo>
                      <a:pt x="98" y="0"/>
                      <a:pt x="98" y="0"/>
                      <a:pt x="98" y="1"/>
                    </a:cubicBezTo>
                    <a:cubicBezTo>
                      <a:pt x="97" y="2"/>
                      <a:pt x="97" y="3"/>
                      <a:pt x="96" y="4"/>
                    </a:cubicBezTo>
                    <a:cubicBezTo>
                      <a:pt x="95" y="7"/>
                      <a:pt x="93" y="11"/>
                      <a:pt x="90" y="16"/>
                    </a:cubicBezTo>
                    <a:cubicBezTo>
                      <a:pt x="88" y="21"/>
                      <a:pt x="85" y="27"/>
                      <a:pt x="81" y="34"/>
                    </a:cubicBezTo>
                    <a:cubicBezTo>
                      <a:pt x="79" y="38"/>
                      <a:pt x="77" y="41"/>
                      <a:pt x="75" y="45"/>
                    </a:cubicBezTo>
                    <a:cubicBezTo>
                      <a:pt x="73" y="50"/>
                      <a:pt x="71" y="54"/>
                      <a:pt x="69" y="59"/>
                    </a:cubicBezTo>
                    <a:cubicBezTo>
                      <a:pt x="61" y="77"/>
                      <a:pt x="51" y="99"/>
                      <a:pt x="39" y="123"/>
                    </a:cubicBezTo>
                    <a:cubicBezTo>
                      <a:pt x="34" y="135"/>
                      <a:pt x="28" y="148"/>
                      <a:pt x="22" y="161"/>
                    </a:cubicBezTo>
                    <a:cubicBezTo>
                      <a:pt x="19" y="167"/>
                      <a:pt x="15" y="174"/>
                      <a:pt x="12" y="181"/>
                    </a:cubicBezTo>
                    <a:cubicBezTo>
                      <a:pt x="9" y="188"/>
                      <a:pt x="7" y="195"/>
                      <a:pt x="6" y="203"/>
                    </a:cubicBezTo>
                    <a:cubicBezTo>
                      <a:pt x="4" y="210"/>
                      <a:pt x="3" y="217"/>
                      <a:pt x="3" y="225"/>
                    </a:cubicBezTo>
                    <a:cubicBezTo>
                      <a:pt x="3" y="233"/>
                      <a:pt x="3" y="240"/>
                      <a:pt x="3" y="247"/>
                    </a:cubicBezTo>
                    <a:cubicBezTo>
                      <a:pt x="2" y="262"/>
                      <a:pt x="2" y="276"/>
                      <a:pt x="2" y="289"/>
                    </a:cubicBezTo>
                    <a:cubicBezTo>
                      <a:pt x="2" y="316"/>
                      <a:pt x="3" y="340"/>
                      <a:pt x="3" y="360"/>
                    </a:cubicBezTo>
                    <a:cubicBezTo>
                      <a:pt x="3" y="380"/>
                      <a:pt x="4" y="396"/>
                      <a:pt x="4" y="408"/>
                    </a:cubicBezTo>
                    <a:cubicBezTo>
                      <a:pt x="4" y="413"/>
                      <a:pt x="4" y="418"/>
                      <a:pt x="4" y="421"/>
                    </a:cubicBezTo>
                    <a:cubicBezTo>
                      <a:pt x="4" y="422"/>
                      <a:pt x="4" y="423"/>
                      <a:pt x="4" y="424"/>
                    </a:cubicBezTo>
                    <a:cubicBezTo>
                      <a:pt x="4" y="425"/>
                      <a:pt x="4" y="425"/>
                      <a:pt x="4" y="425"/>
                    </a:cubicBezTo>
                    <a:cubicBezTo>
                      <a:pt x="4" y="425"/>
                      <a:pt x="4" y="425"/>
                      <a:pt x="4" y="424"/>
                    </a:cubicBezTo>
                    <a:cubicBezTo>
                      <a:pt x="4" y="423"/>
                      <a:pt x="4" y="422"/>
                      <a:pt x="3" y="421"/>
                    </a:cubicBezTo>
                    <a:cubicBezTo>
                      <a:pt x="3" y="418"/>
                      <a:pt x="3" y="413"/>
                      <a:pt x="3" y="408"/>
                    </a:cubicBezTo>
                    <a:cubicBezTo>
                      <a:pt x="2" y="397"/>
                      <a:pt x="2" y="380"/>
                      <a:pt x="2" y="360"/>
                    </a:cubicBezTo>
                    <a:cubicBezTo>
                      <a:pt x="1" y="340"/>
                      <a:pt x="1" y="316"/>
                      <a:pt x="0" y="289"/>
                    </a:cubicBezTo>
                    <a:cubicBezTo>
                      <a:pt x="0" y="276"/>
                      <a:pt x="0" y="262"/>
                      <a:pt x="1" y="247"/>
                    </a:cubicBezTo>
                    <a:cubicBezTo>
                      <a:pt x="1" y="240"/>
                      <a:pt x="1" y="232"/>
                      <a:pt x="1" y="225"/>
                    </a:cubicBezTo>
                    <a:cubicBezTo>
                      <a:pt x="1" y="217"/>
                      <a:pt x="2" y="210"/>
                      <a:pt x="3" y="202"/>
                    </a:cubicBezTo>
                    <a:cubicBezTo>
                      <a:pt x="5" y="194"/>
                      <a:pt x="7" y="187"/>
                      <a:pt x="10" y="180"/>
                    </a:cubicBezTo>
                    <a:cubicBezTo>
                      <a:pt x="14" y="173"/>
                      <a:pt x="17" y="167"/>
                      <a:pt x="20" y="160"/>
                    </a:cubicBezTo>
                    <a:cubicBezTo>
                      <a:pt x="26" y="147"/>
                      <a:pt x="32" y="134"/>
                      <a:pt x="38" y="122"/>
                    </a:cubicBezTo>
                    <a:cubicBezTo>
                      <a:pt x="49" y="98"/>
                      <a:pt x="59" y="76"/>
                      <a:pt x="68" y="58"/>
                    </a:cubicBezTo>
                    <a:cubicBezTo>
                      <a:pt x="70" y="53"/>
                      <a:pt x="72" y="49"/>
                      <a:pt x="74" y="45"/>
                    </a:cubicBezTo>
                    <a:cubicBezTo>
                      <a:pt x="76" y="41"/>
                      <a:pt x="78" y="37"/>
                      <a:pt x="80" y="33"/>
                    </a:cubicBezTo>
                    <a:cubicBezTo>
                      <a:pt x="84" y="26"/>
                      <a:pt x="87" y="20"/>
                      <a:pt x="90" y="15"/>
                    </a:cubicBezTo>
                    <a:cubicBezTo>
                      <a:pt x="92" y="10"/>
                      <a:pt x="94" y="6"/>
                      <a:pt x="96" y="4"/>
                    </a:cubicBezTo>
                    <a:cubicBezTo>
                      <a:pt x="96" y="2"/>
                      <a:pt x="97" y="2"/>
                      <a:pt x="97" y="1"/>
                    </a:cubicBezTo>
                    <a:cubicBezTo>
                      <a:pt x="98" y="0"/>
                      <a:pt x="98" y="0"/>
                      <a:pt x="98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2" name="任意多边形: 形状 761">
                <a:extLst>
                  <a:ext uri="{FF2B5EF4-FFF2-40B4-BE49-F238E27FC236}">
                    <a16:creationId xmlns:a16="http://schemas.microsoft.com/office/drawing/2014/main" id="{6CA1A5B8-3C60-4EEE-BD62-11036021A7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4751" y="2960688"/>
                <a:ext cx="34925" cy="111125"/>
              </a:xfrm>
              <a:custGeom>
                <a:avLst/>
                <a:gdLst>
                  <a:gd name="T0" fmla="*/ 15 w 15"/>
                  <a:gd name="T1" fmla="*/ 48 h 48"/>
                  <a:gd name="T2" fmla="*/ 7 w 15"/>
                  <a:gd name="T3" fmla="*/ 24 h 48"/>
                  <a:gd name="T4" fmla="*/ 0 w 15"/>
                  <a:gd name="T5" fmla="*/ 0 h 48"/>
                  <a:gd name="T6" fmla="*/ 9 w 15"/>
                  <a:gd name="T7" fmla="*/ 24 h 48"/>
                  <a:gd name="T8" fmla="*/ 15 w 15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48">
                    <a:moveTo>
                      <a:pt x="15" y="48"/>
                    </a:moveTo>
                    <a:cubicBezTo>
                      <a:pt x="14" y="48"/>
                      <a:pt x="11" y="37"/>
                      <a:pt x="7" y="24"/>
                    </a:cubicBezTo>
                    <a:cubicBezTo>
                      <a:pt x="3" y="11"/>
                      <a:pt x="0" y="1"/>
                      <a:pt x="0" y="0"/>
                    </a:cubicBezTo>
                    <a:cubicBezTo>
                      <a:pt x="1" y="0"/>
                      <a:pt x="5" y="11"/>
                      <a:pt x="9" y="24"/>
                    </a:cubicBezTo>
                    <a:cubicBezTo>
                      <a:pt x="13" y="37"/>
                      <a:pt x="15" y="47"/>
                      <a:pt x="15" y="48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3" name="任意多边形: 形状 762">
                <a:extLst>
                  <a:ext uri="{FF2B5EF4-FFF2-40B4-BE49-F238E27FC236}">
                    <a16:creationId xmlns:a16="http://schemas.microsoft.com/office/drawing/2014/main" id="{E00654EF-E169-4226-A881-2888C21AF4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9226" y="3284538"/>
                <a:ext cx="50800" cy="481013"/>
              </a:xfrm>
              <a:custGeom>
                <a:avLst/>
                <a:gdLst>
                  <a:gd name="T0" fmla="*/ 22 w 22"/>
                  <a:gd name="T1" fmla="*/ 211 h 211"/>
                  <a:gd name="T2" fmla="*/ 22 w 22"/>
                  <a:gd name="T3" fmla="*/ 209 h 211"/>
                  <a:gd name="T4" fmla="*/ 21 w 22"/>
                  <a:gd name="T5" fmla="*/ 203 h 211"/>
                  <a:gd name="T6" fmla="*/ 18 w 22"/>
                  <a:gd name="T7" fmla="*/ 180 h 211"/>
                  <a:gd name="T8" fmla="*/ 10 w 22"/>
                  <a:gd name="T9" fmla="*/ 106 h 211"/>
                  <a:gd name="T10" fmla="*/ 2 w 22"/>
                  <a:gd name="T11" fmla="*/ 31 h 211"/>
                  <a:gd name="T12" fmla="*/ 0 w 22"/>
                  <a:gd name="T13" fmla="*/ 8 h 211"/>
                  <a:gd name="T14" fmla="*/ 0 w 22"/>
                  <a:gd name="T15" fmla="*/ 2 h 211"/>
                  <a:gd name="T16" fmla="*/ 0 w 22"/>
                  <a:gd name="T17" fmla="*/ 0 h 211"/>
                  <a:gd name="T18" fmla="*/ 0 w 22"/>
                  <a:gd name="T19" fmla="*/ 2 h 211"/>
                  <a:gd name="T20" fmla="*/ 1 w 22"/>
                  <a:gd name="T21" fmla="*/ 8 h 211"/>
                  <a:gd name="T22" fmla="*/ 4 w 22"/>
                  <a:gd name="T23" fmla="*/ 31 h 211"/>
                  <a:gd name="T24" fmla="*/ 12 w 22"/>
                  <a:gd name="T25" fmla="*/ 105 h 211"/>
                  <a:gd name="T26" fmla="*/ 20 w 22"/>
                  <a:gd name="T27" fmla="*/ 180 h 211"/>
                  <a:gd name="T28" fmla="*/ 22 w 22"/>
                  <a:gd name="T29" fmla="*/ 203 h 211"/>
                  <a:gd name="T30" fmla="*/ 22 w 22"/>
                  <a:gd name="T31" fmla="*/ 209 h 211"/>
                  <a:gd name="T32" fmla="*/ 22 w 22"/>
                  <a:gd name="T33" fmla="*/ 21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2" h="211">
                    <a:moveTo>
                      <a:pt x="22" y="211"/>
                    </a:moveTo>
                    <a:cubicBezTo>
                      <a:pt x="22" y="211"/>
                      <a:pt x="22" y="210"/>
                      <a:pt x="22" y="209"/>
                    </a:cubicBezTo>
                    <a:cubicBezTo>
                      <a:pt x="22" y="207"/>
                      <a:pt x="21" y="205"/>
                      <a:pt x="21" y="203"/>
                    </a:cubicBezTo>
                    <a:cubicBezTo>
                      <a:pt x="20" y="197"/>
                      <a:pt x="19" y="190"/>
                      <a:pt x="18" y="180"/>
                    </a:cubicBezTo>
                    <a:cubicBezTo>
                      <a:pt x="16" y="161"/>
                      <a:pt x="13" y="135"/>
                      <a:pt x="10" y="106"/>
                    </a:cubicBezTo>
                    <a:cubicBezTo>
                      <a:pt x="6" y="76"/>
                      <a:pt x="4" y="50"/>
                      <a:pt x="2" y="31"/>
                    </a:cubicBezTo>
                    <a:cubicBezTo>
                      <a:pt x="1" y="21"/>
                      <a:pt x="1" y="14"/>
                      <a:pt x="0" y="8"/>
                    </a:cubicBezTo>
                    <a:cubicBezTo>
                      <a:pt x="0" y="6"/>
                      <a:pt x="0" y="4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4"/>
                      <a:pt x="1" y="6"/>
                      <a:pt x="1" y="8"/>
                    </a:cubicBezTo>
                    <a:cubicBezTo>
                      <a:pt x="2" y="14"/>
                      <a:pt x="2" y="21"/>
                      <a:pt x="4" y="31"/>
                    </a:cubicBezTo>
                    <a:cubicBezTo>
                      <a:pt x="6" y="50"/>
                      <a:pt x="9" y="76"/>
                      <a:pt x="12" y="105"/>
                    </a:cubicBezTo>
                    <a:cubicBezTo>
                      <a:pt x="15" y="134"/>
                      <a:pt x="18" y="161"/>
                      <a:pt x="20" y="180"/>
                    </a:cubicBezTo>
                    <a:cubicBezTo>
                      <a:pt x="20" y="189"/>
                      <a:pt x="21" y="197"/>
                      <a:pt x="22" y="203"/>
                    </a:cubicBezTo>
                    <a:cubicBezTo>
                      <a:pt x="22" y="205"/>
                      <a:pt x="22" y="207"/>
                      <a:pt x="22" y="209"/>
                    </a:cubicBezTo>
                    <a:cubicBezTo>
                      <a:pt x="22" y="210"/>
                      <a:pt x="22" y="211"/>
                      <a:pt x="22" y="21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4" name="任意多边形: 形状 763">
                <a:extLst>
                  <a:ext uri="{FF2B5EF4-FFF2-40B4-BE49-F238E27FC236}">
                    <a16:creationId xmlns:a16="http://schemas.microsoft.com/office/drawing/2014/main" id="{CEFD1007-459E-4C7D-9B65-B87253D1D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6363" y="1668463"/>
                <a:ext cx="173038" cy="211138"/>
              </a:xfrm>
              <a:custGeom>
                <a:avLst/>
                <a:gdLst>
                  <a:gd name="T0" fmla="*/ 2 w 76"/>
                  <a:gd name="T1" fmla="*/ 35 h 93"/>
                  <a:gd name="T2" fmla="*/ 29 w 76"/>
                  <a:gd name="T3" fmla="*/ 2 h 93"/>
                  <a:gd name="T4" fmla="*/ 69 w 76"/>
                  <a:gd name="T5" fmla="*/ 25 h 93"/>
                  <a:gd name="T6" fmla="*/ 70 w 76"/>
                  <a:gd name="T7" fmla="*/ 71 h 93"/>
                  <a:gd name="T8" fmla="*/ 48 w 76"/>
                  <a:gd name="T9" fmla="*/ 92 h 93"/>
                  <a:gd name="T10" fmla="*/ 21 w 76"/>
                  <a:gd name="T11" fmla="*/ 7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6" h="93">
                    <a:moveTo>
                      <a:pt x="2" y="35"/>
                    </a:moveTo>
                    <a:cubicBezTo>
                      <a:pt x="0" y="20"/>
                      <a:pt x="14" y="4"/>
                      <a:pt x="29" y="2"/>
                    </a:cubicBezTo>
                    <a:cubicBezTo>
                      <a:pt x="45" y="0"/>
                      <a:pt x="61" y="10"/>
                      <a:pt x="69" y="25"/>
                    </a:cubicBezTo>
                    <a:cubicBezTo>
                      <a:pt x="76" y="39"/>
                      <a:pt x="75" y="56"/>
                      <a:pt x="70" y="71"/>
                    </a:cubicBezTo>
                    <a:cubicBezTo>
                      <a:pt x="66" y="81"/>
                      <a:pt x="58" y="92"/>
                      <a:pt x="48" y="92"/>
                    </a:cubicBezTo>
                    <a:cubicBezTo>
                      <a:pt x="37" y="93"/>
                      <a:pt x="29" y="85"/>
                      <a:pt x="21" y="77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5" name="任意多边形: 形状 764">
                <a:extLst>
                  <a:ext uri="{FF2B5EF4-FFF2-40B4-BE49-F238E27FC236}">
                    <a16:creationId xmlns:a16="http://schemas.microsoft.com/office/drawing/2014/main" id="{96A2E4AC-6C59-4D01-896B-04BB95C638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26" y="1689101"/>
                <a:ext cx="423863" cy="396875"/>
              </a:xfrm>
              <a:custGeom>
                <a:avLst/>
                <a:gdLst>
                  <a:gd name="T0" fmla="*/ 32 w 185"/>
                  <a:gd name="T1" fmla="*/ 106 h 174"/>
                  <a:gd name="T2" fmla="*/ 117 w 185"/>
                  <a:gd name="T3" fmla="*/ 12 h 174"/>
                  <a:gd name="T4" fmla="*/ 179 w 185"/>
                  <a:gd name="T5" fmla="*/ 68 h 174"/>
                  <a:gd name="T6" fmla="*/ 175 w 185"/>
                  <a:gd name="T7" fmla="*/ 147 h 174"/>
                  <a:gd name="T8" fmla="*/ 148 w 185"/>
                  <a:gd name="T9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5" h="174">
                    <a:moveTo>
                      <a:pt x="32" y="106"/>
                    </a:moveTo>
                    <a:cubicBezTo>
                      <a:pt x="0" y="36"/>
                      <a:pt x="76" y="0"/>
                      <a:pt x="117" y="12"/>
                    </a:cubicBezTo>
                    <a:cubicBezTo>
                      <a:pt x="156" y="23"/>
                      <a:pt x="172" y="42"/>
                      <a:pt x="179" y="68"/>
                    </a:cubicBezTo>
                    <a:cubicBezTo>
                      <a:pt x="185" y="94"/>
                      <a:pt x="185" y="123"/>
                      <a:pt x="175" y="147"/>
                    </a:cubicBezTo>
                    <a:cubicBezTo>
                      <a:pt x="170" y="160"/>
                      <a:pt x="161" y="172"/>
                      <a:pt x="148" y="17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6" name="任意多边形: 形状 765">
                <a:extLst>
                  <a:ext uri="{FF2B5EF4-FFF2-40B4-BE49-F238E27FC236}">
                    <a16:creationId xmlns:a16="http://schemas.microsoft.com/office/drawing/2014/main" id="{55174D66-E851-4324-8937-EF659C4D1F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0776" y="1758951"/>
                <a:ext cx="282575" cy="560388"/>
              </a:xfrm>
              <a:custGeom>
                <a:avLst/>
                <a:gdLst>
                  <a:gd name="T0" fmla="*/ 112 w 124"/>
                  <a:gd name="T1" fmla="*/ 20 h 245"/>
                  <a:gd name="T2" fmla="*/ 124 w 124"/>
                  <a:gd name="T3" fmla="*/ 33 h 245"/>
                  <a:gd name="T4" fmla="*/ 116 w 124"/>
                  <a:gd name="T5" fmla="*/ 212 h 245"/>
                  <a:gd name="T6" fmla="*/ 62 w 124"/>
                  <a:gd name="T7" fmla="*/ 244 h 245"/>
                  <a:gd name="T8" fmla="*/ 39 w 124"/>
                  <a:gd name="T9" fmla="*/ 213 h 245"/>
                  <a:gd name="T10" fmla="*/ 38 w 124"/>
                  <a:gd name="T11" fmla="*/ 167 h 245"/>
                  <a:gd name="T12" fmla="*/ 3 w 124"/>
                  <a:gd name="T13" fmla="*/ 124 h 245"/>
                  <a:gd name="T14" fmla="*/ 3 w 124"/>
                  <a:gd name="T15" fmla="*/ 50 h 245"/>
                  <a:gd name="T16" fmla="*/ 42 w 124"/>
                  <a:gd name="T17" fmla="*/ 2 h 245"/>
                  <a:gd name="T18" fmla="*/ 112 w 124"/>
                  <a:gd name="T19" fmla="*/ 2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4" h="245">
                    <a:moveTo>
                      <a:pt x="112" y="20"/>
                    </a:moveTo>
                    <a:cubicBezTo>
                      <a:pt x="119" y="21"/>
                      <a:pt x="124" y="27"/>
                      <a:pt x="124" y="33"/>
                    </a:cubicBezTo>
                    <a:cubicBezTo>
                      <a:pt x="116" y="212"/>
                      <a:pt x="116" y="212"/>
                      <a:pt x="116" y="212"/>
                    </a:cubicBezTo>
                    <a:cubicBezTo>
                      <a:pt x="116" y="233"/>
                      <a:pt x="85" y="245"/>
                      <a:pt x="62" y="244"/>
                    </a:cubicBezTo>
                    <a:cubicBezTo>
                      <a:pt x="40" y="244"/>
                      <a:pt x="39" y="233"/>
                      <a:pt x="39" y="213"/>
                    </a:cubicBezTo>
                    <a:cubicBezTo>
                      <a:pt x="38" y="179"/>
                      <a:pt x="38" y="167"/>
                      <a:pt x="38" y="167"/>
                    </a:cubicBezTo>
                    <a:cubicBezTo>
                      <a:pt x="38" y="167"/>
                      <a:pt x="9" y="162"/>
                      <a:pt x="3" y="124"/>
                    </a:cubicBezTo>
                    <a:cubicBezTo>
                      <a:pt x="0" y="106"/>
                      <a:pt x="1" y="75"/>
                      <a:pt x="3" y="50"/>
                    </a:cubicBezTo>
                    <a:cubicBezTo>
                      <a:pt x="4" y="28"/>
                      <a:pt x="19" y="0"/>
                      <a:pt x="42" y="2"/>
                    </a:cubicBezTo>
                    <a:lnTo>
                      <a:pt x="112" y="20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7" name="任意多边形: 形状 766">
                <a:extLst>
                  <a:ext uri="{FF2B5EF4-FFF2-40B4-BE49-F238E27FC236}">
                    <a16:creationId xmlns:a16="http://schemas.microsoft.com/office/drawing/2014/main" id="{9ECE3B0A-03AC-442B-8FBE-F267458325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8876" y="1912938"/>
                <a:ext cx="22225" cy="20638"/>
              </a:xfrm>
              <a:custGeom>
                <a:avLst/>
                <a:gdLst>
                  <a:gd name="T0" fmla="*/ 0 w 10"/>
                  <a:gd name="T1" fmla="*/ 4 h 9"/>
                  <a:gd name="T2" fmla="*/ 5 w 10"/>
                  <a:gd name="T3" fmla="*/ 9 h 9"/>
                  <a:gd name="T4" fmla="*/ 10 w 10"/>
                  <a:gd name="T5" fmla="*/ 5 h 9"/>
                  <a:gd name="T6" fmla="*/ 5 w 10"/>
                  <a:gd name="T7" fmla="*/ 0 h 9"/>
                  <a:gd name="T8" fmla="*/ 0 w 10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0" y="4"/>
                    </a:moveTo>
                    <a:cubicBezTo>
                      <a:pt x="0" y="7"/>
                      <a:pt x="2" y="9"/>
                      <a:pt x="5" y="9"/>
                    </a:cubicBezTo>
                    <a:cubicBezTo>
                      <a:pt x="8" y="9"/>
                      <a:pt x="10" y="8"/>
                      <a:pt x="10" y="5"/>
                    </a:cubicBezTo>
                    <a:cubicBezTo>
                      <a:pt x="10" y="2"/>
                      <a:pt x="8" y="0"/>
                      <a:pt x="5" y="0"/>
                    </a:cubicBezTo>
                    <a:cubicBezTo>
                      <a:pt x="3" y="0"/>
                      <a:pt x="0" y="2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8" name="任意多边形: 形状 767">
                <a:extLst>
                  <a:ext uri="{FF2B5EF4-FFF2-40B4-BE49-F238E27FC236}">
                    <a16:creationId xmlns:a16="http://schemas.microsoft.com/office/drawing/2014/main" id="{5E8ACCBF-EE9C-45CD-9622-BC587FE64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1413" y="1898651"/>
                <a:ext cx="44450" cy="14288"/>
              </a:xfrm>
              <a:custGeom>
                <a:avLst/>
                <a:gdLst>
                  <a:gd name="T0" fmla="*/ 0 w 20"/>
                  <a:gd name="T1" fmla="*/ 5 h 6"/>
                  <a:gd name="T2" fmla="*/ 10 w 20"/>
                  <a:gd name="T3" fmla="*/ 3 h 6"/>
                  <a:gd name="T4" fmla="*/ 19 w 20"/>
                  <a:gd name="T5" fmla="*/ 5 h 6"/>
                  <a:gd name="T6" fmla="*/ 17 w 20"/>
                  <a:gd name="T7" fmla="*/ 2 h 6"/>
                  <a:gd name="T8" fmla="*/ 10 w 20"/>
                  <a:gd name="T9" fmla="*/ 0 h 6"/>
                  <a:gd name="T10" fmla="*/ 2 w 20"/>
                  <a:gd name="T11" fmla="*/ 2 h 6"/>
                  <a:gd name="T12" fmla="*/ 0 w 20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6">
                    <a:moveTo>
                      <a:pt x="0" y="5"/>
                    </a:moveTo>
                    <a:cubicBezTo>
                      <a:pt x="1" y="6"/>
                      <a:pt x="5" y="3"/>
                      <a:pt x="10" y="3"/>
                    </a:cubicBezTo>
                    <a:cubicBezTo>
                      <a:pt x="15" y="3"/>
                      <a:pt x="19" y="6"/>
                      <a:pt x="19" y="5"/>
                    </a:cubicBezTo>
                    <a:cubicBezTo>
                      <a:pt x="20" y="5"/>
                      <a:pt x="19" y="4"/>
                      <a:pt x="17" y="2"/>
                    </a:cubicBezTo>
                    <a:cubicBezTo>
                      <a:pt x="16" y="1"/>
                      <a:pt x="13" y="0"/>
                      <a:pt x="10" y="0"/>
                    </a:cubicBezTo>
                    <a:cubicBezTo>
                      <a:pt x="7" y="0"/>
                      <a:pt x="4" y="1"/>
                      <a:pt x="2" y="2"/>
                    </a:cubicBezTo>
                    <a:cubicBezTo>
                      <a:pt x="1" y="4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9" name="任意多边形: 形状 768">
                <a:extLst>
                  <a:ext uri="{FF2B5EF4-FFF2-40B4-BE49-F238E27FC236}">
                    <a16:creationId xmlns:a16="http://schemas.microsoft.com/office/drawing/2014/main" id="{61930313-5449-4B27-821D-88711359E7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6351" y="1912938"/>
                <a:ext cx="22225" cy="20638"/>
              </a:xfrm>
              <a:custGeom>
                <a:avLst/>
                <a:gdLst>
                  <a:gd name="T0" fmla="*/ 0 w 10"/>
                  <a:gd name="T1" fmla="*/ 4 h 9"/>
                  <a:gd name="T2" fmla="*/ 5 w 10"/>
                  <a:gd name="T3" fmla="*/ 9 h 9"/>
                  <a:gd name="T4" fmla="*/ 10 w 10"/>
                  <a:gd name="T5" fmla="*/ 5 h 9"/>
                  <a:gd name="T6" fmla="*/ 5 w 10"/>
                  <a:gd name="T7" fmla="*/ 0 h 9"/>
                  <a:gd name="T8" fmla="*/ 0 w 10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0" y="4"/>
                    </a:moveTo>
                    <a:cubicBezTo>
                      <a:pt x="0" y="7"/>
                      <a:pt x="2" y="9"/>
                      <a:pt x="5" y="9"/>
                    </a:cubicBezTo>
                    <a:cubicBezTo>
                      <a:pt x="7" y="9"/>
                      <a:pt x="10" y="8"/>
                      <a:pt x="10" y="5"/>
                    </a:cubicBezTo>
                    <a:cubicBezTo>
                      <a:pt x="10" y="2"/>
                      <a:pt x="8" y="0"/>
                      <a:pt x="5" y="0"/>
                    </a:cubicBezTo>
                    <a:cubicBezTo>
                      <a:pt x="2" y="0"/>
                      <a:pt x="0" y="2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0" name="任意多边形: 形状 769">
                <a:extLst>
                  <a:ext uri="{FF2B5EF4-FFF2-40B4-BE49-F238E27FC236}">
                    <a16:creationId xmlns:a16="http://schemas.microsoft.com/office/drawing/2014/main" id="{23083DA0-9F6C-4CB9-892E-AD3564571A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301" y="1900238"/>
                <a:ext cx="46038" cy="14288"/>
              </a:xfrm>
              <a:custGeom>
                <a:avLst/>
                <a:gdLst>
                  <a:gd name="T0" fmla="*/ 0 w 20"/>
                  <a:gd name="T1" fmla="*/ 5 h 6"/>
                  <a:gd name="T2" fmla="*/ 10 w 20"/>
                  <a:gd name="T3" fmla="*/ 3 h 6"/>
                  <a:gd name="T4" fmla="*/ 19 w 20"/>
                  <a:gd name="T5" fmla="*/ 5 h 6"/>
                  <a:gd name="T6" fmla="*/ 17 w 20"/>
                  <a:gd name="T7" fmla="*/ 2 h 6"/>
                  <a:gd name="T8" fmla="*/ 10 w 20"/>
                  <a:gd name="T9" fmla="*/ 0 h 6"/>
                  <a:gd name="T10" fmla="*/ 2 w 20"/>
                  <a:gd name="T11" fmla="*/ 2 h 6"/>
                  <a:gd name="T12" fmla="*/ 0 w 20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6">
                    <a:moveTo>
                      <a:pt x="0" y="5"/>
                    </a:moveTo>
                    <a:cubicBezTo>
                      <a:pt x="1" y="6"/>
                      <a:pt x="5" y="3"/>
                      <a:pt x="10" y="3"/>
                    </a:cubicBezTo>
                    <a:cubicBezTo>
                      <a:pt x="15" y="3"/>
                      <a:pt x="19" y="6"/>
                      <a:pt x="19" y="5"/>
                    </a:cubicBezTo>
                    <a:cubicBezTo>
                      <a:pt x="20" y="5"/>
                      <a:pt x="19" y="4"/>
                      <a:pt x="17" y="2"/>
                    </a:cubicBezTo>
                    <a:cubicBezTo>
                      <a:pt x="16" y="1"/>
                      <a:pt x="13" y="0"/>
                      <a:pt x="10" y="0"/>
                    </a:cubicBezTo>
                    <a:cubicBezTo>
                      <a:pt x="7" y="0"/>
                      <a:pt x="4" y="1"/>
                      <a:pt x="2" y="2"/>
                    </a:cubicBezTo>
                    <a:cubicBezTo>
                      <a:pt x="1" y="4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1" name="任意多边形: 形状 770">
                <a:extLst>
                  <a:ext uri="{FF2B5EF4-FFF2-40B4-BE49-F238E27FC236}">
                    <a16:creationId xmlns:a16="http://schemas.microsoft.com/office/drawing/2014/main" id="{8A961BCE-0F06-4026-9C27-493449C9CB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4276" y="1900238"/>
                <a:ext cx="38100" cy="101600"/>
              </a:xfrm>
              <a:custGeom>
                <a:avLst/>
                <a:gdLst>
                  <a:gd name="T0" fmla="*/ 14 w 17"/>
                  <a:gd name="T1" fmla="*/ 43 h 44"/>
                  <a:gd name="T2" fmla="*/ 5 w 17"/>
                  <a:gd name="T3" fmla="*/ 42 h 44"/>
                  <a:gd name="T4" fmla="*/ 2 w 17"/>
                  <a:gd name="T5" fmla="*/ 41 h 44"/>
                  <a:gd name="T6" fmla="*/ 3 w 17"/>
                  <a:gd name="T7" fmla="*/ 37 h 44"/>
                  <a:gd name="T8" fmla="*/ 7 w 17"/>
                  <a:gd name="T9" fmla="*/ 27 h 44"/>
                  <a:gd name="T10" fmla="*/ 16 w 17"/>
                  <a:gd name="T11" fmla="*/ 0 h 44"/>
                  <a:gd name="T12" fmla="*/ 5 w 17"/>
                  <a:gd name="T13" fmla="*/ 26 h 44"/>
                  <a:gd name="T14" fmla="*/ 1 w 17"/>
                  <a:gd name="T15" fmla="*/ 36 h 44"/>
                  <a:gd name="T16" fmla="*/ 1 w 17"/>
                  <a:gd name="T17" fmla="*/ 41 h 44"/>
                  <a:gd name="T18" fmla="*/ 3 w 17"/>
                  <a:gd name="T19" fmla="*/ 43 h 44"/>
                  <a:gd name="T20" fmla="*/ 5 w 17"/>
                  <a:gd name="T21" fmla="*/ 43 h 44"/>
                  <a:gd name="T22" fmla="*/ 14 w 17"/>
                  <a:gd name="T23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44">
                    <a:moveTo>
                      <a:pt x="14" y="43"/>
                    </a:moveTo>
                    <a:cubicBezTo>
                      <a:pt x="14" y="43"/>
                      <a:pt x="10" y="43"/>
                      <a:pt x="5" y="42"/>
                    </a:cubicBezTo>
                    <a:cubicBezTo>
                      <a:pt x="4" y="42"/>
                      <a:pt x="3" y="42"/>
                      <a:pt x="2" y="41"/>
                    </a:cubicBezTo>
                    <a:cubicBezTo>
                      <a:pt x="2" y="40"/>
                      <a:pt x="3" y="38"/>
                      <a:pt x="3" y="37"/>
                    </a:cubicBezTo>
                    <a:cubicBezTo>
                      <a:pt x="5" y="34"/>
                      <a:pt x="6" y="30"/>
                      <a:pt x="7" y="27"/>
                    </a:cubicBezTo>
                    <a:cubicBezTo>
                      <a:pt x="13" y="12"/>
                      <a:pt x="17" y="0"/>
                      <a:pt x="16" y="0"/>
                    </a:cubicBezTo>
                    <a:cubicBezTo>
                      <a:pt x="15" y="0"/>
                      <a:pt x="11" y="12"/>
                      <a:pt x="5" y="26"/>
                    </a:cubicBezTo>
                    <a:cubicBezTo>
                      <a:pt x="4" y="29"/>
                      <a:pt x="3" y="33"/>
                      <a:pt x="1" y="36"/>
                    </a:cubicBezTo>
                    <a:cubicBezTo>
                      <a:pt x="1" y="38"/>
                      <a:pt x="0" y="39"/>
                      <a:pt x="1" y="41"/>
                    </a:cubicBezTo>
                    <a:cubicBezTo>
                      <a:pt x="1" y="42"/>
                      <a:pt x="2" y="43"/>
                      <a:pt x="3" y="43"/>
                    </a:cubicBezTo>
                    <a:cubicBezTo>
                      <a:pt x="4" y="43"/>
                      <a:pt x="4" y="43"/>
                      <a:pt x="5" y="43"/>
                    </a:cubicBezTo>
                    <a:cubicBezTo>
                      <a:pt x="10" y="44"/>
                      <a:pt x="14" y="44"/>
                      <a:pt x="14" y="4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2" name="任意多边形: 形状 771">
                <a:extLst>
                  <a:ext uri="{FF2B5EF4-FFF2-40B4-BE49-F238E27FC236}">
                    <a16:creationId xmlns:a16="http://schemas.microsoft.com/office/drawing/2014/main" id="{AD44714C-F1D8-44FF-A5E7-3380644BBE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501" y="2108201"/>
                <a:ext cx="114300" cy="60325"/>
              </a:xfrm>
              <a:custGeom>
                <a:avLst/>
                <a:gdLst>
                  <a:gd name="T0" fmla="*/ 0 w 50"/>
                  <a:gd name="T1" fmla="*/ 14 h 26"/>
                  <a:gd name="T2" fmla="*/ 50 w 50"/>
                  <a:gd name="T3" fmla="*/ 0 h 26"/>
                  <a:gd name="T4" fmla="*/ 1 w 50"/>
                  <a:gd name="T5" fmla="*/ 23 h 26"/>
                  <a:gd name="T6" fmla="*/ 0 w 50"/>
                  <a:gd name="T7" fmla="*/ 1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0" h="26">
                    <a:moveTo>
                      <a:pt x="0" y="14"/>
                    </a:moveTo>
                    <a:cubicBezTo>
                      <a:pt x="0" y="14"/>
                      <a:pt x="25" y="15"/>
                      <a:pt x="50" y="0"/>
                    </a:cubicBezTo>
                    <a:cubicBezTo>
                      <a:pt x="50" y="0"/>
                      <a:pt x="38" y="26"/>
                      <a:pt x="1" y="23"/>
                    </a:cubicBez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3" name="任意多边形: 形状 772">
                <a:extLst>
                  <a:ext uri="{FF2B5EF4-FFF2-40B4-BE49-F238E27FC236}">
                    <a16:creationId xmlns:a16="http://schemas.microsoft.com/office/drawing/2014/main" id="{41981061-4DB4-4ED3-9D37-05F497782F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9201" y="2019301"/>
                <a:ext cx="38100" cy="28575"/>
              </a:xfrm>
              <a:custGeom>
                <a:avLst/>
                <a:gdLst>
                  <a:gd name="T0" fmla="*/ 1 w 17"/>
                  <a:gd name="T1" fmla="*/ 4 h 12"/>
                  <a:gd name="T2" fmla="*/ 9 w 17"/>
                  <a:gd name="T3" fmla="*/ 0 h 12"/>
                  <a:gd name="T4" fmla="*/ 15 w 17"/>
                  <a:gd name="T5" fmla="*/ 4 h 12"/>
                  <a:gd name="T6" fmla="*/ 15 w 17"/>
                  <a:gd name="T7" fmla="*/ 10 h 12"/>
                  <a:gd name="T8" fmla="*/ 9 w 17"/>
                  <a:gd name="T9" fmla="*/ 12 h 12"/>
                  <a:gd name="T10" fmla="*/ 2 w 17"/>
                  <a:gd name="T11" fmla="*/ 8 h 12"/>
                  <a:gd name="T12" fmla="*/ 1 w 17"/>
                  <a:gd name="T13" fmla="*/ 6 h 12"/>
                  <a:gd name="T14" fmla="*/ 1 w 17"/>
                  <a:gd name="T15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12">
                    <a:moveTo>
                      <a:pt x="1" y="4"/>
                    </a:moveTo>
                    <a:cubicBezTo>
                      <a:pt x="3" y="1"/>
                      <a:pt x="6" y="0"/>
                      <a:pt x="9" y="0"/>
                    </a:cubicBezTo>
                    <a:cubicBezTo>
                      <a:pt x="11" y="1"/>
                      <a:pt x="14" y="2"/>
                      <a:pt x="15" y="4"/>
                    </a:cubicBezTo>
                    <a:cubicBezTo>
                      <a:pt x="16" y="5"/>
                      <a:pt x="17" y="8"/>
                      <a:pt x="15" y="10"/>
                    </a:cubicBezTo>
                    <a:cubicBezTo>
                      <a:pt x="14" y="12"/>
                      <a:pt x="11" y="12"/>
                      <a:pt x="9" y="12"/>
                    </a:cubicBezTo>
                    <a:cubicBezTo>
                      <a:pt x="6" y="11"/>
                      <a:pt x="4" y="9"/>
                      <a:pt x="2" y="8"/>
                    </a:cubicBezTo>
                    <a:cubicBezTo>
                      <a:pt x="1" y="7"/>
                      <a:pt x="1" y="7"/>
                      <a:pt x="1" y="6"/>
                    </a:cubicBezTo>
                    <a:cubicBezTo>
                      <a:pt x="0" y="5"/>
                      <a:pt x="0" y="5"/>
                      <a:pt x="1" y="4"/>
                    </a:cubicBezTo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4" name="任意多边形: 形状 773">
                <a:extLst>
                  <a:ext uri="{FF2B5EF4-FFF2-40B4-BE49-F238E27FC236}">
                    <a16:creationId xmlns:a16="http://schemas.microsoft.com/office/drawing/2014/main" id="{5C200FE8-912D-401A-9BA9-8077BB0033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1263" y="2008188"/>
                <a:ext cx="41275" cy="34925"/>
              </a:xfrm>
              <a:custGeom>
                <a:avLst/>
                <a:gdLst>
                  <a:gd name="T0" fmla="*/ 17 w 18"/>
                  <a:gd name="T1" fmla="*/ 0 h 15"/>
                  <a:gd name="T2" fmla="*/ 11 w 18"/>
                  <a:gd name="T3" fmla="*/ 10 h 15"/>
                  <a:gd name="T4" fmla="*/ 0 w 18"/>
                  <a:gd name="T5" fmla="*/ 14 h 15"/>
                  <a:gd name="T6" fmla="*/ 4 w 18"/>
                  <a:gd name="T7" fmla="*/ 15 h 15"/>
                  <a:gd name="T8" fmla="*/ 13 w 18"/>
                  <a:gd name="T9" fmla="*/ 12 h 15"/>
                  <a:gd name="T10" fmla="*/ 18 w 18"/>
                  <a:gd name="T11" fmla="*/ 4 h 15"/>
                  <a:gd name="T12" fmla="*/ 17 w 18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15">
                    <a:moveTo>
                      <a:pt x="17" y="0"/>
                    </a:moveTo>
                    <a:cubicBezTo>
                      <a:pt x="16" y="0"/>
                      <a:pt x="16" y="6"/>
                      <a:pt x="11" y="10"/>
                    </a:cubicBezTo>
                    <a:cubicBezTo>
                      <a:pt x="6" y="14"/>
                      <a:pt x="0" y="13"/>
                      <a:pt x="0" y="14"/>
                    </a:cubicBezTo>
                    <a:cubicBezTo>
                      <a:pt x="0" y="14"/>
                      <a:pt x="2" y="15"/>
                      <a:pt x="4" y="15"/>
                    </a:cubicBezTo>
                    <a:cubicBezTo>
                      <a:pt x="7" y="15"/>
                      <a:pt x="10" y="14"/>
                      <a:pt x="13" y="12"/>
                    </a:cubicBezTo>
                    <a:cubicBezTo>
                      <a:pt x="16" y="9"/>
                      <a:pt x="17" y="6"/>
                      <a:pt x="18" y="4"/>
                    </a:cubicBezTo>
                    <a:cubicBezTo>
                      <a:pt x="18" y="1"/>
                      <a:pt x="17" y="0"/>
                      <a:pt x="1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5" name="任意多边形: 形状 774">
                <a:extLst>
                  <a:ext uri="{FF2B5EF4-FFF2-40B4-BE49-F238E27FC236}">
                    <a16:creationId xmlns:a16="http://schemas.microsoft.com/office/drawing/2014/main" id="{A82C4DE1-C1AA-46A2-957B-9828CACCF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2538" y="1882776"/>
                <a:ext cx="55563" cy="17463"/>
              </a:xfrm>
              <a:custGeom>
                <a:avLst/>
                <a:gdLst>
                  <a:gd name="T0" fmla="*/ 0 w 24"/>
                  <a:gd name="T1" fmla="*/ 4 h 8"/>
                  <a:gd name="T2" fmla="*/ 12 w 24"/>
                  <a:gd name="T3" fmla="*/ 5 h 8"/>
                  <a:gd name="T4" fmla="*/ 24 w 24"/>
                  <a:gd name="T5" fmla="*/ 7 h 8"/>
                  <a:gd name="T6" fmla="*/ 21 w 24"/>
                  <a:gd name="T7" fmla="*/ 3 h 8"/>
                  <a:gd name="T8" fmla="*/ 12 w 24"/>
                  <a:gd name="T9" fmla="*/ 0 h 8"/>
                  <a:gd name="T10" fmla="*/ 3 w 24"/>
                  <a:gd name="T11" fmla="*/ 1 h 8"/>
                  <a:gd name="T12" fmla="*/ 0 w 24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8">
                    <a:moveTo>
                      <a:pt x="0" y="4"/>
                    </a:moveTo>
                    <a:cubicBezTo>
                      <a:pt x="1" y="5"/>
                      <a:pt x="6" y="5"/>
                      <a:pt x="12" y="5"/>
                    </a:cubicBezTo>
                    <a:cubicBezTo>
                      <a:pt x="18" y="6"/>
                      <a:pt x="23" y="8"/>
                      <a:pt x="24" y="7"/>
                    </a:cubicBezTo>
                    <a:cubicBezTo>
                      <a:pt x="24" y="6"/>
                      <a:pt x="23" y="5"/>
                      <a:pt x="21" y="3"/>
                    </a:cubicBezTo>
                    <a:cubicBezTo>
                      <a:pt x="19" y="2"/>
                      <a:pt x="16" y="1"/>
                      <a:pt x="12" y="0"/>
                    </a:cubicBezTo>
                    <a:cubicBezTo>
                      <a:pt x="9" y="0"/>
                      <a:pt x="5" y="0"/>
                      <a:pt x="3" y="1"/>
                    </a:cubicBezTo>
                    <a:cubicBezTo>
                      <a:pt x="1" y="2"/>
                      <a:pt x="0" y="3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6" name="任意多边形: 形状 775">
                <a:extLst>
                  <a:ext uri="{FF2B5EF4-FFF2-40B4-BE49-F238E27FC236}">
                    <a16:creationId xmlns:a16="http://schemas.microsoft.com/office/drawing/2014/main" id="{7C697158-44D0-4B94-BA87-CF64CF9E7C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4588" y="1863726"/>
                <a:ext cx="41275" cy="14288"/>
              </a:xfrm>
              <a:custGeom>
                <a:avLst/>
                <a:gdLst>
                  <a:gd name="T0" fmla="*/ 0 w 18"/>
                  <a:gd name="T1" fmla="*/ 5 h 6"/>
                  <a:gd name="T2" fmla="*/ 9 w 18"/>
                  <a:gd name="T3" fmla="*/ 5 h 6"/>
                  <a:gd name="T4" fmla="*/ 18 w 18"/>
                  <a:gd name="T5" fmla="*/ 4 h 6"/>
                  <a:gd name="T6" fmla="*/ 16 w 18"/>
                  <a:gd name="T7" fmla="*/ 2 h 6"/>
                  <a:gd name="T8" fmla="*/ 9 w 18"/>
                  <a:gd name="T9" fmla="*/ 0 h 6"/>
                  <a:gd name="T10" fmla="*/ 2 w 18"/>
                  <a:gd name="T11" fmla="*/ 2 h 6"/>
                  <a:gd name="T12" fmla="*/ 0 w 18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6">
                    <a:moveTo>
                      <a:pt x="0" y="5"/>
                    </a:moveTo>
                    <a:cubicBezTo>
                      <a:pt x="1" y="6"/>
                      <a:pt x="5" y="5"/>
                      <a:pt x="9" y="5"/>
                    </a:cubicBezTo>
                    <a:cubicBezTo>
                      <a:pt x="13" y="5"/>
                      <a:pt x="17" y="6"/>
                      <a:pt x="18" y="4"/>
                    </a:cubicBezTo>
                    <a:cubicBezTo>
                      <a:pt x="18" y="4"/>
                      <a:pt x="18" y="3"/>
                      <a:pt x="16" y="2"/>
                    </a:cubicBezTo>
                    <a:cubicBezTo>
                      <a:pt x="15" y="0"/>
                      <a:pt x="12" y="0"/>
                      <a:pt x="9" y="0"/>
                    </a:cubicBezTo>
                    <a:cubicBezTo>
                      <a:pt x="6" y="0"/>
                      <a:pt x="3" y="1"/>
                      <a:pt x="2" y="2"/>
                    </a:cubicBezTo>
                    <a:cubicBezTo>
                      <a:pt x="0" y="3"/>
                      <a:pt x="0" y="4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7" name="任意多边形: 形状 776">
                <a:extLst>
                  <a:ext uri="{FF2B5EF4-FFF2-40B4-BE49-F238E27FC236}">
                    <a16:creationId xmlns:a16="http://schemas.microsoft.com/office/drawing/2014/main" id="{79575E0E-6E0A-44C3-92A5-33C1FCFFEE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2838" y="1736726"/>
                <a:ext cx="301625" cy="415925"/>
              </a:xfrm>
              <a:custGeom>
                <a:avLst/>
                <a:gdLst>
                  <a:gd name="T0" fmla="*/ 63 w 132"/>
                  <a:gd name="T1" fmla="*/ 0 h 182"/>
                  <a:gd name="T2" fmla="*/ 27 w 132"/>
                  <a:gd name="T3" fmla="*/ 11 h 182"/>
                  <a:gd name="T4" fmla="*/ 1 w 132"/>
                  <a:gd name="T5" fmla="*/ 42 h 182"/>
                  <a:gd name="T6" fmla="*/ 2 w 132"/>
                  <a:gd name="T7" fmla="*/ 50 h 182"/>
                  <a:gd name="T8" fmla="*/ 12 w 132"/>
                  <a:gd name="T9" fmla="*/ 52 h 182"/>
                  <a:gd name="T10" fmla="*/ 20 w 132"/>
                  <a:gd name="T11" fmla="*/ 45 h 182"/>
                  <a:gd name="T12" fmla="*/ 36 w 132"/>
                  <a:gd name="T13" fmla="*/ 57 h 182"/>
                  <a:gd name="T14" fmla="*/ 52 w 132"/>
                  <a:gd name="T15" fmla="*/ 44 h 182"/>
                  <a:gd name="T16" fmla="*/ 66 w 132"/>
                  <a:gd name="T17" fmla="*/ 57 h 182"/>
                  <a:gd name="T18" fmla="*/ 82 w 132"/>
                  <a:gd name="T19" fmla="*/ 44 h 182"/>
                  <a:gd name="T20" fmla="*/ 89 w 132"/>
                  <a:gd name="T21" fmla="*/ 63 h 182"/>
                  <a:gd name="T22" fmla="*/ 106 w 132"/>
                  <a:gd name="T23" fmla="*/ 70 h 182"/>
                  <a:gd name="T24" fmla="*/ 106 w 132"/>
                  <a:gd name="T25" fmla="*/ 87 h 182"/>
                  <a:gd name="T26" fmla="*/ 121 w 132"/>
                  <a:gd name="T27" fmla="*/ 180 h 182"/>
                  <a:gd name="T28" fmla="*/ 128 w 132"/>
                  <a:gd name="T29" fmla="*/ 81 h 182"/>
                  <a:gd name="T30" fmla="*/ 132 w 132"/>
                  <a:gd name="T31" fmla="*/ 50 h 182"/>
                  <a:gd name="T32" fmla="*/ 122 w 132"/>
                  <a:gd name="T33" fmla="*/ 20 h 182"/>
                  <a:gd name="T34" fmla="*/ 94 w 132"/>
                  <a:gd name="T35" fmla="*/ 3 h 182"/>
                  <a:gd name="T36" fmla="*/ 62 w 132"/>
                  <a:gd name="T37" fmla="*/ 0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2" h="182">
                    <a:moveTo>
                      <a:pt x="63" y="0"/>
                    </a:moveTo>
                    <a:cubicBezTo>
                      <a:pt x="50" y="0"/>
                      <a:pt x="39" y="4"/>
                      <a:pt x="27" y="11"/>
                    </a:cubicBezTo>
                    <a:cubicBezTo>
                      <a:pt x="15" y="18"/>
                      <a:pt x="5" y="28"/>
                      <a:pt x="1" y="42"/>
                    </a:cubicBezTo>
                    <a:cubicBezTo>
                      <a:pt x="1" y="44"/>
                      <a:pt x="0" y="48"/>
                      <a:pt x="2" y="50"/>
                    </a:cubicBezTo>
                    <a:cubicBezTo>
                      <a:pt x="4" y="53"/>
                      <a:pt x="9" y="54"/>
                      <a:pt x="12" y="52"/>
                    </a:cubicBezTo>
                    <a:cubicBezTo>
                      <a:pt x="16" y="51"/>
                      <a:pt x="18" y="48"/>
                      <a:pt x="20" y="45"/>
                    </a:cubicBezTo>
                    <a:cubicBezTo>
                      <a:pt x="22" y="51"/>
                      <a:pt x="29" y="57"/>
                      <a:pt x="36" y="57"/>
                    </a:cubicBezTo>
                    <a:cubicBezTo>
                      <a:pt x="43" y="57"/>
                      <a:pt x="50" y="51"/>
                      <a:pt x="52" y="44"/>
                    </a:cubicBezTo>
                    <a:cubicBezTo>
                      <a:pt x="52" y="51"/>
                      <a:pt x="59" y="57"/>
                      <a:pt x="66" y="57"/>
                    </a:cubicBezTo>
                    <a:cubicBezTo>
                      <a:pt x="73" y="57"/>
                      <a:pt x="80" y="51"/>
                      <a:pt x="82" y="44"/>
                    </a:cubicBezTo>
                    <a:cubicBezTo>
                      <a:pt x="83" y="51"/>
                      <a:pt x="85" y="58"/>
                      <a:pt x="89" y="63"/>
                    </a:cubicBezTo>
                    <a:cubicBezTo>
                      <a:pt x="93" y="68"/>
                      <a:pt x="99" y="72"/>
                      <a:pt x="106" y="70"/>
                    </a:cubicBezTo>
                    <a:cubicBezTo>
                      <a:pt x="105" y="75"/>
                      <a:pt x="104" y="81"/>
                      <a:pt x="106" y="87"/>
                    </a:cubicBezTo>
                    <a:cubicBezTo>
                      <a:pt x="108" y="92"/>
                      <a:pt x="116" y="182"/>
                      <a:pt x="121" y="180"/>
                    </a:cubicBezTo>
                    <a:cubicBezTo>
                      <a:pt x="126" y="179"/>
                      <a:pt x="126" y="86"/>
                      <a:pt x="128" y="81"/>
                    </a:cubicBezTo>
                    <a:cubicBezTo>
                      <a:pt x="130" y="71"/>
                      <a:pt x="132" y="60"/>
                      <a:pt x="132" y="50"/>
                    </a:cubicBezTo>
                    <a:cubicBezTo>
                      <a:pt x="131" y="39"/>
                      <a:pt x="128" y="28"/>
                      <a:pt x="122" y="20"/>
                    </a:cubicBezTo>
                    <a:cubicBezTo>
                      <a:pt x="115" y="11"/>
                      <a:pt x="105" y="6"/>
                      <a:pt x="94" y="3"/>
                    </a:cubicBezTo>
                    <a:cubicBezTo>
                      <a:pt x="84" y="0"/>
                      <a:pt x="73" y="0"/>
                      <a:pt x="62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8" name="任意多边形: 形状 777">
                <a:extLst>
                  <a:ext uri="{FF2B5EF4-FFF2-40B4-BE49-F238E27FC236}">
                    <a16:creationId xmlns:a16="http://schemas.microsoft.com/office/drawing/2014/main" id="{2970FBF4-F55C-43BC-AA09-59114EC270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1438" y="1892301"/>
                <a:ext cx="88900" cy="223838"/>
              </a:xfrm>
              <a:custGeom>
                <a:avLst/>
                <a:gdLst>
                  <a:gd name="T0" fmla="*/ 39 w 39"/>
                  <a:gd name="T1" fmla="*/ 96 h 98"/>
                  <a:gd name="T2" fmla="*/ 37 w 39"/>
                  <a:gd name="T3" fmla="*/ 97 h 98"/>
                  <a:gd name="T4" fmla="*/ 34 w 39"/>
                  <a:gd name="T5" fmla="*/ 98 h 98"/>
                  <a:gd name="T6" fmla="*/ 21 w 39"/>
                  <a:gd name="T7" fmla="*/ 96 h 98"/>
                  <a:gd name="T8" fmla="*/ 5 w 39"/>
                  <a:gd name="T9" fmla="*/ 84 h 98"/>
                  <a:gd name="T10" fmla="*/ 0 w 39"/>
                  <a:gd name="T11" fmla="*/ 61 h 98"/>
                  <a:gd name="T12" fmla="*/ 4 w 39"/>
                  <a:gd name="T13" fmla="*/ 37 h 98"/>
                  <a:gd name="T14" fmla="*/ 6 w 39"/>
                  <a:gd name="T15" fmla="*/ 18 h 98"/>
                  <a:gd name="T16" fmla="*/ 6 w 39"/>
                  <a:gd name="T17" fmla="*/ 5 h 98"/>
                  <a:gd name="T18" fmla="*/ 6 w 39"/>
                  <a:gd name="T19" fmla="*/ 0 h 98"/>
                  <a:gd name="T20" fmla="*/ 6 w 39"/>
                  <a:gd name="T21" fmla="*/ 5 h 98"/>
                  <a:gd name="T22" fmla="*/ 7 w 39"/>
                  <a:gd name="T23" fmla="*/ 18 h 98"/>
                  <a:gd name="T24" fmla="*/ 6 w 39"/>
                  <a:gd name="T25" fmla="*/ 37 h 98"/>
                  <a:gd name="T26" fmla="*/ 2 w 39"/>
                  <a:gd name="T27" fmla="*/ 61 h 98"/>
                  <a:gd name="T28" fmla="*/ 7 w 39"/>
                  <a:gd name="T29" fmla="*/ 83 h 98"/>
                  <a:gd name="T30" fmla="*/ 21 w 39"/>
                  <a:gd name="T31" fmla="*/ 95 h 98"/>
                  <a:gd name="T32" fmla="*/ 34 w 39"/>
                  <a:gd name="T33" fmla="*/ 97 h 98"/>
                  <a:gd name="T34" fmla="*/ 39 w 39"/>
                  <a:gd name="T35" fmla="*/ 9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98">
                    <a:moveTo>
                      <a:pt x="39" y="96"/>
                    </a:moveTo>
                    <a:cubicBezTo>
                      <a:pt x="39" y="96"/>
                      <a:pt x="38" y="97"/>
                      <a:pt x="37" y="97"/>
                    </a:cubicBezTo>
                    <a:cubicBezTo>
                      <a:pt x="37" y="97"/>
                      <a:pt x="35" y="97"/>
                      <a:pt x="34" y="98"/>
                    </a:cubicBezTo>
                    <a:cubicBezTo>
                      <a:pt x="31" y="98"/>
                      <a:pt x="26" y="98"/>
                      <a:pt x="21" y="96"/>
                    </a:cubicBezTo>
                    <a:cubicBezTo>
                      <a:pt x="15" y="95"/>
                      <a:pt x="9" y="91"/>
                      <a:pt x="5" y="84"/>
                    </a:cubicBezTo>
                    <a:cubicBezTo>
                      <a:pt x="1" y="78"/>
                      <a:pt x="0" y="69"/>
                      <a:pt x="0" y="61"/>
                    </a:cubicBezTo>
                    <a:cubicBezTo>
                      <a:pt x="1" y="52"/>
                      <a:pt x="3" y="44"/>
                      <a:pt x="4" y="37"/>
                    </a:cubicBezTo>
                    <a:cubicBezTo>
                      <a:pt x="5" y="30"/>
                      <a:pt x="5" y="23"/>
                      <a:pt x="6" y="18"/>
                    </a:cubicBezTo>
                    <a:cubicBezTo>
                      <a:pt x="6" y="12"/>
                      <a:pt x="6" y="8"/>
                      <a:pt x="6" y="5"/>
                    </a:cubicBezTo>
                    <a:cubicBezTo>
                      <a:pt x="5" y="2"/>
                      <a:pt x="5" y="0"/>
                      <a:pt x="6" y="0"/>
                    </a:cubicBezTo>
                    <a:cubicBezTo>
                      <a:pt x="6" y="0"/>
                      <a:pt x="6" y="2"/>
                      <a:pt x="6" y="5"/>
                    </a:cubicBezTo>
                    <a:cubicBezTo>
                      <a:pt x="7" y="8"/>
                      <a:pt x="7" y="12"/>
                      <a:pt x="7" y="18"/>
                    </a:cubicBezTo>
                    <a:cubicBezTo>
                      <a:pt x="7" y="23"/>
                      <a:pt x="7" y="30"/>
                      <a:pt x="6" y="37"/>
                    </a:cubicBezTo>
                    <a:cubicBezTo>
                      <a:pt x="5" y="45"/>
                      <a:pt x="3" y="53"/>
                      <a:pt x="2" y="61"/>
                    </a:cubicBezTo>
                    <a:cubicBezTo>
                      <a:pt x="2" y="69"/>
                      <a:pt x="3" y="77"/>
                      <a:pt x="7" y="83"/>
                    </a:cubicBezTo>
                    <a:cubicBezTo>
                      <a:pt x="11" y="89"/>
                      <a:pt x="16" y="93"/>
                      <a:pt x="21" y="95"/>
                    </a:cubicBezTo>
                    <a:cubicBezTo>
                      <a:pt x="26" y="97"/>
                      <a:pt x="31" y="97"/>
                      <a:pt x="34" y="97"/>
                    </a:cubicBezTo>
                    <a:cubicBezTo>
                      <a:pt x="37" y="97"/>
                      <a:pt x="39" y="96"/>
                      <a:pt x="39" y="9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9" name="任意多边形: 形状 778">
                <a:extLst>
                  <a:ext uri="{FF2B5EF4-FFF2-40B4-BE49-F238E27FC236}">
                    <a16:creationId xmlns:a16="http://schemas.microsoft.com/office/drawing/2014/main" id="{C5BC5276-9683-4D39-AAEB-33C53E0D3B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7763" y="1725613"/>
                <a:ext cx="84138" cy="85725"/>
              </a:xfrm>
              <a:custGeom>
                <a:avLst/>
                <a:gdLst>
                  <a:gd name="T0" fmla="*/ 35 w 37"/>
                  <a:gd name="T1" fmla="*/ 0 h 38"/>
                  <a:gd name="T2" fmla="*/ 37 w 37"/>
                  <a:gd name="T3" fmla="*/ 9 h 38"/>
                  <a:gd name="T4" fmla="*/ 29 w 37"/>
                  <a:gd name="T5" fmla="*/ 29 h 38"/>
                  <a:gd name="T6" fmla="*/ 9 w 37"/>
                  <a:gd name="T7" fmla="*/ 38 h 38"/>
                  <a:gd name="T8" fmla="*/ 0 w 37"/>
                  <a:gd name="T9" fmla="*/ 36 h 38"/>
                  <a:gd name="T10" fmla="*/ 9 w 37"/>
                  <a:gd name="T11" fmla="*/ 37 h 38"/>
                  <a:gd name="T12" fmla="*/ 27 w 37"/>
                  <a:gd name="T13" fmla="*/ 28 h 38"/>
                  <a:gd name="T14" fmla="*/ 36 w 37"/>
                  <a:gd name="T15" fmla="*/ 9 h 38"/>
                  <a:gd name="T16" fmla="*/ 35 w 37"/>
                  <a:gd name="T1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8">
                    <a:moveTo>
                      <a:pt x="35" y="0"/>
                    </a:moveTo>
                    <a:cubicBezTo>
                      <a:pt x="35" y="0"/>
                      <a:pt x="37" y="3"/>
                      <a:pt x="37" y="9"/>
                    </a:cubicBezTo>
                    <a:cubicBezTo>
                      <a:pt x="37" y="14"/>
                      <a:pt x="35" y="23"/>
                      <a:pt x="29" y="29"/>
                    </a:cubicBezTo>
                    <a:cubicBezTo>
                      <a:pt x="23" y="36"/>
                      <a:pt x="14" y="38"/>
                      <a:pt x="9" y="38"/>
                    </a:cubicBezTo>
                    <a:cubicBezTo>
                      <a:pt x="3" y="38"/>
                      <a:pt x="0" y="37"/>
                      <a:pt x="0" y="36"/>
                    </a:cubicBezTo>
                    <a:cubicBezTo>
                      <a:pt x="0" y="36"/>
                      <a:pt x="3" y="37"/>
                      <a:pt x="9" y="37"/>
                    </a:cubicBezTo>
                    <a:cubicBezTo>
                      <a:pt x="14" y="36"/>
                      <a:pt x="22" y="34"/>
                      <a:pt x="27" y="28"/>
                    </a:cubicBezTo>
                    <a:cubicBezTo>
                      <a:pt x="33" y="22"/>
                      <a:pt x="35" y="14"/>
                      <a:pt x="36" y="9"/>
                    </a:cubicBezTo>
                    <a:cubicBezTo>
                      <a:pt x="36" y="3"/>
                      <a:pt x="35" y="0"/>
                      <a:pt x="35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0" name="任意多边形: 形状 779">
                <a:extLst>
                  <a:ext uri="{FF2B5EF4-FFF2-40B4-BE49-F238E27FC236}">
                    <a16:creationId xmlns:a16="http://schemas.microsoft.com/office/drawing/2014/main" id="{974EB752-53C9-4F5F-B0D2-D9858336AE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7288" y="1825626"/>
                <a:ext cx="84138" cy="25400"/>
              </a:xfrm>
              <a:custGeom>
                <a:avLst/>
                <a:gdLst>
                  <a:gd name="T0" fmla="*/ 37 w 37"/>
                  <a:gd name="T1" fmla="*/ 0 h 11"/>
                  <a:gd name="T2" fmla="*/ 33 w 37"/>
                  <a:gd name="T3" fmla="*/ 6 h 11"/>
                  <a:gd name="T4" fmla="*/ 19 w 37"/>
                  <a:gd name="T5" fmla="*/ 10 h 11"/>
                  <a:gd name="T6" fmla="*/ 5 w 37"/>
                  <a:gd name="T7" fmla="*/ 6 h 11"/>
                  <a:gd name="T8" fmla="*/ 0 w 37"/>
                  <a:gd name="T9" fmla="*/ 2 h 11"/>
                  <a:gd name="T10" fmla="*/ 6 w 37"/>
                  <a:gd name="T11" fmla="*/ 4 h 11"/>
                  <a:gd name="T12" fmla="*/ 19 w 37"/>
                  <a:gd name="T13" fmla="*/ 8 h 11"/>
                  <a:gd name="T14" fmla="*/ 33 w 37"/>
                  <a:gd name="T15" fmla="*/ 4 h 11"/>
                  <a:gd name="T16" fmla="*/ 37 w 37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11">
                    <a:moveTo>
                      <a:pt x="37" y="0"/>
                    </a:moveTo>
                    <a:cubicBezTo>
                      <a:pt x="37" y="0"/>
                      <a:pt x="36" y="3"/>
                      <a:pt x="33" y="6"/>
                    </a:cubicBezTo>
                    <a:cubicBezTo>
                      <a:pt x="31" y="8"/>
                      <a:pt x="25" y="11"/>
                      <a:pt x="19" y="10"/>
                    </a:cubicBezTo>
                    <a:cubicBezTo>
                      <a:pt x="13" y="10"/>
                      <a:pt x="8" y="7"/>
                      <a:pt x="5" y="6"/>
                    </a:cubicBezTo>
                    <a:cubicBezTo>
                      <a:pt x="2" y="4"/>
                      <a:pt x="0" y="2"/>
                      <a:pt x="0" y="2"/>
                    </a:cubicBezTo>
                    <a:cubicBezTo>
                      <a:pt x="1" y="1"/>
                      <a:pt x="3" y="3"/>
                      <a:pt x="6" y="4"/>
                    </a:cubicBezTo>
                    <a:cubicBezTo>
                      <a:pt x="9" y="6"/>
                      <a:pt x="14" y="8"/>
                      <a:pt x="19" y="8"/>
                    </a:cubicBezTo>
                    <a:cubicBezTo>
                      <a:pt x="25" y="9"/>
                      <a:pt x="30" y="7"/>
                      <a:pt x="33" y="4"/>
                    </a:cubicBezTo>
                    <a:cubicBezTo>
                      <a:pt x="35" y="2"/>
                      <a:pt x="36" y="0"/>
                      <a:pt x="37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1" name="任意多边形: 形状 780">
                <a:extLst>
                  <a:ext uri="{FF2B5EF4-FFF2-40B4-BE49-F238E27FC236}">
                    <a16:creationId xmlns:a16="http://schemas.microsoft.com/office/drawing/2014/main" id="{AD610002-4A9A-4769-B63B-4023FD39A1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2551" y="1800226"/>
                <a:ext cx="95250" cy="104775"/>
              </a:xfrm>
              <a:custGeom>
                <a:avLst/>
                <a:gdLst>
                  <a:gd name="T0" fmla="*/ 41 w 41"/>
                  <a:gd name="T1" fmla="*/ 0 h 46"/>
                  <a:gd name="T2" fmla="*/ 40 w 41"/>
                  <a:gd name="T3" fmla="*/ 10 h 46"/>
                  <a:gd name="T4" fmla="*/ 31 w 41"/>
                  <a:gd name="T5" fmla="*/ 33 h 46"/>
                  <a:gd name="T6" fmla="*/ 10 w 41"/>
                  <a:gd name="T7" fmla="*/ 45 h 46"/>
                  <a:gd name="T8" fmla="*/ 2 w 41"/>
                  <a:gd name="T9" fmla="*/ 45 h 46"/>
                  <a:gd name="T10" fmla="*/ 0 w 41"/>
                  <a:gd name="T11" fmla="*/ 43 h 46"/>
                  <a:gd name="T12" fmla="*/ 10 w 41"/>
                  <a:gd name="T13" fmla="*/ 44 h 46"/>
                  <a:gd name="T14" fmla="*/ 30 w 41"/>
                  <a:gd name="T15" fmla="*/ 32 h 46"/>
                  <a:gd name="T16" fmla="*/ 39 w 41"/>
                  <a:gd name="T17" fmla="*/ 10 h 46"/>
                  <a:gd name="T18" fmla="*/ 41 w 41"/>
                  <a:gd name="T1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46">
                    <a:moveTo>
                      <a:pt x="41" y="0"/>
                    </a:moveTo>
                    <a:cubicBezTo>
                      <a:pt x="41" y="0"/>
                      <a:pt x="41" y="4"/>
                      <a:pt x="40" y="10"/>
                    </a:cubicBezTo>
                    <a:cubicBezTo>
                      <a:pt x="39" y="16"/>
                      <a:pt x="37" y="25"/>
                      <a:pt x="31" y="33"/>
                    </a:cubicBezTo>
                    <a:cubicBezTo>
                      <a:pt x="25" y="41"/>
                      <a:pt x="16" y="45"/>
                      <a:pt x="10" y="45"/>
                    </a:cubicBezTo>
                    <a:cubicBezTo>
                      <a:pt x="6" y="46"/>
                      <a:pt x="4" y="45"/>
                      <a:pt x="2" y="45"/>
                    </a:cubicBezTo>
                    <a:cubicBezTo>
                      <a:pt x="0" y="44"/>
                      <a:pt x="0" y="44"/>
                      <a:pt x="0" y="43"/>
                    </a:cubicBezTo>
                    <a:cubicBezTo>
                      <a:pt x="0" y="43"/>
                      <a:pt x="3" y="45"/>
                      <a:pt x="10" y="44"/>
                    </a:cubicBezTo>
                    <a:cubicBezTo>
                      <a:pt x="16" y="43"/>
                      <a:pt x="24" y="39"/>
                      <a:pt x="30" y="32"/>
                    </a:cubicBezTo>
                    <a:cubicBezTo>
                      <a:pt x="35" y="24"/>
                      <a:pt x="38" y="16"/>
                      <a:pt x="39" y="10"/>
                    </a:cubicBezTo>
                    <a:cubicBezTo>
                      <a:pt x="40" y="4"/>
                      <a:pt x="41" y="0"/>
                      <a:pt x="41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2" name="任意多边形: 形状 781">
                <a:extLst>
                  <a:ext uri="{FF2B5EF4-FFF2-40B4-BE49-F238E27FC236}">
                    <a16:creationId xmlns:a16="http://schemas.microsoft.com/office/drawing/2014/main" id="{BFEB5C65-0192-4A78-B749-BBD7E23AA3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7313" y="1841501"/>
                <a:ext cx="107950" cy="112713"/>
              </a:xfrm>
              <a:custGeom>
                <a:avLst/>
                <a:gdLst>
                  <a:gd name="T0" fmla="*/ 46 w 47"/>
                  <a:gd name="T1" fmla="*/ 0 h 49"/>
                  <a:gd name="T2" fmla="*/ 47 w 47"/>
                  <a:gd name="T3" fmla="*/ 3 h 49"/>
                  <a:gd name="T4" fmla="*/ 47 w 47"/>
                  <a:gd name="T5" fmla="*/ 12 h 49"/>
                  <a:gd name="T6" fmla="*/ 37 w 47"/>
                  <a:gd name="T7" fmla="*/ 39 h 49"/>
                  <a:gd name="T8" fmla="*/ 24 w 47"/>
                  <a:gd name="T9" fmla="*/ 48 h 49"/>
                  <a:gd name="T10" fmla="*/ 10 w 47"/>
                  <a:gd name="T11" fmla="*/ 49 h 49"/>
                  <a:gd name="T12" fmla="*/ 2 w 47"/>
                  <a:gd name="T13" fmla="*/ 45 h 49"/>
                  <a:gd name="T14" fmla="*/ 0 w 47"/>
                  <a:gd name="T15" fmla="*/ 43 h 49"/>
                  <a:gd name="T16" fmla="*/ 11 w 47"/>
                  <a:gd name="T17" fmla="*/ 47 h 49"/>
                  <a:gd name="T18" fmla="*/ 23 w 47"/>
                  <a:gd name="T19" fmla="*/ 46 h 49"/>
                  <a:gd name="T20" fmla="*/ 35 w 47"/>
                  <a:gd name="T21" fmla="*/ 37 h 49"/>
                  <a:gd name="T22" fmla="*/ 45 w 47"/>
                  <a:gd name="T23" fmla="*/ 12 h 49"/>
                  <a:gd name="T24" fmla="*/ 46 w 47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7" h="49">
                    <a:moveTo>
                      <a:pt x="46" y="0"/>
                    </a:moveTo>
                    <a:cubicBezTo>
                      <a:pt x="46" y="0"/>
                      <a:pt x="46" y="1"/>
                      <a:pt x="47" y="3"/>
                    </a:cubicBezTo>
                    <a:cubicBezTo>
                      <a:pt x="47" y="5"/>
                      <a:pt x="47" y="8"/>
                      <a:pt x="47" y="12"/>
                    </a:cubicBezTo>
                    <a:cubicBezTo>
                      <a:pt x="47" y="19"/>
                      <a:pt x="45" y="30"/>
                      <a:pt x="37" y="39"/>
                    </a:cubicBezTo>
                    <a:cubicBezTo>
                      <a:pt x="33" y="43"/>
                      <a:pt x="28" y="46"/>
                      <a:pt x="24" y="48"/>
                    </a:cubicBezTo>
                    <a:cubicBezTo>
                      <a:pt x="19" y="49"/>
                      <a:pt x="14" y="49"/>
                      <a:pt x="10" y="49"/>
                    </a:cubicBezTo>
                    <a:cubicBezTo>
                      <a:pt x="7" y="48"/>
                      <a:pt x="4" y="46"/>
                      <a:pt x="2" y="45"/>
                    </a:cubicBezTo>
                    <a:cubicBezTo>
                      <a:pt x="0" y="44"/>
                      <a:pt x="0" y="43"/>
                      <a:pt x="0" y="43"/>
                    </a:cubicBezTo>
                    <a:cubicBezTo>
                      <a:pt x="0" y="43"/>
                      <a:pt x="3" y="46"/>
                      <a:pt x="11" y="47"/>
                    </a:cubicBezTo>
                    <a:cubicBezTo>
                      <a:pt x="14" y="48"/>
                      <a:pt x="18" y="48"/>
                      <a:pt x="23" y="46"/>
                    </a:cubicBezTo>
                    <a:cubicBezTo>
                      <a:pt x="27" y="45"/>
                      <a:pt x="32" y="42"/>
                      <a:pt x="35" y="37"/>
                    </a:cubicBezTo>
                    <a:cubicBezTo>
                      <a:pt x="43" y="29"/>
                      <a:pt x="45" y="19"/>
                      <a:pt x="45" y="12"/>
                    </a:cubicBezTo>
                    <a:cubicBezTo>
                      <a:pt x="46" y="4"/>
                      <a:pt x="46" y="0"/>
                      <a:pt x="46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3" name="任意多边形: 形状 782">
                <a:extLst>
                  <a:ext uri="{FF2B5EF4-FFF2-40B4-BE49-F238E27FC236}">
                    <a16:creationId xmlns:a16="http://schemas.microsoft.com/office/drawing/2014/main" id="{B4C34636-0E0C-47A3-AB49-7A176FB458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0488" y="2943226"/>
                <a:ext cx="392113" cy="381000"/>
              </a:xfrm>
              <a:custGeom>
                <a:avLst/>
                <a:gdLst>
                  <a:gd name="T0" fmla="*/ 105 w 247"/>
                  <a:gd name="T1" fmla="*/ 1 h 240"/>
                  <a:gd name="T2" fmla="*/ 0 w 247"/>
                  <a:gd name="T3" fmla="*/ 240 h 240"/>
                  <a:gd name="T4" fmla="*/ 144 w 247"/>
                  <a:gd name="T5" fmla="*/ 240 h 240"/>
                  <a:gd name="T6" fmla="*/ 247 w 247"/>
                  <a:gd name="T7" fmla="*/ 0 h 240"/>
                  <a:gd name="T8" fmla="*/ 105 w 247"/>
                  <a:gd name="T9" fmla="*/ 1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0">
                    <a:moveTo>
                      <a:pt x="105" y="1"/>
                    </a:moveTo>
                    <a:lnTo>
                      <a:pt x="0" y="240"/>
                    </a:lnTo>
                    <a:lnTo>
                      <a:pt x="144" y="240"/>
                    </a:lnTo>
                    <a:lnTo>
                      <a:pt x="247" y="0"/>
                    </a:lnTo>
                    <a:lnTo>
                      <a:pt x="105" y="1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4" name="任意多边形: 形状 783">
                <a:extLst>
                  <a:ext uri="{FF2B5EF4-FFF2-40B4-BE49-F238E27FC236}">
                    <a16:creationId xmlns:a16="http://schemas.microsoft.com/office/drawing/2014/main" id="{F68DB6E1-EB3B-4594-BEFA-BBA22869B9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176" y="2516188"/>
                <a:ext cx="784225" cy="395288"/>
              </a:xfrm>
              <a:custGeom>
                <a:avLst/>
                <a:gdLst>
                  <a:gd name="T0" fmla="*/ 3 w 343"/>
                  <a:gd name="T1" fmla="*/ 12 h 173"/>
                  <a:gd name="T2" fmla="*/ 85 w 343"/>
                  <a:gd name="T3" fmla="*/ 173 h 173"/>
                  <a:gd name="T4" fmla="*/ 343 w 343"/>
                  <a:gd name="T5" fmla="*/ 173 h 173"/>
                  <a:gd name="T6" fmla="*/ 333 w 343"/>
                  <a:gd name="T7" fmla="*/ 152 h 173"/>
                  <a:gd name="T8" fmla="*/ 258 w 343"/>
                  <a:gd name="T9" fmla="*/ 150 h 173"/>
                  <a:gd name="T10" fmla="*/ 197 w 343"/>
                  <a:gd name="T11" fmla="*/ 14 h 173"/>
                  <a:gd name="T12" fmla="*/ 175 w 343"/>
                  <a:gd name="T13" fmla="*/ 0 h 173"/>
                  <a:gd name="T14" fmla="*/ 10 w 343"/>
                  <a:gd name="T15" fmla="*/ 0 h 173"/>
                  <a:gd name="T16" fmla="*/ 3 w 343"/>
                  <a:gd name="T17" fmla="*/ 1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3" h="173">
                    <a:moveTo>
                      <a:pt x="3" y="12"/>
                    </a:moveTo>
                    <a:cubicBezTo>
                      <a:pt x="85" y="173"/>
                      <a:pt x="85" y="173"/>
                      <a:pt x="85" y="173"/>
                    </a:cubicBezTo>
                    <a:cubicBezTo>
                      <a:pt x="343" y="173"/>
                      <a:pt x="343" y="173"/>
                      <a:pt x="343" y="173"/>
                    </a:cubicBezTo>
                    <a:cubicBezTo>
                      <a:pt x="333" y="152"/>
                      <a:pt x="333" y="152"/>
                      <a:pt x="333" y="152"/>
                    </a:cubicBezTo>
                    <a:cubicBezTo>
                      <a:pt x="258" y="150"/>
                      <a:pt x="258" y="150"/>
                      <a:pt x="258" y="150"/>
                    </a:cubicBezTo>
                    <a:cubicBezTo>
                      <a:pt x="197" y="14"/>
                      <a:pt x="197" y="14"/>
                      <a:pt x="197" y="14"/>
                    </a:cubicBezTo>
                    <a:cubicBezTo>
                      <a:pt x="193" y="5"/>
                      <a:pt x="185" y="0"/>
                      <a:pt x="175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6"/>
                      <a:pt x="3" y="1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5" name="椭圆 784">
                <a:extLst>
                  <a:ext uri="{FF2B5EF4-FFF2-40B4-BE49-F238E27FC236}">
                    <a16:creationId xmlns:a16="http://schemas.microsoft.com/office/drawing/2014/main" id="{4395BE3B-0C2B-4F12-AEA9-378AEAEC6E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8938" y="2684463"/>
                <a:ext cx="42863" cy="46038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6" name="矩形 785">
                <a:extLst>
                  <a:ext uri="{FF2B5EF4-FFF2-40B4-BE49-F238E27FC236}">
                    <a16:creationId xmlns:a16="http://schemas.microsoft.com/office/drawing/2014/main" id="{EE7012CC-895A-4B8C-906E-824432D92E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35588" y="2911476"/>
                <a:ext cx="722313" cy="36513"/>
              </a:xfrm>
              <a:prstGeom prst="rect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7" name="任意多边形: 形状 786">
                <a:extLst>
                  <a:ext uri="{FF2B5EF4-FFF2-40B4-BE49-F238E27FC236}">
                    <a16:creationId xmlns:a16="http://schemas.microsoft.com/office/drawing/2014/main" id="{335FBC32-5520-41B2-8B17-CBA60DC9FF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34063" y="2928938"/>
                <a:ext cx="369888" cy="398463"/>
              </a:xfrm>
              <a:custGeom>
                <a:avLst/>
                <a:gdLst>
                  <a:gd name="T0" fmla="*/ 0 w 233"/>
                  <a:gd name="T1" fmla="*/ 0 h 251"/>
                  <a:gd name="T2" fmla="*/ 138 w 233"/>
                  <a:gd name="T3" fmla="*/ 251 h 251"/>
                  <a:gd name="T4" fmla="*/ 205 w 233"/>
                  <a:gd name="T5" fmla="*/ 251 h 251"/>
                  <a:gd name="T6" fmla="*/ 219 w 233"/>
                  <a:gd name="T7" fmla="*/ 222 h 251"/>
                  <a:gd name="T8" fmla="*/ 233 w 233"/>
                  <a:gd name="T9" fmla="*/ 192 h 251"/>
                  <a:gd name="T10" fmla="*/ 141 w 233"/>
                  <a:gd name="T11" fmla="*/ 12 h 251"/>
                  <a:gd name="T12" fmla="*/ 0 w 233"/>
                  <a:gd name="T1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3" h="251">
                    <a:moveTo>
                      <a:pt x="0" y="0"/>
                    </a:moveTo>
                    <a:lnTo>
                      <a:pt x="138" y="251"/>
                    </a:lnTo>
                    <a:lnTo>
                      <a:pt x="205" y="251"/>
                    </a:lnTo>
                    <a:lnTo>
                      <a:pt x="219" y="222"/>
                    </a:lnTo>
                    <a:lnTo>
                      <a:pt x="233" y="192"/>
                    </a:lnTo>
                    <a:lnTo>
                      <a:pt x="141" y="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8" name="任意多边形: 形状 787">
                <a:extLst>
                  <a:ext uri="{FF2B5EF4-FFF2-40B4-BE49-F238E27FC236}">
                    <a16:creationId xmlns:a16="http://schemas.microsoft.com/office/drawing/2014/main" id="{33BDC375-CB35-43D0-A706-4BE918443B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2663" y="2247901"/>
                <a:ext cx="153988" cy="254000"/>
              </a:xfrm>
              <a:custGeom>
                <a:avLst/>
                <a:gdLst>
                  <a:gd name="T0" fmla="*/ 67 w 67"/>
                  <a:gd name="T1" fmla="*/ 0 h 111"/>
                  <a:gd name="T2" fmla="*/ 0 w 67"/>
                  <a:gd name="T3" fmla="*/ 82 h 111"/>
                  <a:gd name="T4" fmla="*/ 58 w 67"/>
                  <a:gd name="T5" fmla="*/ 111 h 111"/>
                  <a:gd name="T6" fmla="*/ 67 w 67"/>
                  <a:gd name="T7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" h="111">
                    <a:moveTo>
                      <a:pt x="67" y="0"/>
                    </a:moveTo>
                    <a:cubicBezTo>
                      <a:pt x="67" y="0"/>
                      <a:pt x="12" y="20"/>
                      <a:pt x="0" y="82"/>
                    </a:cubicBezTo>
                    <a:cubicBezTo>
                      <a:pt x="58" y="111"/>
                      <a:pt x="58" y="111"/>
                      <a:pt x="58" y="111"/>
                    </a:cubicBez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9" name="任意多边形: 形状 788">
                <a:extLst>
                  <a:ext uri="{FF2B5EF4-FFF2-40B4-BE49-F238E27FC236}">
                    <a16:creationId xmlns:a16="http://schemas.microsoft.com/office/drawing/2014/main" id="{A37F83DB-4A21-40C5-84AC-F9D83028DD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6163" y="2220913"/>
                <a:ext cx="485775" cy="720725"/>
              </a:xfrm>
              <a:custGeom>
                <a:avLst/>
                <a:gdLst>
                  <a:gd name="T0" fmla="*/ 39 w 212"/>
                  <a:gd name="T1" fmla="*/ 12 h 315"/>
                  <a:gd name="T2" fmla="*/ 2 w 212"/>
                  <a:gd name="T3" fmla="*/ 147 h 315"/>
                  <a:gd name="T4" fmla="*/ 13 w 212"/>
                  <a:gd name="T5" fmla="*/ 207 h 315"/>
                  <a:gd name="T6" fmla="*/ 33 w 212"/>
                  <a:gd name="T7" fmla="*/ 315 h 315"/>
                  <a:gd name="T8" fmla="*/ 192 w 212"/>
                  <a:gd name="T9" fmla="*/ 294 h 315"/>
                  <a:gd name="T10" fmla="*/ 187 w 212"/>
                  <a:gd name="T11" fmla="*/ 205 h 315"/>
                  <a:gd name="T12" fmla="*/ 212 w 212"/>
                  <a:gd name="T13" fmla="*/ 36 h 315"/>
                  <a:gd name="T14" fmla="*/ 148 w 212"/>
                  <a:gd name="T15" fmla="*/ 5 h 315"/>
                  <a:gd name="T16" fmla="*/ 39 w 212"/>
                  <a:gd name="T17" fmla="*/ 1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2" h="315">
                    <a:moveTo>
                      <a:pt x="39" y="12"/>
                    </a:moveTo>
                    <a:cubicBezTo>
                      <a:pt x="39" y="12"/>
                      <a:pt x="0" y="99"/>
                      <a:pt x="2" y="147"/>
                    </a:cubicBezTo>
                    <a:cubicBezTo>
                      <a:pt x="2" y="164"/>
                      <a:pt x="13" y="207"/>
                      <a:pt x="13" y="207"/>
                    </a:cubicBezTo>
                    <a:cubicBezTo>
                      <a:pt x="33" y="315"/>
                      <a:pt x="33" y="315"/>
                      <a:pt x="33" y="315"/>
                    </a:cubicBezTo>
                    <a:cubicBezTo>
                      <a:pt x="33" y="315"/>
                      <a:pt x="189" y="294"/>
                      <a:pt x="192" y="294"/>
                    </a:cubicBezTo>
                    <a:cubicBezTo>
                      <a:pt x="196" y="294"/>
                      <a:pt x="187" y="205"/>
                      <a:pt x="187" y="205"/>
                    </a:cubicBezTo>
                    <a:cubicBezTo>
                      <a:pt x="212" y="36"/>
                      <a:pt x="212" y="36"/>
                      <a:pt x="212" y="36"/>
                    </a:cubicBezTo>
                    <a:cubicBezTo>
                      <a:pt x="212" y="36"/>
                      <a:pt x="201" y="13"/>
                      <a:pt x="148" y="5"/>
                    </a:cubicBezTo>
                    <a:cubicBezTo>
                      <a:pt x="117" y="0"/>
                      <a:pt x="39" y="12"/>
                      <a:pt x="39" y="12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0" name="任意多边形: 形状 789">
                <a:extLst>
                  <a:ext uri="{FF2B5EF4-FFF2-40B4-BE49-F238E27FC236}">
                    <a16:creationId xmlns:a16="http://schemas.microsoft.com/office/drawing/2014/main" id="{E5235384-DD26-42AB-A478-3AC06D58E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9338" y="2365376"/>
                <a:ext cx="53975" cy="298450"/>
              </a:xfrm>
              <a:custGeom>
                <a:avLst/>
                <a:gdLst>
                  <a:gd name="T0" fmla="*/ 24 w 24"/>
                  <a:gd name="T1" fmla="*/ 0 h 131"/>
                  <a:gd name="T2" fmla="*/ 15 w 24"/>
                  <a:gd name="T3" fmla="*/ 18 h 131"/>
                  <a:gd name="T4" fmla="*/ 8 w 24"/>
                  <a:gd name="T5" fmla="*/ 38 h 131"/>
                  <a:gd name="T6" fmla="*/ 3 w 24"/>
                  <a:gd name="T7" fmla="*/ 64 h 131"/>
                  <a:gd name="T8" fmla="*/ 2 w 24"/>
                  <a:gd name="T9" fmla="*/ 90 h 131"/>
                  <a:gd name="T10" fmla="*/ 4 w 24"/>
                  <a:gd name="T11" fmla="*/ 112 h 131"/>
                  <a:gd name="T12" fmla="*/ 9 w 24"/>
                  <a:gd name="T13" fmla="*/ 131 h 131"/>
                  <a:gd name="T14" fmla="*/ 7 w 24"/>
                  <a:gd name="T15" fmla="*/ 126 h 131"/>
                  <a:gd name="T16" fmla="*/ 5 w 24"/>
                  <a:gd name="T17" fmla="*/ 120 h 131"/>
                  <a:gd name="T18" fmla="*/ 3 w 24"/>
                  <a:gd name="T19" fmla="*/ 112 h 131"/>
                  <a:gd name="T20" fmla="*/ 0 w 24"/>
                  <a:gd name="T21" fmla="*/ 90 h 131"/>
                  <a:gd name="T22" fmla="*/ 1 w 24"/>
                  <a:gd name="T23" fmla="*/ 64 h 131"/>
                  <a:gd name="T24" fmla="*/ 6 w 24"/>
                  <a:gd name="T25" fmla="*/ 38 h 131"/>
                  <a:gd name="T26" fmla="*/ 14 w 24"/>
                  <a:gd name="T27" fmla="*/ 17 h 131"/>
                  <a:gd name="T28" fmla="*/ 18 w 24"/>
                  <a:gd name="T29" fmla="*/ 10 h 131"/>
                  <a:gd name="T30" fmla="*/ 21 w 24"/>
                  <a:gd name="T31" fmla="*/ 4 h 131"/>
                  <a:gd name="T32" fmla="*/ 24 w 24"/>
                  <a:gd name="T33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131">
                    <a:moveTo>
                      <a:pt x="24" y="0"/>
                    </a:moveTo>
                    <a:cubicBezTo>
                      <a:pt x="24" y="0"/>
                      <a:pt x="20" y="6"/>
                      <a:pt x="15" y="18"/>
                    </a:cubicBezTo>
                    <a:cubicBezTo>
                      <a:pt x="13" y="23"/>
                      <a:pt x="10" y="30"/>
                      <a:pt x="8" y="38"/>
                    </a:cubicBezTo>
                    <a:cubicBezTo>
                      <a:pt x="6" y="46"/>
                      <a:pt x="4" y="55"/>
                      <a:pt x="3" y="64"/>
                    </a:cubicBezTo>
                    <a:cubicBezTo>
                      <a:pt x="2" y="73"/>
                      <a:pt x="2" y="82"/>
                      <a:pt x="2" y="90"/>
                    </a:cubicBezTo>
                    <a:cubicBezTo>
                      <a:pt x="2" y="98"/>
                      <a:pt x="3" y="106"/>
                      <a:pt x="4" y="112"/>
                    </a:cubicBezTo>
                    <a:cubicBezTo>
                      <a:pt x="7" y="124"/>
                      <a:pt x="9" y="131"/>
                      <a:pt x="9" y="131"/>
                    </a:cubicBezTo>
                    <a:cubicBezTo>
                      <a:pt x="9" y="131"/>
                      <a:pt x="8" y="129"/>
                      <a:pt x="7" y="126"/>
                    </a:cubicBezTo>
                    <a:cubicBezTo>
                      <a:pt x="6" y="125"/>
                      <a:pt x="6" y="123"/>
                      <a:pt x="5" y="120"/>
                    </a:cubicBezTo>
                    <a:cubicBezTo>
                      <a:pt x="4" y="118"/>
                      <a:pt x="4" y="115"/>
                      <a:pt x="3" y="112"/>
                    </a:cubicBezTo>
                    <a:cubicBezTo>
                      <a:pt x="2" y="106"/>
                      <a:pt x="1" y="99"/>
                      <a:pt x="0" y="90"/>
                    </a:cubicBezTo>
                    <a:cubicBezTo>
                      <a:pt x="0" y="82"/>
                      <a:pt x="0" y="73"/>
                      <a:pt x="1" y="64"/>
                    </a:cubicBezTo>
                    <a:cubicBezTo>
                      <a:pt x="2" y="54"/>
                      <a:pt x="4" y="45"/>
                      <a:pt x="6" y="38"/>
                    </a:cubicBezTo>
                    <a:cubicBezTo>
                      <a:pt x="8" y="30"/>
                      <a:pt x="11" y="23"/>
                      <a:pt x="14" y="17"/>
                    </a:cubicBezTo>
                    <a:cubicBezTo>
                      <a:pt x="15" y="14"/>
                      <a:pt x="16" y="12"/>
                      <a:pt x="18" y="10"/>
                    </a:cubicBezTo>
                    <a:cubicBezTo>
                      <a:pt x="19" y="7"/>
                      <a:pt x="20" y="6"/>
                      <a:pt x="21" y="4"/>
                    </a:cubicBezTo>
                    <a:cubicBezTo>
                      <a:pt x="23" y="1"/>
                      <a:pt x="24" y="0"/>
                      <a:pt x="2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1" name="任意多边形: 形状 790">
                <a:extLst>
                  <a:ext uri="{FF2B5EF4-FFF2-40B4-BE49-F238E27FC236}">
                    <a16:creationId xmlns:a16="http://schemas.microsoft.com/office/drawing/2014/main" id="{118D8B1C-1373-43D4-A23E-A4E98499D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9513" y="2168526"/>
                <a:ext cx="228600" cy="176213"/>
              </a:xfrm>
              <a:custGeom>
                <a:avLst/>
                <a:gdLst>
                  <a:gd name="T0" fmla="*/ 0 w 100"/>
                  <a:gd name="T1" fmla="*/ 34 h 77"/>
                  <a:gd name="T2" fmla="*/ 2 w 100"/>
                  <a:gd name="T3" fmla="*/ 10 h 77"/>
                  <a:gd name="T4" fmla="*/ 12 w 100"/>
                  <a:gd name="T5" fmla="*/ 1 h 77"/>
                  <a:gd name="T6" fmla="*/ 89 w 100"/>
                  <a:gd name="T7" fmla="*/ 0 h 77"/>
                  <a:gd name="T8" fmla="*/ 98 w 100"/>
                  <a:gd name="T9" fmla="*/ 8 h 77"/>
                  <a:gd name="T10" fmla="*/ 100 w 100"/>
                  <a:gd name="T11" fmla="*/ 34 h 77"/>
                  <a:gd name="T12" fmla="*/ 69 w 100"/>
                  <a:gd name="T13" fmla="*/ 65 h 77"/>
                  <a:gd name="T14" fmla="*/ 12 w 100"/>
                  <a:gd name="T15" fmla="*/ 77 h 77"/>
                  <a:gd name="T16" fmla="*/ 0 w 100"/>
                  <a:gd name="T1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" h="77">
                    <a:moveTo>
                      <a:pt x="0" y="34"/>
                    </a:moveTo>
                    <a:cubicBezTo>
                      <a:pt x="2" y="10"/>
                      <a:pt x="2" y="10"/>
                      <a:pt x="2" y="10"/>
                    </a:cubicBezTo>
                    <a:cubicBezTo>
                      <a:pt x="3" y="5"/>
                      <a:pt x="7" y="1"/>
                      <a:pt x="12" y="1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94" y="0"/>
                      <a:pt x="98" y="4"/>
                      <a:pt x="98" y="8"/>
                    </a:cubicBezTo>
                    <a:cubicBezTo>
                      <a:pt x="100" y="34"/>
                      <a:pt x="100" y="34"/>
                      <a:pt x="100" y="34"/>
                    </a:cubicBezTo>
                    <a:cubicBezTo>
                      <a:pt x="100" y="34"/>
                      <a:pt x="92" y="55"/>
                      <a:pt x="69" y="65"/>
                    </a:cubicBezTo>
                    <a:cubicBezTo>
                      <a:pt x="47" y="76"/>
                      <a:pt x="12" y="77"/>
                      <a:pt x="12" y="77"/>
                    </a:cubicBez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2" name="任意多边形: 形状 791">
                <a:extLst>
                  <a:ext uri="{FF2B5EF4-FFF2-40B4-BE49-F238E27FC236}">
                    <a16:creationId xmlns:a16="http://schemas.microsoft.com/office/drawing/2014/main" id="{92C79561-A9F6-4F35-981D-31C97EFE4A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6026" y="2170113"/>
                <a:ext cx="9525" cy="71438"/>
              </a:xfrm>
              <a:custGeom>
                <a:avLst/>
                <a:gdLst>
                  <a:gd name="T0" fmla="*/ 4 w 4"/>
                  <a:gd name="T1" fmla="*/ 0 h 31"/>
                  <a:gd name="T2" fmla="*/ 3 w 4"/>
                  <a:gd name="T3" fmla="*/ 4 h 31"/>
                  <a:gd name="T4" fmla="*/ 3 w 4"/>
                  <a:gd name="T5" fmla="*/ 15 h 31"/>
                  <a:gd name="T6" fmla="*/ 3 w 4"/>
                  <a:gd name="T7" fmla="*/ 31 h 31"/>
                  <a:gd name="T8" fmla="*/ 1 w 4"/>
                  <a:gd name="T9" fmla="*/ 15 h 31"/>
                  <a:gd name="T10" fmla="*/ 1 w 4"/>
                  <a:gd name="T11" fmla="*/ 4 h 31"/>
                  <a:gd name="T12" fmla="*/ 4 w 4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1">
                    <a:moveTo>
                      <a:pt x="4" y="0"/>
                    </a:moveTo>
                    <a:cubicBezTo>
                      <a:pt x="4" y="0"/>
                      <a:pt x="3" y="2"/>
                      <a:pt x="3" y="4"/>
                    </a:cubicBezTo>
                    <a:cubicBezTo>
                      <a:pt x="2" y="7"/>
                      <a:pt x="3" y="11"/>
                      <a:pt x="3" y="15"/>
                    </a:cubicBezTo>
                    <a:cubicBezTo>
                      <a:pt x="4" y="24"/>
                      <a:pt x="4" y="30"/>
                      <a:pt x="3" y="31"/>
                    </a:cubicBezTo>
                    <a:cubicBezTo>
                      <a:pt x="2" y="31"/>
                      <a:pt x="1" y="24"/>
                      <a:pt x="1" y="15"/>
                    </a:cubicBezTo>
                    <a:cubicBezTo>
                      <a:pt x="1" y="11"/>
                      <a:pt x="0" y="7"/>
                      <a:pt x="1" y="4"/>
                    </a:cubicBezTo>
                    <a:cubicBezTo>
                      <a:pt x="2" y="1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3" name="任意多边形: 形状 792">
                <a:extLst>
                  <a:ext uri="{FF2B5EF4-FFF2-40B4-BE49-F238E27FC236}">
                    <a16:creationId xmlns:a16="http://schemas.microsoft.com/office/drawing/2014/main" id="{4972A600-743E-4115-A62E-EFC4D189B5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2063" y="2170113"/>
                <a:ext cx="6350" cy="69850"/>
              </a:xfrm>
              <a:custGeom>
                <a:avLst/>
                <a:gdLst>
                  <a:gd name="T0" fmla="*/ 3 w 3"/>
                  <a:gd name="T1" fmla="*/ 30 h 30"/>
                  <a:gd name="T2" fmla="*/ 1 w 3"/>
                  <a:gd name="T3" fmla="*/ 15 h 30"/>
                  <a:gd name="T4" fmla="*/ 1 w 3"/>
                  <a:gd name="T5" fmla="*/ 4 h 30"/>
                  <a:gd name="T6" fmla="*/ 2 w 3"/>
                  <a:gd name="T7" fmla="*/ 0 h 30"/>
                  <a:gd name="T8" fmla="*/ 2 w 3"/>
                  <a:gd name="T9" fmla="*/ 4 h 30"/>
                  <a:gd name="T10" fmla="*/ 3 w 3"/>
                  <a:gd name="T11" fmla="*/ 15 h 30"/>
                  <a:gd name="T12" fmla="*/ 3 w 3"/>
                  <a:gd name="T1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30">
                    <a:moveTo>
                      <a:pt x="3" y="30"/>
                    </a:moveTo>
                    <a:cubicBezTo>
                      <a:pt x="2" y="30"/>
                      <a:pt x="1" y="23"/>
                      <a:pt x="1" y="15"/>
                    </a:cubicBezTo>
                    <a:cubicBezTo>
                      <a:pt x="0" y="11"/>
                      <a:pt x="0" y="7"/>
                      <a:pt x="1" y="4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0"/>
                      <a:pt x="2" y="2"/>
                      <a:pt x="2" y="4"/>
                    </a:cubicBezTo>
                    <a:cubicBezTo>
                      <a:pt x="2" y="7"/>
                      <a:pt x="3" y="11"/>
                      <a:pt x="3" y="15"/>
                    </a:cubicBezTo>
                    <a:cubicBezTo>
                      <a:pt x="3" y="23"/>
                      <a:pt x="3" y="30"/>
                      <a:pt x="3" y="3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4" name="任意多边形: 形状 793">
                <a:extLst>
                  <a:ext uri="{FF2B5EF4-FFF2-40B4-BE49-F238E27FC236}">
                    <a16:creationId xmlns:a16="http://schemas.microsoft.com/office/drawing/2014/main" id="{6383D279-68F1-48A0-8A9E-6056913517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9688" y="2170113"/>
                <a:ext cx="11113" cy="66675"/>
              </a:xfrm>
              <a:custGeom>
                <a:avLst/>
                <a:gdLst>
                  <a:gd name="T0" fmla="*/ 5 w 5"/>
                  <a:gd name="T1" fmla="*/ 29 h 29"/>
                  <a:gd name="T2" fmla="*/ 2 w 5"/>
                  <a:gd name="T3" fmla="*/ 15 h 29"/>
                  <a:gd name="T4" fmla="*/ 1 w 5"/>
                  <a:gd name="T5" fmla="*/ 0 h 29"/>
                  <a:gd name="T6" fmla="*/ 4 w 5"/>
                  <a:gd name="T7" fmla="*/ 14 h 29"/>
                  <a:gd name="T8" fmla="*/ 5 w 5"/>
                  <a:gd name="T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9">
                    <a:moveTo>
                      <a:pt x="5" y="29"/>
                    </a:moveTo>
                    <a:cubicBezTo>
                      <a:pt x="4" y="29"/>
                      <a:pt x="3" y="23"/>
                      <a:pt x="2" y="15"/>
                    </a:cubicBezTo>
                    <a:cubicBezTo>
                      <a:pt x="0" y="6"/>
                      <a:pt x="0" y="0"/>
                      <a:pt x="1" y="0"/>
                    </a:cubicBezTo>
                    <a:cubicBezTo>
                      <a:pt x="1" y="0"/>
                      <a:pt x="3" y="6"/>
                      <a:pt x="4" y="14"/>
                    </a:cubicBezTo>
                    <a:cubicBezTo>
                      <a:pt x="5" y="23"/>
                      <a:pt x="5" y="29"/>
                      <a:pt x="5" y="2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6" name="任意多边形: 形状 795">
                <a:extLst>
                  <a:ext uri="{FF2B5EF4-FFF2-40B4-BE49-F238E27FC236}">
                    <a16:creationId xmlns:a16="http://schemas.microsoft.com/office/drawing/2014/main" id="{AACC7C81-13D1-4110-B994-E600F44838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7313" y="2165351"/>
                <a:ext cx="9525" cy="76200"/>
              </a:xfrm>
              <a:custGeom>
                <a:avLst/>
                <a:gdLst>
                  <a:gd name="T0" fmla="*/ 3 w 4"/>
                  <a:gd name="T1" fmla="*/ 33 h 33"/>
                  <a:gd name="T2" fmla="*/ 1 w 4"/>
                  <a:gd name="T3" fmla="*/ 17 h 33"/>
                  <a:gd name="T4" fmla="*/ 1 w 4"/>
                  <a:gd name="T5" fmla="*/ 0 h 33"/>
                  <a:gd name="T6" fmla="*/ 3 w 4"/>
                  <a:gd name="T7" fmla="*/ 17 h 33"/>
                  <a:gd name="T8" fmla="*/ 3 w 4"/>
                  <a:gd name="T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3">
                    <a:moveTo>
                      <a:pt x="3" y="33"/>
                    </a:moveTo>
                    <a:cubicBezTo>
                      <a:pt x="3" y="33"/>
                      <a:pt x="1" y="26"/>
                      <a:pt x="1" y="17"/>
                    </a:cubicBezTo>
                    <a:cubicBezTo>
                      <a:pt x="0" y="8"/>
                      <a:pt x="0" y="0"/>
                      <a:pt x="1" y="0"/>
                    </a:cubicBezTo>
                    <a:cubicBezTo>
                      <a:pt x="2" y="0"/>
                      <a:pt x="2" y="8"/>
                      <a:pt x="3" y="17"/>
                    </a:cubicBezTo>
                    <a:cubicBezTo>
                      <a:pt x="3" y="26"/>
                      <a:pt x="4" y="33"/>
                      <a:pt x="3" y="3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7" name="任意多边形: 形状 796">
                <a:extLst>
                  <a:ext uri="{FF2B5EF4-FFF2-40B4-BE49-F238E27FC236}">
                    <a16:creationId xmlns:a16="http://schemas.microsoft.com/office/drawing/2014/main" id="{27859EC5-4F5F-44A7-B66D-AEC83B7DBA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426" y="2497138"/>
                <a:ext cx="26988" cy="55563"/>
              </a:xfrm>
              <a:custGeom>
                <a:avLst/>
                <a:gdLst>
                  <a:gd name="T0" fmla="*/ 4 w 17"/>
                  <a:gd name="T1" fmla="*/ 0 h 35"/>
                  <a:gd name="T2" fmla="*/ 0 w 17"/>
                  <a:gd name="T3" fmla="*/ 35 h 35"/>
                  <a:gd name="T4" fmla="*/ 17 w 17"/>
                  <a:gd name="T5" fmla="*/ 6 h 35"/>
                  <a:gd name="T6" fmla="*/ 4 w 17"/>
                  <a:gd name="T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35">
                    <a:moveTo>
                      <a:pt x="4" y="0"/>
                    </a:moveTo>
                    <a:lnTo>
                      <a:pt x="0" y="35"/>
                    </a:lnTo>
                    <a:lnTo>
                      <a:pt x="17" y="6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8" name="任意多边形: 形状 797">
                <a:extLst>
                  <a:ext uri="{FF2B5EF4-FFF2-40B4-BE49-F238E27FC236}">
                    <a16:creationId xmlns:a16="http://schemas.microsoft.com/office/drawing/2014/main" id="{E5787F6C-550F-42C9-843E-ECA102025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426" y="2497138"/>
                <a:ext cx="26988" cy="55563"/>
              </a:xfrm>
              <a:custGeom>
                <a:avLst/>
                <a:gdLst>
                  <a:gd name="T0" fmla="*/ 4 w 17"/>
                  <a:gd name="T1" fmla="*/ 0 h 35"/>
                  <a:gd name="T2" fmla="*/ 0 w 17"/>
                  <a:gd name="T3" fmla="*/ 35 h 35"/>
                  <a:gd name="T4" fmla="*/ 17 w 17"/>
                  <a:gd name="T5" fmla="*/ 6 h 35"/>
                  <a:gd name="T6" fmla="*/ 4 w 17"/>
                  <a:gd name="T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35">
                    <a:moveTo>
                      <a:pt x="4" y="0"/>
                    </a:moveTo>
                    <a:lnTo>
                      <a:pt x="0" y="35"/>
                    </a:lnTo>
                    <a:lnTo>
                      <a:pt x="17" y="6"/>
                    </a:lnTo>
                    <a:lnTo>
                      <a:pt x="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9" name="任意多边形: 形状 798">
                <a:extLst>
                  <a:ext uri="{FF2B5EF4-FFF2-40B4-BE49-F238E27FC236}">
                    <a16:creationId xmlns:a16="http://schemas.microsoft.com/office/drawing/2014/main" id="{2E247175-96F3-4CDC-8B47-9673C0F3D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3826" y="2449513"/>
                <a:ext cx="107950" cy="227013"/>
              </a:xfrm>
              <a:custGeom>
                <a:avLst/>
                <a:gdLst>
                  <a:gd name="T0" fmla="*/ 3 w 47"/>
                  <a:gd name="T1" fmla="*/ 0 h 99"/>
                  <a:gd name="T2" fmla="*/ 11 w 47"/>
                  <a:gd name="T3" fmla="*/ 99 h 99"/>
                  <a:gd name="T4" fmla="*/ 44 w 47"/>
                  <a:gd name="T5" fmla="*/ 45 h 99"/>
                  <a:gd name="T6" fmla="*/ 47 w 47"/>
                  <a:gd name="T7" fmla="*/ 21 h 99"/>
                  <a:gd name="T8" fmla="*/ 3 w 47"/>
                  <a:gd name="T9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99">
                    <a:moveTo>
                      <a:pt x="3" y="0"/>
                    </a:moveTo>
                    <a:cubicBezTo>
                      <a:pt x="0" y="27"/>
                      <a:pt x="2" y="74"/>
                      <a:pt x="11" y="99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0A35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1" name="任意多边形: 形状 800">
                <a:extLst>
                  <a:ext uri="{FF2B5EF4-FFF2-40B4-BE49-F238E27FC236}">
                    <a16:creationId xmlns:a16="http://schemas.microsoft.com/office/drawing/2014/main" id="{B4A4091A-27CC-4B2C-BCC6-9D88BC43DD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888" y="2289176"/>
                <a:ext cx="219075" cy="227013"/>
              </a:xfrm>
              <a:custGeom>
                <a:avLst/>
                <a:gdLst>
                  <a:gd name="T0" fmla="*/ 60 w 96"/>
                  <a:gd name="T1" fmla="*/ 0 h 99"/>
                  <a:gd name="T2" fmla="*/ 60 w 96"/>
                  <a:gd name="T3" fmla="*/ 1 h 99"/>
                  <a:gd name="T4" fmla="*/ 87 w 96"/>
                  <a:gd name="T5" fmla="*/ 48 h 99"/>
                  <a:gd name="T6" fmla="*/ 96 w 96"/>
                  <a:gd name="T7" fmla="*/ 85 h 99"/>
                  <a:gd name="T8" fmla="*/ 8 w 96"/>
                  <a:gd name="T9" fmla="*/ 99 h 99"/>
                  <a:gd name="T10" fmla="*/ 4 w 96"/>
                  <a:gd name="T11" fmla="*/ 50 h 99"/>
                  <a:gd name="T12" fmla="*/ 60 w 96"/>
                  <a:gd name="T13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" h="99">
                    <a:moveTo>
                      <a:pt x="60" y="0"/>
                    </a:moveTo>
                    <a:cubicBezTo>
                      <a:pt x="60" y="1"/>
                      <a:pt x="60" y="1"/>
                      <a:pt x="60" y="1"/>
                    </a:cubicBezTo>
                    <a:cubicBezTo>
                      <a:pt x="73" y="14"/>
                      <a:pt x="82" y="30"/>
                      <a:pt x="87" y="48"/>
                    </a:cubicBezTo>
                    <a:cubicBezTo>
                      <a:pt x="96" y="85"/>
                      <a:pt x="96" y="85"/>
                      <a:pt x="96" y="85"/>
                    </a:cubicBezTo>
                    <a:cubicBezTo>
                      <a:pt x="8" y="99"/>
                      <a:pt x="8" y="99"/>
                      <a:pt x="8" y="99"/>
                    </a:cubicBezTo>
                    <a:cubicBezTo>
                      <a:pt x="8" y="99"/>
                      <a:pt x="0" y="78"/>
                      <a:pt x="4" y="50"/>
                    </a:cubicBezTo>
                    <a:cubicBezTo>
                      <a:pt x="8" y="21"/>
                      <a:pt x="60" y="0"/>
                      <a:pt x="60" y="0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2" name="任意多边形: 形状 801">
                <a:extLst>
                  <a:ext uri="{FF2B5EF4-FFF2-40B4-BE49-F238E27FC236}">
                    <a16:creationId xmlns:a16="http://schemas.microsoft.com/office/drawing/2014/main" id="{97B837BC-FC40-4D9A-9FF8-3A9AB7AFC9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3826" y="2262188"/>
                <a:ext cx="211138" cy="255588"/>
              </a:xfrm>
              <a:custGeom>
                <a:avLst/>
                <a:gdLst>
                  <a:gd name="T0" fmla="*/ 92 w 92"/>
                  <a:gd name="T1" fmla="*/ 97 h 112"/>
                  <a:gd name="T2" fmla="*/ 90 w 92"/>
                  <a:gd name="T3" fmla="*/ 98 h 112"/>
                  <a:gd name="T4" fmla="*/ 85 w 92"/>
                  <a:gd name="T5" fmla="*/ 99 h 112"/>
                  <a:gd name="T6" fmla="*/ 66 w 92"/>
                  <a:gd name="T7" fmla="*/ 102 h 112"/>
                  <a:gd name="T8" fmla="*/ 2 w 92"/>
                  <a:gd name="T9" fmla="*/ 112 h 112"/>
                  <a:gd name="T10" fmla="*/ 1 w 92"/>
                  <a:gd name="T11" fmla="*/ 112 h 112"/>
                  <a:gd name="T12" fmla="*/ 1 w 92"/>
                  <a:gd name="T13" fmla="*/ 111 h 112"/>
                  <a:gd name="T14" fmla="*/ 1 w 92"/>
                  <a:gd name="T15" fmla="*/ 94 h 112"/>
                  <a:gd name="T16" fmla="*/ 1 w 92"/>
                  <a:gd name="T17" fmla="*/ 52 h 112"/>
                  <a:gd name="T18" fmla="*/ 12 w 92"/>
                  <a:gd name="T19" fmla="*/ 20 h 112"/>
                  <a:gd name="T20" fmla="*/ 28 w 92"/>
                  <a:gd name="T21" fmla="*/ 4 h 112"/>
                  <a:gd name="T22" fmla="*/ 34 w 92"/>
                  <a:gd name="T23" fmla="*/ 1 h 112"/>
                  <a:gd name="T24" fmla="*/ 36 w 92"/>
                  <a:gd name="T25" fmla="*/ 0 h 112"/>
                  <a:gd name="T26" fmla="*/ 28 w 92"/>
                  <a:gd name="T27" fmla="*/ 4 h 112"/>
                  <a:gd name="T28" fmla="*/ 13 w 92"/>
                  <a:gd name="T29" fmla="*/ 21 h 112"/>
                  <a:gd name="T30" fmla="*/ 3 w 92"/>
                  <a:gd name="T31" fmla="*/ 52 h 112"/>
                  <a:gd name="T32" fmla="*/ 3 w 92"/>
                  <a:gd name="T33" fmla="*/ 94 h 112"/>
                  <a:gd name="T34" fmla="*/ 3 w 92"/>
                  <a:gd name="T35" fmla="*/ 110 h 112"/>
                  <a:gd name="T36" fmla="*/ 2 w 92"/>
                  <a:gd name="T37" fmla="*/ 109 h 112"/>
                  <a:gd name="T38" fmla="*/ 66 w 92"/>
                  <a:gd name="T39" fmla="*/ 100 h 112"/>
                  <a:gd name="T40" fmla="*/ 85 w 92"/>
                  <a:gd name="T41" fmla="*/ 98 h 112"/>
                  <a:gd name="T42" fmla="*/ 90 w 92"/>
                  <a:gd name="T43" fmla="*/ 97 h 112"/>
                  <a:gd name="T44" fmla="*/ 92 w 92"/>
                  <a:gd name="T45" fmla="*/ 9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2" h="112">
                    <a:moveTo>
                      <a:pt x="92" y="97"/>
                    </a:moveTo>
                    <a:cubicBezTo>
                      <a:pt x="92" y="97"/>
                      <a:pt x="91" y="98"/>
                      <a:pt x="90" y="98"/>
                    </a:cubicBezTo>
                    <a:cubicBezTo>
                      <a:pt x="88" y="98"/>
                      <a:pt x="87" y="98"/>
                      <a:pt x="85" y="99"/>
                    </a:cubicBezTo>
                    <a:cubicBezTo>
                      <a:pt x="80" y="100"/>
                      <a:pt x="74" y="101"/>
                      <a:pt x="66" y="102"/>
                    </a:cubicBezTo>
                    <a:cubicBezTo>
                      <a:pt x="50" y="104"/>
                      <a:pt x="27" y="108"/>
                      <a:pt x="2" y="112"/>
                    </a:cubicBezTo>
                    <a:cubicBezTo>
                      <a:pt x="1" y="112"/>
                      <a:pt x="1" y="112"/>
                      <a:pt x="1" y="112"/>
                    </a:cubicBezTo>
                    <a:cubicBezTo>
                      <a:pt x="1" y="111"/>
                      <a:pt x="1" y="111"/>
                      <a:pt x="1" y="111"/>
                    </a:cubicBezTo>
                    <a:cubicBezTo>
                      <a:pt x="1" y="105"/>
                      <a:pt x="1" y="100"/>
                      <a:pt x="1" y="94"/>
                    </a:cubicBezTo>
                    <a:cubicBezTo>
                      <a:pt x="0" y="79"/>
                      <a:pt x="0" y="65"/>
                      <a:pt x="1" y="52"/>
                    </a:cubicBezTo>
                    <a:cubicBezTo>
                      <a:pt x="2" y="39"/>
                      <a:pt x="6" y="28"/>
                      <a:pt x="12" y="20"/>
                    </a:cubicBezTo>
                    <a:cubicBezTo>
                      <a:pt x="17" y="12"/>
                      <a:pt x="23" y="6"/>
                      <a:pt x="28" y="4"/>
                    </a:cubicBezTo>
                    <a:cubicBezTo>
                      <a:pt x="30" y="2"/>
                      <a:pt x="32" y="2"/>
                      <a:pt x="34" y="1"/>
                    </a:cubicBezTo>
                    <a:cubicBezTo>
                      <a:pt x="35" y="1"/>
                      <a:pt x="36" y="0"/>
                      <a:pt x="36" y="0"/>
                    </a:cubicBezTo>
                    <a:cubicBezTo>
                      <a:pt x="36" y="1"/>
                      <a:pt x="33" y="2"/>
                      <a:pt x="28" y="4"/>
                    </a:cubicBezTo>
                    <a:cubicBezTo>
                      <a:pt x="24" y="7"/>
                      <a:pt x="18" y="12"/>
                      <a:pt x="13" y="21"/>
                    </a:cubicBezTo>
                    <a:cubicBezTo>
                      <a:pt x="8" y="29"/>
                      <a:pt x="4" y="40"/>
                      <a:pt x="3" y="52"/>
                    </a:cubicBezTo>
                    <a:cubicBezTo>
                      <a:pt x="2" y="65"/>
                      <a:pt x="2" y="79"/>
                      <a:pt x="3" y="94"/>
                    </a:cubicBezTo>
                    <a:cubicBezTo>
                      <a:pt x="3" y="100"/>
                      <a:pt x="3" y="105"/>
                      <a:pt x="3" y="110"/>
                    </a:cubicBezTo>
                    <a:cubicBezTo>
                      <a:pt x="2" y="109"/>
                      <a:pt x="2" y="109"/>
                      <a:pt x="2" y="109"/>
                    </a:cubicBezTo>
                    <a:cubicBezTo>
                      <a:pt x="27" y="106"/>
                      <a:pt x="49" y="103"/>
                      <a:pt x="66" y="100"/>
                    </a:cubicBezTo>
                    <a:cubicBezTo>
                      <a:pt x="74" y="99"/>
                      <a:pt x="80" y="99"/>
                      <a:pt x="85" y="98"/>
                    </a:cubicBezTo>
                    <a:cubicBezTo>
                      <a:pt x="87" y="98"/>
                      <a:pt x="88" y="98"/>
                      <a:pt x="90" y="97"/>
                    </a:cubicBezTo>
                    <a:cubicBezTo>
                      <a:pt x="91" y="97"/>
                      <a:pt x="92" y="97"/>
                      <a:pt x="92" y="9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3" name="任意多边形: 形状 802">
                <a:extLst>
                  <a:ext uri="{FF2B5EF4-FFF2-40B4-BE49-F238E27FC236}">
                    <a16:creationId xmlns:a16="http://schemas.microsoft.com/office/drawing/2014/main" id="{10A930F2-4BDD-4FF2-B47D-01B59D77C0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951" y="2309813"/>
                <a:ext cx="55563" cy="50800"/>
              </a:xfrm>
              <a:custGeom>
                <a:avLst/>
                <a:gdLst>
                  <a:gd name="T0" fmla="*/ 24 w 24"/>
                  <a:gd name="T1" fmla="*/ 21 h 22"/>
                  <a:gd name="T2" fmla="*/ 11 w 24"/>
                  <a:gd name="T3" fmla="*/ 12 h 22"/>
                  <a:gd name="T4" fmla="*/ 1 w 24"/>
                  <a:gd name="T5" fmla="*/ 1 h 22"/>
                  <a:gd name="T6" fmla="*/ 13 w 24"/>
                  <a:gd name="T7" fmla="*/ 10 h 22"/>
                  <a:gd name="T8" fmla="*/ 24 w 24"/>
                  <a:gd name="T9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2">
                    <a:moveTo>
                      <a:pt x="24" y="21"/>
                    </a:moveTo>
                    <a:cubicBezTo>
                      <a:pt x="23" y="22"/>
                      <a:pt x="18" y="17"/>
                      <a:pt x="11" y="12"/>
                    </a:cubicBezTo>
                    <a:cubicBezTo>
                      <a:pt x="5" y="6"/>
                      <a:pt x="0" y="1"/>
                      <a:pt x="1" y="1"/>
                    </a:cubicBezTo>
                    <a:cubicBezTo>
                      <a:pt x="1" y="0"/>
                      <a:pt x="6" y="5"/>
                      <a:pt x="13" y="10"/>
                    </a:cubicBezTo>
                    <a:cubicBezTo>
                      <a:pt x="19" y="16"/>
                      <a:pt x="24" y="21"/>
                      <a:pt x="24" y="2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5" name="任意多边形: 形状 804">
                <a:extLst>
                  <a:ext uri="{FF2B5EF4-FFF2-40B4-BE49-F238E27FC236}">
                    <a16:creationId xmlns:a16="http://schemas.microsoft.com/office/drawing/2014/main" id="{D0FD3431-99D1-49EC-A3C7-E6D3ABA78A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0138" y="2463801"/>
                <a:ext cx="52388" cy="33338"/>
              </a:xfrm>
              <a:custGeom>
                <a:avLst/>
                <a:gdLst>
                  <a:gd name="T0" fmla="*/ 23 w 23"/>
                  <a:gd name="T1" fmla="*/ 1 h 15"/>
                  <a:gd name="T2" fmla="*/ 12 w 23"/>
                  <a:gd name="T3" fmla="*/ 8 h 15"/>
                  <a:gd name="T4" fmla="*/ 0 w 23"/>
                  <a:gd name="T5" fmla="*/ 15 h 15"/>
                  <a:gd name="T6" fmla="*/ 11 w 23"/>
                  <a:gd name="T7" fmla="*/ 7 h 15"/>
                  <a:gd name="T8" fmla="*/ 23 w 23"/>
                  <a:gd name="T9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5">
                    <a:moveTo>
                      <a:pt x="23" y="1"/>
                    </a:moveTo>
                    <a:cubicBezTo>
                      <a:pt x="23" y="1"/>
                      <a:pt x="18" y="5"/>
                      <a:pt x="12" y="8"/>
                    </a:cubicBezTo>
                    <a:cubicBezTo>
                      <a:pt x="6" y="12"/>
                      <a:pt x="0" y="15"/>
                      <a:pt x="0" y="15"/>
                    </a:cubicBezTo>
                    <a:cubicBezTo>
                      <a:pt x="0" y="14"/>
                      <a:pt x="5" y="11"/>
                      <a:pt x="11" y="7"/>
                    </a:cubicBezTo>
                    <a:cubicBezTo>
                      <a:pt x="17" y="3"/>
                      <a:pt x="23" y="0"/>
                      <a:pt x="23" y="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6" name="任意多边形: 形状 805">
                <a:extLst>
                  <a:ext uri="{FF2B5EF4-FFF2-40B4-BE49-F238E27FC236}">
                    <a16:creationId xmlns:a16="http://schemas.microsoft.com/office/drawing/2014/main" id="{37343E35-D4EF-4D96-B6EA-19F6AF7049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2063" y="2413001"/>
                <a:ext cx="9525" cy="77788"/>
              </a:xfrm>
              <a:custGeom>
                <a:avLst/>
                <a:gdLst>
                  <a:gd name="T0" fmla="*/ 1 w 4"/>
                  <a:gd name="T1" fmla="*/ 34 h 34"/>
                  <a:gd name="T2" fmla="*/ 1 w 4"/>
                  <a:gd name="T3" fmla="*/ 17 h 34"/>
                  <a:gd name="T4" fmla="*/ 3 w 4"/>
                  <a:gd name="T5" fmla="*/ 0 h 34"/>
                  <a:gd name="T6" fmla="*/ 3 w 4"/>
                  <a:gd name="T7" fmla="*/ 17 h 34"/>
                  <a:gd name="T8" fmla="*/ 1 w 4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4">
                    <a:moveTo>
                      <a:pt x="1" y="34"/>
                    </a:moveTo>
                    <a:cubicBezTo>
                      <a:pt x="0" y="34"/>
                      <a:pt x="0" y="26"/>
                      <a:pt x="1" y="17"/>
                    </a:cubicBezTo>
                    <a:cubicBezTo>
                      <a:pt x="1" y="7"/>
                      <a:pt x="2" y="0"/>
                      <a:pt x="3" y="0"/>
                    </a:cubicBezTo>
                    <a:cubicBezTo>
                      <a:pt x="4" y="0"/>
                      <a:pt x="4" y="7"/>
                      <a:pt x="3" y="17"/>
                    </a:cubicBezTo>
                    <a:cubicBezTo>
                      <a:pt x="2" y="26"/>
                      <a:pt x="1" y="34"/>
                      <a:pt x="1" y="34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7" name="任意多边形: 形状 806">
                <a:extLst>
                  <a:ext uri="{FF2B5EF4-FFF2-40B4-BE49-F238E27FC236}">
                    <a16:creationId xmlns:a16="http://schemas.microsoft.com/office/drawing/2014/main" id="{AF2CE801-30A4-4D2C-B911-CF0E3E6A34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0801" y="2541588"/>
                <a:ext cx="52388" cy="57150"/>
              </a:xfrm>
              <a:custGeom>
                <a:avLst/>
                <a:gdLst>
                  <a:gd name="T0" fmla="*/ 23 w 23"/>
                  <a:gd name="T1" fmla="*/ 24 h 25"/>
                  <a:gd name="T2" fmla="*/ 12 w 23"/>
                  <a:gd name="T3" fmla="*/ 12 h 25"/>
                  <a:gd name="T4" fmla="*/ 1 w 23"/>
                  <a:gd name="T5" fmla="*/ 0 h 25"/>
                  <a:gd name="T6" fmla="*/ 13 w 23"/>
                  <a:gd name="T7" fmla="*/ 11 h 25"/>
                  <a:gd name="T8" fmla="*/ 23 w 23"/>
                  <a:gd name="T9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5">
                    <a:moveTo>
                      <a:pt x="23" y="24"/>
                    </a:moveTo>
                    <a:cubicBezTo>
                      <a:pt x="22" y="25"/>
                      <a:pt x="18" y="19"/>
                      <a:pt x="12" y="12"/>
                    </a:cubicBezTo>
                    <a:cubicBezTo>
                      <a:pt x="5" y="5"/>
                      <a:pt x="0" y="0"/>
                      <a:pt x="1" y="0"/>
                    </a:cubicBezTo>
                    <a:cubicBezTo>
                      <a:pt x="1" y="0"/>
                      <a:pt x="7" y="4"/>
                      <a:pt x="13" y="11"/>
                    </a:cubicBezTo>
                    <a:cubicBezTo>
                      <a:pt x="19" y="17"/>
                      <a:pt x="23" y="24"/>
                      <a:pt x="23" y="24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8" name="任意多边形: 形状 807">
                <a:extLst>
                  <a:ext uri="{FF2B5EF4-FFF2-40B4-BE49-F238E27FC236}">
                    <a16:creationId xmlns:a16="http://schemas.microsoft.com/office/drawing/2014/main" id="{75C59457-B4B5-4704-AFFE-B53A6C65E6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3500" y="2373313"/>
                <a:ext cx="57150" cy="39688"/>
              </a:xfrm>
              <a:custGeom>
                <a:avLst/>
                <a:gdLst>
                  <a:gd name="T0" fmla="*/ 24 w 25"/>
                  <a:gd name="T1" fmla="*/ 0 h 17"/>
                  <a:gd name="T2" fmla="*/ 13 w 25"/>
                  <a:gd name="T3" fmla="*/ 10 h 17"/>
                  <a:gd name="T4" fmla="*/ 0 w 25"/>
                  <a:gd name="T5" fmla="*/ 17 h 17"/>
                  <a:gd name="T6" fmla="*/ 12 w 25"/>
                  <a:gd name="T7" fmla="*/ 8 h 17"/>
                  <a:gd name="T8" fmla="*/ 24 w 25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7">
                    <a:moveTo>
                      <a:pt x="24" y="0"/>
                    </a:moveTo>
                    <a:cubicBezTo>
                      <a:pt x="25" y="1"/>
                      <a:pt x="19" y="5"/>
                      <a:pt x="13" y="10"/>
                    </a:cubicBezTo>
                    <a:cubicBezTo>
                      <a:pt x="6" y="14"/>
                      <a:pt x="0" y="17"/>
                      <a:pt x="0" y="17"/>
                    </a:cubicBezTo>
                    <a:cubicBezTo>
                      <a:pt x="0" y="16"/>
                      <a:pt x="5" y="12"/>
                      <a:pt x="12" y="8"/>
                    </a:cubicBezTo>
                    <a:cubicBezTo>
                      <a:pt x="18" y="3"/>
                      <a:pt x="24" y="0"/>
                      <a:pt x="24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9" name="任意多边形: 形状 808">
                <a:extLst>
                  <a:ext uri="{FF2B5EF4-FFF2-40B4-BE49-F238E27FC236}">
                    <a16:creationId xmlns:a16="http://schemas.microsoft.com/office/drawing/2014/main" id="{91DDCB31-0C1E-4967-8176-9CB23078F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7138" y="2293938"/>
                <a:ext cx="65088" cy="41275"/>
              </a:xfrm>
              <a:custGeom>
                <a:avLst/>
                <a:gdLst>
                  <a:gd name="T0" fmla="*/ 27 w 28"/>
                  <a:gd name="T1" fmla="*/ 0 h 18"/>
                  <a:gd name="T2" fmla="*/ 15 w 28"/>
                  <a:gd name="T3" fmla="*/ 10 h 18"/>
                  <a:gd name="T4" fmla="*/ 1 w 28"/>
                  <a:gd name="T5" fmla="*/ 17 h 18"/>
                  <a:gd name="T6" fmla="*/ 13 w 28"/>
                  <a:gd name="T7" fmla="*/ 8 h 18"/>
                  <a:gd name="T8" fmla="*/ 27 w 28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8">
                    <a:moveTo>
                      <a:pt x="27" y="0"/>
                    </a:moveTo>
                    <a:cubicBezTo>
                      <a:pt x="28" y="1"/>
                      <a:pt x="22" y="5"/>
                      <a:pt x="15" y="10"/>
                    </a:cubicBezTo>
                    <a:cubicBezTo>
                      <a:pt x="7" y="15"/>
                      <a:pt x="1" y="18"/>
                      <a:pt x="1" y="17"/>
                    </a:cubicBezTo>
                    <a:cubicBezTo>
                      <a:pt x="0" y="17"/>
                      <a:pt x="6" y="13"/>
                      <a:pt x="13" y="8"/>
                    </a:cubicBezTo>
                    <a:cubicBezTo>
                      <a:pt x="21" y="3"/>
                      <a:pt x="27" y="0"/>
                      <a:pt x="27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0" name="任意多边形: 形状 809">
                <a:extLst>
                  <a:ext uri="{FF2B5EF4-FFF2-40B4-BE49-F238E27FC236}">
                    <a16:creationId xmlns:a16="http://schemas.microsoft.com/office/drawing/2014/main" id="{F47F4D6B-BFAA-4A38-9FCD-ECF6E7B35C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2550" y="2266951"/>
                <a:ext cx="28575" cy="61913"/>
              </a:xfrm>
              <a:custGeom>
                <a:avLst/>
                <a:gdLst>
                  <a:gd name="T0" fmla="*/ 11 w 12"/>
                  <a:gd name="T1" fmla="*/ 26 h 27"/>
                  <a:gd name="T2" fmla="*/ 5 w 12"/>
                  <a:gd name="T3" fmla="*/ 14 h 27"/>
                  <a:gd name="T4" fmla="*/ 1 w 12"/>
                  <a:gd name="T5" fmla="*/ 0 h 27"/>
                  <a:gd name="T6" fmla="*/ 7 w 12"/>
                  <a:gd name="T7" fmla="*/ 13 h 27"/>
                  <a:gd name="T8" fmla="*/ 11 w 12"/>
                  <a:gd name="T9" fmla="*/ 2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7">
                    <a:moveTo>
                      <a:pt x="11" y="26"/>
                    </a:moveTo>
                    <a:cubicBezTo>
                      <a:pt x="11" y="27"/>
                      <a:pt x="8" y="21"/>
                      <a:pt x="5" y="14"/>
                    </a:cubicBezTo>
                    <a:cubicBezTo>
                      <a:pt x="2" y="7"/>
                      <a:pt x="0" y="1"/>
                      <a:pt x="1" y="0"/>
                    </a:cubicBezTo>
                    <a:cubicBezTo>
                      <a:pt x="1" y="0"/>
                      <a:pt x="4" y="6"/>
                      <a:pt x="7" y="13"/>
                    </a:cubicBezTo>
                    <a:cubicBezTo>
                      <a:pt x="10" y="20"/>
                      <a:pt x="12" y="26"/>
                      <a:pt x="11" y="26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1" name="任意多边形: 形状 810">
                <a:extLst>
                  <a:ext uri="{FF2B5EF4-FFF2-40B4-BE49-F238E27FC236}">
                    <a16:creationId xmlns:a16="http://schemas.microsoft.com/office/drawing/2014/main" id="{AE2096DA-564D-4EF2-8730-867F76353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675" y="2328863"/>
                <a:ext cx="38100" cy="38100"/>
              </a:xfrm>
              <a:custGeom>
                <a:avLst/>
                <a:gdLst>
                  <a:gd name="T0" fmla="*/ 17 w 17"/>
                  <a:gd name="T1" fmla="*/ 17 h 17"/>
                  <a:gd name="T2" fmla="*/ 8 w 17"/>
                  <a:gd name="T3" fmla="*/ 9 h 17"/>
                  <a:gd name="T4" fmla="*/ 0 w 17"/>
                  <a:gd name="T5" fmla="*/ 1 h 17"/>
                  <a:gd name="T6" fmla="*/ 9 w 17"/>
                  <a:gd name="T7" fmla="*/ 8 h 17"/>
                  <a:gd name="T8" fmla="*/ 17 w 17"/>
                  <a:gd name="T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7" y="17"/>
                    </a:moveTo>
                    <a:cubicBezTo>
                      <a:pt x="16" y="17"/>
                      <a:pt x="12" y="14"/>
                      <a:pt x="8" y="9"/>
                    </a:cubicBezTo>
                    <a:cubicBezTo>
                      <a:pt x="3" y="5"/>
                      <a:pt x="0" y="1"/>
                      <a:pt x="0" y="1"/>
                    </a:cubicBezTo>
                    <a:cubicBezTo>
                      <a:pt x="1" y="0"/>
                      <a:pt x="5" y="3"/>
                      <a:pt x="9" y="8"/>
                    </a:cubicBezTo>
                    <a:cubicBezTo>
                      <a:pt x="14" y="12"/>
                      <a:pt x="17" y="16"/>
                      <a:pt x="17" y="17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2" name="任意多边形: 形状 811">
                <a:extLst>
                  <a:ext uri="{FF2B5EF4-FFF2-40B4-BE49-F238E27FC236}">
                    <a16:creationId xmlns:a16="http://schemas.microsoft.com/office/drawing/2014/main" id="{870519FB-912F-4042-89B3-06C48B17B3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7800" y="2398713"/>
                <a:ext cx="3175" cy="57150"/>
              </a:xfrm>
              <a:custGeom>
                <a:avLst/>
                <a:gdLst>
                  <a:gd name="T0" fmla="*/ 2 w 2"/>
                  <a:gd name="T1" fmla="*/ 25 h 25"/>
                  <a:gd name="T2" fmla="*/ 0 w 2"/>
                  <a:gd name="T3" fmla="*/ 13 h 25"/>
                  <a:gd name="T4" fmla="*/ 0 w 2"/>
                  <a:gd name="T5" fmla="*/ 0 h 25"/>
                  <a:gd name="T6" fmla="*/ 2 w 2"/>
                  <a:gd name="T7" fmla="*/ 13 h 25"/>
                  <a:gd name="T8" fmla="*/ 2 w 2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5">
                    <a:moveTo>
                      <a:pt x="2" y="25"/>
                    </a:moveTo>
                    <a:cubicBezTo>
                      <a:pt x="1" y="25"/>
                      <a:pt x="0" y="19"/>
                      <a:pt x="0" y="13"/>
                    </a:cubicBezTo>
                    <a:cubicBezTo>
                      <a:pt x="0" y="6"/>
                      <a:pt x="0" y="0"/>
                      <a:pt x="0" y="0"/>
                    </a:cubicBezTo>
                    <a:cubicBezTo>
                      <a:pt x="1" y="0"/>
                      <a:pt x="2" y="6"/>
                      <a:pt x="2" y="13"/>
                    </a:cubicBezTo>
                    <a:cubicBezTo>
                      <a:pt x="2" y="19"/>
                      <a:pt x="2" y="25"/>
                      <a:pt x="2" y="2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3" name="任意多边形: 形状 812">
                <a:extLst>
                  <a:ext uri="{FF2B5EF4-FFF2-40B4-BE49-F238E27FC236}">
                    <a16:creationId xmlns:a16="http://schemas.microsoft.com/office/drawing/2014/main" id="{7CE33356-6FC1-41D2-8F50-D7B52105CF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7488" y="2427288"/>
                <a:ext cx="65088" cy="12700"/>
              </a:xfrm>
              <a:custGeom>
                <a:avLst/>
                <a:gdLst>
                  <a:gd name="T0" fmla="*/ 28 w 28"/>
                  <a:gd name="T1" fmla="*/ 5 h 6"/>
                  <a:gd name="T2" fmla="*/ 14 w 28"/>
                  <a:gd name="T3" fmla="*/ 4 h 6"/>
                  <a:gd name="T4" fmla="*/ 1 w 28"/>
                  <a:gd name="T5" fmla="*/ 1 h 6"/>
                  <a:gd name="T6" fmla="*/ 14 w 28"/>
                  <a:gd name="T7" fmla="*/ 2 h 6"/>
                  <a:gd name="T8" fmla="*/ 28 w 28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6">
                    <a:moveTo>
                      <a:pt x="28" y="5"/>
                    </a:moveTo>
                    <a:cubicBezTo>
                      <a:pt x="28" y="5"/>
                      <a:pt x="22" y="6"/>
                      <a:pt x="14" y="4"/>
                    </a:cubicBezTo>
                    <a:cubicBezTo>
                      <a:pt x="6" y="3"/>
                      <a:pt x="0" y="1"/>
                      <a:pt x="1" y="1"/>
                    </a:cubicBezTo>
                    <a:cubicBezTo>
                      <a:pt x="1" y="0"/>
                      <a:pt x="7" y="1"/>
                      <a:pt x="14" y="2"/>
                    </a:cubicBezTo>
                    <a:cubicBezTo>
                      <a:pt x="22" y="3"/>
                      <a:pt x="28" y="4"/>
                      <a:pt x="28" y="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4" name="任意多边形: 形状 813">
                <a:extLst>
                  <a:ext uri="{FF2B5EF4-FFF2-40B4-BE49-F238E27FC236}">
                    <a16:creationId xmlns:a16="http://schemas.microsoft.com/office/drawing/2014/main" id="{EA92D3A5-603A-4EB7-B4C1-B422461B2B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8075" y="2552701"/>
                <a:ext cx="34925" cy="69850"/>
              </a:xfrm>
              <a:custGeom>
                <a:avLst/>
                <a:gdLst>
                  <a:gd name="T0" fmla="*/ 15 w 15"/>
                  <a:gd name="T1" fmla="*/ 30 h 31"/>
                  <a:gd name="T2" fmla="*/ 7 w 15"/>
                  <a:gd name="T3" fmla="*/ 16 h 31"/>
                  <a:gd name="T4" fmla="*/ 1 w 15"/>
                  <a:gd name="T5" fmla="*/ 0 h 31"/>
                  <a:gd name="T6" fmla="*/ 9 w 15"/>
                  <a:gd name="T7" fmla="*/ 15 h 31"/>
                  <a:gd name="T8" fmla="*/ 15 w 15"/>
                  <a:gd name="T9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31">
                    <a:moveTo>
                      <a:pt x="15" y="30"/>
                    </a:moveTo>
                    <a:cubicBezTo>
                      <a:pt x="14" y="31"/>
                      <a:pt x="11" y="24"/>
                      <a:pt x="7" y="16"/>
                    </a:cubicBezTo>
                    <a:cubicBezTo>
                      <a:pt x="3" y="8"/>
                      <a:pt x="0" y="1"/>
                      <a:pt x="1" y="0"/>
                    </a:cubicBezTo>
                    <a:cubicBezTo>
                      <a:pt x="1" y="0"/>
                      <a:pt x="5" y="7"/>
                      <a:pt x="9" y="15"/>
                    </a:cubicBezTo>
                    <a:cubicBezTo>
                      <a:pt x="13" y="23"/>
                      <a:pt x="15" y="30"/>
                      <a:pt x="15" y="3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5" name="任意多边形: 形状 814">
                <a:extLst>
                  <a:ext uri="{FF2B5EF4-FFF2-40B4-BE49-F238E27FC236}">
                    <a16:creationId xmlns:a16="http://schemas.microsoft.com/office/drawing/2014/main" id="{182805A0-11E4-4F50-8A19-3CCF18BB94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5075" y="2709863"/>
                <a:ext cx="42863" cy="57150"/>
              </a:xfrm>
              <a:custGeom>
                <a:avLst/>
                <a:gdLst>
                  <a:gd name="T0" fmla="*/ 18 w 19"/>
                  <a:gd name="T1" fmla="*/ 25 h 25"/>
                  <a:gd name="T2" fmla="*/ 9 w 19"/>
                  <a:gd name="T3" fmla="*/ 13 h 25"/>
                  <a:gd name="T4" fmla="*/ 1 w 19"/>
                  <a:gd name="T5" fmla="*/ 0 h 25"/>
                  <a:gd name="T6" fmla="*/ 10 w 19"/>
                  <a:gd name="T7" fmla="*/ 12 h 25"/>
                  <a:gd name="T8" fmla="*/ 18 w 19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18" y="25"/>
                    </a:moveTo>
                    <a:cubicBezTo>
                      <a:pt x="18" y="25"/>
                      <a:pt x="14" y="20"/>
                      <a:pt x="9" y="13"/>
                    </a:cubicBezTo>
                    <a:cubicBezTo>
                      <a:pt x="4" y="6"/>
                      <a:pt x="0" y="0"/>
                      <a:pt x="1" y="0"/>
                    </a:cubicBezTo>
                    <a:cubicBezTo>
                      <a:pt x="1" y="0"/>
                      <a:pt x="5" y="5"/>
                      <a:pt x="10" y="12"/>
                    </a:cubicBezTo>
                    <a:cubicBezTo>
                      <a:pt x="15" y="18"/>
                      <a:pt x="19" y="24"/>
                      <a:pt x="18" y="2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6" name="任意多边形: 形状 815">
                <a:extLst>
                  <a:ext uri="{FF2B5EF4-FFF2-40B4-BE49-F238E27FC236}">
                    <a16:creationId xmlns:a16="http://schemas.microsoft.com/office/drawing/2014/main" id="{13784B89-4CF5-479D-AFBA-4BA4BCC0E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5563" y="2705101"/>
                <a:ext cx="61913" cy="25400"/>
              </a:xfrm>
              <a:custGeom>
                <a:avLst/>
                <a:gdLst>
                  <a:gd name="T0" fmla="*/ 27 w 27"/>
                  <a:gd name="T1" fmla="*/ 0 h 11"/>
                  <a:gd name="T2" fmla="*/ 14 w 27"/>
                  <a:gd name="T3" fmla="*/ 6 h 11"/>
                  <a:gd name="T4" fmla="*/ 0 w 27"/>
                  <a:gd name="T5" fmla="*/ 11 h 11"/>
                  <a:gd name="T6" fmla="*/ 13 w 27"/>
                  <a:gd name="T7" fmla="*/ 4 h 11"/>
                  <a:gd name="T8" fmla="*/ 27 w 27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1">
                    <a:moveTo>
                      <a:pt x="27" y="0"/>
                    </a:moveTo>
                    <a:cubicBezTo>
                      <a:pt x="27" y="1"/>
                      <a:pt x="21" y="3"/>
                      <a:pt x="14" y="6"/>
                    </a:cubicBezTo>
                    <a:cubicBezTo>
                      <a:pt x="6" y="9"/>
                      <a:pt x="0" y="11"/>
                      <a:pt x="0" y="11"/>
                    </a:cubicBezTo>
                    <a:cubicBezTo>
                      <a:pt x="0" y="10"/>
                      <a:pt x="6" y="7"/>
                      <a:pt x="13" y="4"/>
                    </a:cubicBezTo>
                    <a:cubicBezTo>
                      <a:pt x="21" y="1"/>
                      <a:pt x="27" y="0"/>
                      <a:pt x="27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7" name="任意多边形: 形状 816">
                <a:extLst>
                  <a:ext uri="{FF2B5EF4-FFF2-40B4-BE49-F238E27FC236}">
                    <a16:creationId xmlns:a16="http://schemas.microsoft.com/office/drawing/2014/main" id="{7DC1449F-8AA6-49E0-8264-0D36F15A8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2838" y="2773363"/>
                <a:ext cx="25400" cy="49213"/>
              </a:xfrm>
              <a:custGeom>
                <a:avLst/>
                <a:gdLst>
                  <a:gd name="T0" fmla="*/ 0 w 11"/>
                  <a:gd name="T1" fmla="*/ 21 h 21"/>
                  <a:gd name="T2" fmla="*/ 4 w 11"/>
                  <a:gd name="T3" fmla="*/ 10 h 21"/>
                  <a:gd name="T4" fmla="*/ 10 w 11"/>
                  <a:gd name="T5" fmla="*/ 0 h 21"/>
                  <a:gd name="T6" fmla="*/ 6 w 11"/>
                  <a:gd name="T7" fmla="*/ 11 h 21"/>
                  <a:gd name="T8" fmla="*/ 0 w 11"/>
                  <a:gd name="T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21">
                    <a:moveTo>
                      <a:pt x="0" y="21"/>
                    </a:moveTo>
                    <a:cubicBezTo>
                      <a:pt x="0" y="21"/>
                      <a:pt x="2" y="16"/>
                      <a:pt x="4" y="10"/>
                    </a:cubicBezTo>
                    <a:cubicBezTo>
                      <a:pt x="7" y="4"/>
                      <a:pt x="10" y="0"/>
                      <a:pt x="10" y="0"/>
                    </a:cubicBezTo>
                    <a:cubicBezTo>
                      <a:pt x="11" y="0"/>
                      <a:pt x="9" y="5"/>
                      <a:pt x="6" y="11"/>
                    </a:cubicBezTo>
                    <a:cubicBezTo>
                      <a:pt x="4" y="17"/>
                      <a:pt x="1" y="21"/>
                      <a:pt x="0" y="2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8" name="任意多边形: 形状 817">
                <a:extLst>
                  <a:ext uri="{FF2B5EF4-FFF2-40B4-BE49-F238E27FC236}">
                    <a16:creationId xmlns:a16="http://schemas.microsoft.com/office/drawing/2014/main" id="{FAC2CF2C-5AD1-480A-BF2B-2EEA726544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7588" y="2360613"/>
                <a:ext cx="11113" cy="50800"/>
              </a:xfrm>
              <a:custGeom>
                <a:avLst/>
                <a:gdLst>
                  <a:gd name="T0" fmla="*/ 5 w 5"/>
                  <a:gd name="T1" fmla="*/ 21 h 22"/>
                  <a:gd name="T2" fmla="*/ 1 w 5"/>
                  <a:gd name="T3" fmla="*/ 11 h 22"/>
                  <a:gd name="T4" fmla="*/ 1 w 5"/>
                  <a:gd name="T5" fmla="*/ 0 h 22"/>
                  <a:gd name="T6" fmla="*/ 3 w 5"/>
                  <a:gd name="T7" fmla="*/ 11 h 22"/>
                  <a:gd name="T8" fmla="*/ 5 w 5"/>
                  <a:gd name="T9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2">
                    <a:moveTo>
                      <a:pt x="5" y="21"/>
                    </a:moveTo>
                    <a:cubicBezTo>
                      <a:pt x="4" y="22"/>
                      <a:pt x="2" y="17"/>
                      <a:pt x="1" y="11"/>
                    </a:cubicBezTo>
                    <a:cubicBezTo>
                      <a:pt x="0" y="5"/>
                      <a:pt x="1" y="0"/>
                      <a:pt x="1" y="0"/>
                    </a:cubicBezTo>
                    <a:cubicBezTo>
                      <a:pt x="2" y="0"/>
                      <a:pt x="2" y="5"/>
                      <a:pt x="3" y="11"/>
                    </a:cubicBezTo>
                    <a:cubicBezTo>
                      <a:pt x="4" y="17"/>
                      <a:pt x="5" y="21"/>
                      <a:pt x="5" y="2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9" name="任意多边形: 形状 818">
                <a:extLst>
                  <a:ext uri="{FF2B5EF4-FFF2-40B4-BE49-F238E27FC236}">
                    <a16:creationId xmlns:a16="http://schemas.microsoft.com/office/drawing/2014/main" id="{9A3C9BB8-9CD0-4F13-9100-25482BB28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713" y="2700338"/>
                <a:ext cx="52388" cy="30163"/>
              </a:xfrm>
              <a:custGeom>
                <a:avLst/>
                <a:gdLst>
                  <a:gd name="T0" fmla="*/ 23 w 23"/>
                  <a:gd name="T1" fmla="*/ 13 h 13"/>
                  <a:gd name="T2" fmla="*/ 11 w 23"/>
                  <a:gd name="T3" fmla="*/ 7 h 13"/>
                  <a:gd name="T4" fmla="*/ 0 w 23"/>
                  <a:gd name="T5" fmla="*/ 0 h 13"/>
                  <a:gd name="T6" fmla="*/ 12 w 23"/>
                  <a:gd name="T7" fmla="*/ 5 h 13"/>
                  <a:gd name="T8" fmla="*/ 23 w 23"/>
                  <a:gd name="T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3">
                    <a:moveTo>
                      <a:pt x="23" y="13"/>
                    </a:moveTo>
                    <a:cubicBezTo>
                      <a:pt x="22" y="13"/>
                      <a:pt x="17" y="11"/>
                      <a:pt x="11" y="7"/>
                    </a:cubicBezTo>
                    <a:cubicBezTo>
                      <a:pt x="5" y="4"/>
                      <a:pt x="0" y="1"/>
                      <a:pt x="0" y="0"/>
                    </a:cubicBezTo>
                    <a:cubicBezTo>
                      <a:pt x="0" y="0"/>
                      <a:pt x="6" y="2"/>
                      <a:pt x="12" y="5"/>
                    </a:cubicBezTo>
                    <a:cubicBezTo>
                      <a:pt x="18" y="9"/>
                      <a:pt x="23" y="12"/>
                      <a:pt x="23" y="13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0" name="任意多边形: 形状 819">
                <a:extLst>
                  <a:ext uri="{FF2B5EF4-FFF2-40B4-BE49-F238E27FC236}">
                    <a16:creationId xmlns:a16="http://schemas.microsoft.com/office/drawing/2014/main" id="{4140F9F3-0395-47EA-BA8B-DA3EDC6380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6025" y="2578101"/>
                <a:ext cx="55563" cy="47625"/>
              </a:xfrm>
              <a:custGeom>
                <a:avLst/>
                <a:gdLst>
                  <a:gd name="T0" fmla="*/ 23 w 24"/>
                  <a:gd name="T1" fmla="*/ 0 h 21"/>
                  <a:gd name="T2" fmla="*/ 13 w 24"/>
                  <a:gd name="T3" fmla="*/ 11 h 21"/>
                  <a:gd name="T4" fmla="*/ 1 w 24"/>
                  <a:gd name="T5" fmla="*/ 21 h 21"/>
                  <a:gd name="T6" fmla="*/ 11 w 24"/>
                  <a:gd name="T7" fmla="*/ 10 h 21"/>
                  <a:gd name="T8" fmla="*/ 23 w 24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1">
                    <a:moveTo>
                      <a:pt x="23" y="0"/>
                    </a:moveTo>
                    <a:cubicBezTo>
                      <a:pt x="24" y="0"/>
                      <a:pt x="19" y="5"/>
                      <a:pt x="13" y="11"/>
                    </a:cubicBezTo>
                    <a:cubicBezTo>
                      <a:pt x="6" y="17"/>
                      <a:pt x="1" y="21"/>
                      <a:pt x="1" y="21"/>
                    </a:cubicBezTo>
                    <a:cubicBezTo>
                      <a:pt x="0" y="20"/>
                      <a:pt x="5" y="15"/>
                      <a:pt x="11" y="10"/>
                    </a:cubicBezTo>
                    <a:cubicBezTo>
                      <a:pt x="18" y="4"/>
                      <a:pt x="23" y="0"/>
                      <a:pt x="23" y="0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1" name="矩形 820">
                <a:extLst>
                  <a:ext uri="{FF2B5EF4-FFF2-40B4-BE49-F238E27FC236}">
                    <a16:creationId xmlns:a16="http://schemas.microsoft.com/office/drawing/2014/main" id="{6E9D4E13-3EB1-4AF1-99DA-7A5ECD4BB7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6025" y="2574926"/>
                <a:ext cx="144463" cy="11271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2" name="任意多边形: 形状 821">
                <a:extLst>
                  <a:ext uri="{FF2B5EF4-FFF2-40B4-BE49-F238E27FC236}">
                    <a16:creationId xmlns:a16="http://schemas.microsoft.com/office/drawing/2014/main" id="{1955DAD1-214E-4F5D-AE50-8A85ADF142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5550" y="2605088"/>
                <a:ext cx="12700" cy="14288"/>
              </a:xfrm>
              <a:custGeom>
                <a:avLst/>
                <a:gdLst>
                  <a:gd name="T0" fmla="*/ 5 w 6"/>
                  <a:gd name="T1" fmla="*/ 0 h 6"/>
                  <a:gd name="T2" fmla="*/ 0 w 6"/>
                  <a:gd name="T3" fmla="*/ 4 h 6"/>
                  <a:gd name="T4" fmla="*/ 1 w 6"/>
                  <a:gd name="T5" fmla="*/ 6 h 6"/>
                  <a:gd name="T6" fmla="*/ 6 w 6"/>
                  <a:gd name="T7" fmla="*/ 1 h 6"/>
                  <a:gd name="T8" fmla="*/ 5 w 6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5" y="0"/>
                    </a:moveTo>
                    <a:cubicBezTo>
                      <a:pt x="3" y="1"/>
                      <a:pt x="2" y="3"/>
                      <a:pt x="0" y="4"/>
                    </a:cubicBezTo>
                    <a:cubicBezTo>
                      <a:pt x="1" y="5"/>
                      <a:pt x="1" y="5"/>
                      <a:pt x="1" y="6"/>
                    </a:cubicBezTo>
                    <a:cubicBezTo>
                      <a:pt x="3" y="4"/>
                      <a:pt x="4" y="3"/>
                      <a:pt x="6" y="1"/>
                    </a:cubicBezTo>
                    <a:cubicBezTo>
                      <a:pt x="6" y="1"/>
                      <a:pt x="5" y="1"/>
                      <a:pt x="5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3" name="任意多边形: 形状 822">
                <a:extLst>
                  <a:ext uri="{FF2B5EF4-FFF2-40B4-BE49-F238E27FC236}">
                    <a16:creationId xmlns:a16="http://schemas.microsoft.com/office/drawing/2014/main" id="{6D7BF195-3F93-4177-BE4D-1AE7DA80E7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38" y="2565401"/>
                <a:ext cx="120650" cy="85725"/>
              </a:xfrm>
              <a:custGeom>
                <a:avLst/>
                <a:gdLst>
                  <a:gd name="T0" fmla="*/ 53 w 53"/>
                  <a:gd name="T1" fmla="*/ 36 h 37"/>
                  <a:gd name="T2" fmla="*/ 50 w 53"/>
                  <a:gd name="T3" fmla="*/ 37 h 37"/>
                  <a:gd name="T4" fmla="*/ 43 w 53"/>
                  <a:gd name="T5" fmla="*/ 36 h 37"/>
                  <a:gd name="T6" fmla="*/ 32 w 53"/>
                  <a:gd name="T7" fmla="*/ 34 h 37"/>
                  <a:gd name="T8" fmla="*/ 20 w 53"/>
                  <a:gd name="T9" fmla="*/ 28 h 37"/>
                  <a:gd name="T10" fmla="*/ 10 w 53"/>
                  <a:gd name="T11" fmla="*/ 18 h 37"/>
                  <a:gd name="T12" fmla="*/ 4 w 53"/>
                  <a:gd name="T13" fmla="*/ 9 h 37"/>
                  <a:gd name="T14" fmla="*/ 1 w 53"/>
                  <a:gd name="T15" fmla="*/ 2 h 37"/>
                  <a:gd name="T16" fmla="*/ 0 w 53"/>
                  <a:gd name="T17" fmla="*/ 0 h 37"/>
                  <a:gd name="T18" fmla="*/ 5 w 53"/>
                  <a:gd name="T19" fmla="*/ 9 h 37"/>
                  <a:gd name="T20" fmla="*/ 11 w 53"/>
                  <a:gd name="T21" fmla="*/ 17 h 37"/>
                  <a:gd name="T22" fmla="*/ 21 w 53"/>
                  <a:gd name="T23" fmla="*/ 26 h 37"/>
                  <a:gd name="T24" fmla="*/ 32 w 53"/>
                  <a:gd name="T25" fmla="*/ 32 h 37"/>
                  <a:gd name="T26" fmla="*/ 43 w 53"/>
                  <a:gd name="T27" fmla="*/ 35 h 37"/>
                  <a:gd name="T28" fmla="*/ 53 w 53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3" h="37">
                    <a:moveTo>
                      <a:pt x="53" y="36"/>
                    </a:moveTo>
                    <a:cubicBezTo>
                      <a:pt x="53" y="36"/>
                      <a:pt x="52" y="36"/>
                      <a:pt x="50" y="37"/>
                    </a:cubicBezTo>
                    <a:cubicBezTo>
                      <a:pt x="48" y="37"/>
                      <a:pt x="46" y="37"/>
                      <a:pt x="43" y="36"/>
                    </a:cubicBezTo>
                    <a:cubicBezTo>
                      <a:pt x="39" y="36"/>
                      <a:pt x="36" y="35"/>
                      <a:pt x="32" y="34"/>
                    </a:cubicBezTo>
                    <a:cubicBezTo>
                      <a:pt x="28" y="32"/>
                      <a:pt x="24" y="30"/>
                      <a:pt x="20" y="28"/>
                    </a:cubicBezTo>
                    <a:cubicBezTo>
                      <a:pt x="16" y="25"/>
                      <a:pt x="12" y="22"/>
                      <a:pt x="10" y="18"/>
                    </a:cubicBezTo>
                    <a:cubicBezTo>
                      <a:pt x="7" y="15"/>
                      <a:pt x="5" y="12"/>
                      <a:pt x="4" y="9"/>
                    </a:cubicBezTo>
                    <a:cubicBezTo>
                      <a:pt x="2" y="6"/>
                      <a:pt x="1" y="4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2" y="3"/>
                      <a:pt x="5" y="9"/>
                    </a:cubicBezTo>
                    <a:cubicBezTo>
                      <a:pt x="6" y="11"/>
                      <a:pt x="8" y="14"/>
                      <a:pt x="11" y="17"/>
                    </a:cubicBezTo>
                    <a:cubicBezTo>
                      <a:pt x="14" y="20"/>
                      <a:pt x="17" y="23"/>
                      <a:pt x="21" y="26"/>
                    </a:cubicBezTo>
                    <a:cubicBezTo>
                      <a:pt x="25" y="29"/>
                      <a:pt x="29" y="31"/>
                      <a:pt x="32" y="32"/>
                    </a:cubicBezTo>
                    <a:cubicBezTo>
                      <a:pt x="36" y="33"/>
                      <a:pt x="40" y="34"/>
                      <a:pt x="43" y="35"/>
                    </a:cubicBezTo>
                    <a:cubicBezTo>
                      <a:pt x="49" y="36"/>
                      <a:pt x="53" y="36"/>
                      <a:pt x="53" y="3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4" name="任意多边形: 形状 823">
                <a:extLst>
                  <a:ext uri="{FF2B5EF4-FFF2-40B4-BE49-F238E27FC236}">
                    <a16:creationId xmlns:a16="http://schemas.microsoft.com/office/drawing/2014/main" id="{EA83EBC8-25C0-4E72-B526-2F7896F97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4225" y="2490788"/>
                <a:ext cx="795338" cy="430213"/>
              </a:xfrm>
              <a:custGeom>
                <a:avLst/>
                <a:gdLst>
                  <a:gd name="T0" fmla="*/ 20 w 348"/>
                  <a:gd name="T1" fmla="*/ 134 h 188"/>
                  <a:gd name="T2" fmla="*/ 78 w 348"/>
                  <a:gd name="T3" fmla="*/ 127 h 188"/>
                  <a:gd name="T4" fmla="*/ 119 w 348"/>
                  <a:gd name="T5" fmla="*/ 153 h 188"/>
                  <a:gd name="T6" fmla="*/ 275 w 348"/>
                  <a:gd name="T7" fmla="*/ 116 h 188"/>
                  <a:gd name="T8" fmla="*/ 279 w 348"/>
                  <a:gd name="T9" fmla="*/ 9 h 188"/>
                  <a:gd name="T10" fmla="*/ 348 w 348"/>
                  <a:gd name="T11" fmla="*/ 0 h 188"/>
                  <a:gd name="T12" fmla="*/ 348 w 348"/>
                  <a:gd name="T13" fmla="*/ 129 h 188"/>
                  <a:gd name="T14" fmla="*/ 287 w 348"/>
                  <a:gd name="T15" fmla="*/ 187 h 188"/>
                  <a:gd name="T16" fmla="*/ 59 w 348"/>
                  <a:gd name="T17" fmla="*/ 181 h 188"/>
                  <a:gd name="T18" fmla="*/ 49 w 348"/>
                  <a:gd name="T19" fmla="*/ 162 h 188"/>
                  <a:gd name="T20" fmla="*/ 0 w 348"/>
                  <a:gd name="T21" fmla="*/ 160 h 188"/>
                  <a:gd name="T22" fmla="*/ 20 w 348"/>
                  <a:gd name="T23" fmla="*/ 134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8" h="188">
                    <a:moveTo>
                      <a:pt x="20" y="134"/>
                    </a:moveTo>
                    <a:cubicBezTo>
                      <a:pt x="78" y="127"/>
                      <a:pt x="78" y="127"/>
                      <a:pt x="78" y="127"/>
                    </a:cubicBezTo>
                    <a:cubicBezTo>
                      <a:pt x="119" y="153"/>
                      <a:pt x="119" y="153"/>
                      <a:pt x="119" y="153"/>
                    </a:cubicBezTo>
                    <a:cubicBezTo>
                      <a:pt x="275" y="116"/>
                      <a:pt x="275" y="116"/>
                      <a:pt x="275" y="116"/>
                    </a:cubicBezTo>
                    <a:cubicBezTo>
                      <a:pt x="279" y="9"/>
                      <a:pt x="279" y="9"/>
                      <a:pt x="279" y="9"/>
                    </a:cubicBezTo>
                    <a:cubicBezTo>
                      <a:pt x="348" y="0"/>
                      <a:pt x="348" y="0"/>
                      <a:pt x="348" y="0"/>
                    </a:cubicBezTo>
                    <a:cubicBezTo>
                      <a:pt x="348" y="129"/>
                      <a:pt x="348" y="129"/>
                      <a:pt x="348" y="129"/>
                    </a:cubicBezTo>
                    <a:cubicBezTo>
                      <a:pt x="348" y="162"/>
                      <a:pt x="320" y="188"/>
                      <a:pt x="287" y="187"/>
                    </a:cubicBezTo>
                    <a:cubicBezTo>
                      <a:pt x="59" y="181"/>
                      <a:pt x="59" y="181"/>
                      <a:pt x="59" y="181"/>
                    </a:cubicBezTo>
                    <a:cubicBezTo>
                      <a:pt x="49" y="162"/>
                      <a:pt x="49" y="162"/>
                      <a:pt x="49" y="162"/>
                    </a:cubicBezTo>
                    <a:cubicBezTo>
                      <a:pt x="0" y="160"/>
                      <a:pt x="0" y="160"/>
                      <a:pt x="0" y="160"/>
                    </a:cubicBezTo>
                    <a:lnTo>
                      <a:pt x="20" y="134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5" name="任意多边形: 形状 824">
                <a:extLst>
                  <a:ext uri="{FF2B5EF4-FFF2-40B4-BE49-F238E27FC236}">
                    <a16:creationId xmlns:a16="http://schemas.microsoft.com/office/drawing/2014/main" id="{74CFC002-EB74-40AB-AA2A-9A40D1D2EF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9463" y="2755901"/>
                <a:ext cx="628650" cy="100013"/>
              </a:xfrm>
              <a:custGeom>
                <a:avLst/>
                <a:gdLst>
                  <a:gd name="T0" fmla="*/ 275 w 275"/>
                  <a:gd name="T1" fmla="*/ 0 h 44"/>
                  <a:gd name="T2" fmla="*/ 272 w 275"/>
                  <a:gd name="T3" fmla="*/ 1 h 44"/>
                  <a:gd name="T4" fmla="*/ 264 w 275"/>
                  <a:gd name="T5" fmla="*/ 3 h 44"/>
                  <a:gd name="T6" fmla="*/ 233 w 275"/>
                  <a:gd name="T7" fmla="*/ 11 h 44"/>
                  <a:gd name="T8" fmla="*/ 129 w 275"/>
                  <a:gd name="T9" fmla="*/ 36 h 44"/>
                  <a:gd name="T10" fmla="*/ 119 w 275"/>
                  <a:gd name="T11" fmla="*/ 38 h 44"/>
                  <a:gd name="T12" fmla="*/ 119 w 275"/>
                  <a:gd name="T13" fmla="*/ 38 h 44"/>
                  <a:gd name="T14" fmla="*/ 119 w 275"/>
                  <a:gd name="T15" fmla="*/ 38 h 44"/>
                  <a:gd name="T16" fmla="*/ 78 w 275"/>
                  <a:gd name="T17" fmla="*/ 11 h 44"/>
                  <a:gd name="T18" fmla="*/ 78 w 275"/>
                  <a:gd name="T19" fmla="*/ 11 h 44"/>
                  <a:gd name="T20" fmla="*/ 21 w 275"/>
                  <a:gd name="T21" fmla="*/ 18 h 44"/>
                  <a:gd name="T22" fmla="*/ 21 w 275"/>
                  <a:gd name="T23" fmla="*/ 18 h 44"/>
                  <a:gd name="T24" fmla="*/ 6 w 275"/>
                  <a:gd name="T25" fmla="*/ 37 h 44"/>
                  <a:gd name="T26" fmla="*/ 1 w 275"/>
                  <a:gd name="T27" fmla="*/ 42 h 44"/>
                  <a:gd name="T28" fmla="*/ 0 w 275"/>
                  <a:gd name="T29" fmla="*/ 44 h 44"/>
                  <a:gd name="T30" fmla="*/ 1 w 275"/>
                  <a:gd name="T31" fmla="*/ 42 h 44"/>
                  <a:gd name="T32" fmla="*/ 5 w 275"/>
                  <a:gd name="T33" fmla="*/ 37 h 44"/>
                  <a:gd name="T34" fmla="*/ 20 w 275"/>
                  <a:gd name="T35" fmla="*/ 17 h 44"/>
                  <a:gd name="T36" fmla="*/ 20 w 275"/>
                  <a:gd name="T37" fmla="*/ 17 h 44"/>
                  <a:gd name="T38" fmla="*/ 20 w 275"/>
                  <a:gd name="T39" fmla="*/ 17 h 44"/>
                  <a:gd name="T40" fmla="*/ 78 w 275"/>
                  <a:gd name="T41" fmla="*/ 10 h 44"/>
                  <a:gd name="T42" fmla="*/ 79 w 275"/>
                  <a:gd name="T43" fmla="*/ 10 h 44"/>
                  <a:gd name="T44" fmla="*/ 79 w 275"/>
                  <a:gd name="T45" fmla="*/ 10 h 44"/>
                  <a:gd name="T46" fmla="*/ 120 w 275"/>
                  <a:gd name="T47" fmla="*/ 37 h 44"/>
                  <a:gd name="T48" fmla="*/ 119 w 275"/>
                  <a:gd name="T49" fmla="*/ 36 h 44"/>
                  <a:gd name="T50" fmla="*/ 129 w 275"/>
                  <a:gd name="T51" fmla="*/ 34 h 44"/>
                  <a:gd name="T52" fmla="*/ 232 w 275"/>
                  <a:gd name="T53" fmla="*/ 10 h 44"/>
                  <a:gd name="T54" fmla="*/ 264 w 275"/>
                  <a:gd name="T55" fmla="*/ 2 h 44"/>
                  <a:gd name="T56" fmla="*/ 272 w 275"/>
                  <a:gd name="T57" fmla="*/ 0 h 44"/>
                  <a:gd name="T58" fmla="*/ 275 w 275"/>
                  <a:gd name="T5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75" h="44">
                    <a:moveTo>
                      <a:pt x="275" y="0"/>
                    </a:moveTo>
                    <a:cubicBezTo>
                      <a:pt x="275" y="0"/>
                      <a:pt x="274" y="0"/>
                      <a:pt x="272" y="1"/>
                    </a:cubicBezTo>
                    <a:cubicBezTo>
                      <a:pt x="270" y="1"/>
                      <a:pt x="267" y="2"/>
                      <a:pt x="264" y="3"/>
                    </a:cubicBezTo>
                    <a:cubicBezTo>
                      <a:pt x="256" y="5"/>
                      <a:pt x="246" y="8"/>
                      <a:pt x="233" y="11"/>
                    </a:cubicBezTo>
                    <a:cubicBezTo>
                      <a:pt x="206" y="17"/>
                      <a:pt x="169" y="26"/>
                      <a:pt x="129" y="36"/>
                    </a:cubicBezTo>
                    <a:cubicBezTo>
                      <a:pt x="126" y="37"/>
                      <a:pt x="123" y="37"/>
                      <a:pt x="119" y="38"/>
                    </a:cubicBezTo>
                    <a:cubicBezTo>
                      <a:pt x="119" y="38"/>
                      <a:pt x="119" y="38"/>
                      <a:pt x="119" y="38"/>
                    </a:cubicBezTo>
                    <a:cubicBezTo>
                      <a:pt x="119" y="38"/>
                      <a:pt x="119" y="38"/>
                      <a:pt x="119" y="38"/>
                    </a:cubicBezTo>
                    <a:cubicBezTo>
                      <a:pt x="104" y="29"/>
                      <a:pt x="91" y="20"/>
                      <a:pt x="78" y="11"/>
                    </a:cubicBezTo>
                    <a:cubicBezTo>
                      <a:pt x="78" y="11"/>
                      <a:pt x="78" y="11"/>
                      <a:pt x="78" y="11"/>
                    </a:cubicBezTo>
                    <a:cubicBezTo>
                      <a:pt x="56" y="14"/>
                      <a:pt x="36" y="16"/>
                      <a:pt x="21" y="18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14" y="26"/>
                      <a:pt x="9" y="33"/>
                      <a:pt x="6" y="37"/>
                    </a:cubicBezTo>
                    <a:cubicBezTo>
                      <a:pt x="4" y="39"/>
                      <a:pt x="2" y="41"/>
                      <a:pt x="1" y="42"/>
                    </a:cubicBezTo>
                    <a:cubicBezTo>
                      <a:pt x="1" y="44"/>
                      <a:pt x="0" y="44"/>
                      <a:pt x="0" y="44"/>
                    </a:cubicBezTo>
                    <a:cubicBezTo>
                      <a:pt x="0" y="44"/>
                      <a:pt x="0" y="43"/>
                      <a:pt x="1" y="42"/>
                    </a:cubicBezTo>
                    <a:cubicBezTo>
                      <a:pt x="2" y="41"/>
                      <a:pt x="3" y="39"/>
                      <a:pt x="5" y="37"/>
                    </a:cubicBezTo>
                    <a:cubicBezTo>
                      <a:pt x="9" y="32"/>
                      <a:pt x="14" y="26"/>
                      <a:pt x="20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36" y="15"/>
                      <a:pt x="55" y="13"/>
                      <a:pt x="78" y="10"/>
                    </a:cubicBezTo>
                    <a:cubicBezTo>
                      <a:pt x="79" y="10"/>
                      <a:pt x="79" y="10"/>
                      <a:pt x="79" y="10"/>
                    </a:cubicBezTo>
                    <a:cubicBezTo>
                      <a:pt x="79" y="10"/>
                      <a:pt x="79" y="10"/>
                      <a:pt x="79" y="10"/>
                    </a:cubicBezTo>
                    <a:cubicBezTo>
                      <a:pt x="91" y="18"/>
                      <a:pt x="105" y="27"/>
                      <a:pt x="120" y="37"/>
                    </a:cubicBezTo>
                    <a:cubicBezTo>
                      <a:pt x="119" y="36"/>
                      <a:pt x="119" y="36"/>
                      <a:pt x="119" y="36"/>
                    </a:cubicBezTo>
                    <a:cubicBezTo>
                      <a:pt x="122" y="36"/>
                      <a:pt x="125" y="35"/>
                      <a:pt x="129" y="34"/>
                    </a:cubicBezTo>
                    <a:cubicBezTo>
                      <a:pt x="169" y="25"/>
                      <a:pt x="206" y="16"/>
                      <a:pt x="232" y="10"/>
                    </a:cubicBezTo>
                    <a:cubicBezTo>
                      <a:pt x="245" y="7"/>
                      <a:pt x="256" y="4"/>
                      <a:pt x="264" y="2"/>
                    </a:cubicBezTo>
                    <a:cubicBezTo>
                      <a:pt x="267" y="2"/>
                      <a:pt x="270" y="1"/>
                      <a:pt x="272" y="0"/>
                    </a:cubicBezTo>
                    <a:cubicBezTo>
                      <a:pt x="274" y="0"/>
                      <a:pt x="275" y="0"/>
                      <a:pt x="275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6" name="任意多边形: 形状 825">
                <a:extLst>
                  <a:ext uri="{FF2B5EF4-FFF2-40B4-BE49-F238E27FC236}">
                    <a16:creationId xmlns:a16="http://schemas.microsoft.com/office/drawing/2014/main" id="{584D196A-32F9-4415-9639-E24599E084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9625" y="2830513"/>
                <a:ext cx="93663" cy="30163"/>
              </a:xfrm>
              <a:custGeom>
                <a:avLst/>
                <a:gdLst>
                  <a:gd name="T0" fmla="*/ 41 w 41"/>
                  <a:gd name="T1" fmla="*/ 1 h 13"/>
                  <a:gd name="T2" fmla="*/ 19 w 41"/>
                  <a:gd name="T3" fmla="*/ 2 h 13"/>
                  <a:gd name="T4" fmla="*/ 14 w 41"/>
                  <a:gd name="T5" fmla="*/ 2 h 13"/>
                  <a:gd name="T6" fmla="*/ 15 w 41"/>
                  <a:gd name="T7" fmla="*/ 2 h 13"/>
                  <a:gd name="T8" fmla="*/ 0 w 41"/>
                  <a:gd name="T9" fmla="*/ 13 h 13"/>
                  <a:gd name="T10" fmla="*/ 14 w 41"/>
                  <a:gd name="T11" fmla="*/ 0 h 13"/>
                  <a:gd name="T12" fmla="*/ 14 w 41"/>
                  <a:gd name="T13" fmla="*/ 0 h 13"/>
                  <a:gd name="T14" fmla="*/ 14 w 41"/>
                  <a:gd name="T15" fmla="*/ 0 h 13"/>
                  <a:gd name="T16" fmla="*/ 19 w 41"/>
                  <a:gd name="T17" fmla="*/ 0 h 13"/>
                  <a:gd name="T18" fmla="*/ 41 w 41"/>
                  <a:gd name="T19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13">
                    <a:moveTo>
                      <a:pt x="41" y="1"/>
                    </a:moveTo>
                    <a:cubicBezTo>
                      <a:pt x="41" y="2"/>
                      <a:pt x="31" y="2"/>
                      <a:pt x="19" y="2"/>
                    </a:cubicBezTo>
                    <a:cubicBezTo>
                      <a:pt x="17" y="2"/>
                      <a:pt x="16" y="2"/>
                      <a:pt x="14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7" y="9"/>
                      <a:pt x="1" y="13"/>
                      <a:pt x="0" y="13"/>
                    </a:cubicBezTo>
                    <a:cubicBezTo>
                      <a:pt x="0" y="13"/>
                      <a:pt x="6" y="7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6" y="0"/>
                      <a:pt x="17" y="0"/>
                      <a:pt x="19" y="0"/>
                    </a:cubicBezTo>
                    <a:cubicBezTo>
                      <a:pt x="31" y="0"/>
                      <a:pt x="41" y="1"/>
                      <a:pt x="41" y="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7" name="任意多边形: 形状 826">
                <a:extLst>
                  <a:ext uri="{FF2B5EF4-FFF2-40B4-BE49-F238E27FC236}">
                    <a16:creationId xmlns:a16="http://schemas.microsoft.com/office/drawing/2014/main" id="{3A06F6C9-A709-4514-8133-D66D5CD03F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2875" y="2755901"/>
                <a:ext cx="61913" cy="41275"/>
              </a:xfrm>
              <a:custGeom>
                <a:avLst/>
                <a:gdLst>
                  <a:gd name="T0" fmla="*/ 27 w 27"/>
                  <a:gd name="T1" fmla="*/ 17 h 18"/>
                  <a:gd name="T2" fmla="*/ 16 w 27"/>
                  <a:gd name="T3" fmla="*/ 5 h 18"/>
                  <a:gd name="T4" fmla="*/ 0 w 27"/>
                  <a:gd name="T5" fmla="*/ 0 h 18"/>
                  <a:gd name="T6" fmla="*/ 5 w 27"/>
                  <a:gd name="T7" fmla="*/ 0 h 18"/>
                  <a:gd name="T8" fmla="*/ 17 w 27"/>
                  <a:gd name="T9" fmla="*/ 4 h 18"/>
                  <a:gd name="T10" fmla="*/ 25 w 27"/>
                  <a:gd name="T11" fmla="*/ 13 h 18"/>
                  <a:gd name="T12" fmla="*/ 27 w 27"/>
                  <a:gd name="T13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8">
                    <a:moveTo>
                      <a:pt x="27" y="17"/>
                    </a:moveTo>
                    <a:cubicBezTo>
                      <a:pt x="27" y="18"/>
                      <a:pt x="24" y="10"/>
                      <a:pt x="16" y="5"/>
                    </a:cubicBezTo>
                    <a:cubicBezTo>
                      <a:pt x="8" y="0"/>
                      <a:pt x="0" y="1"/>
                      <a:pt x="0" y="0"/>
                    </a:cubicBezTo>
                    <a:cubicBezTo>
                      <a:pt x="0" y="0"/>
                      <a:pt x="2" y="0"/>
                      <a:pt x="5" y="0"/>
                    </a:cubicBezTo>
                    <a:cubicBezTo>
                      <a:pt x="8" y="0"/>
                      <a:pt x="13" y="1"/>
                      <a:pt x="17" y="4"/>
                    </a:cubicBezTo>
                    <a:cubicBezTo>
                      <a:pt x="21" y="7"/>
                      <a:pt x="24" y="10"/>
                      <a:pt x="25" y="13"/>
                    </a:cubicBezTo>
                    <a:cubicBezTo>
                      <a:pt x="27" y="15"/>
                      <a:pt x="27" y="17"/>
                      <a:pt x="27" y="17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8" name="矩形 827">
                <a:extLst>
                  <a:ext uri="{FF2B5EF4-FFF2-40B4-BE49-F238E27FC236}">
                    <a16:creationId xmlns:a16="http://schemas.microsoft.com/office/drawing/2014/main" id="{89C90FD6-90FA-4E4C-A46E-B6ACAA2D38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0300" y="4748213"/>
                <a:ext cx="596900" cy="82550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9" name="任意多边形: 形状 828">
                <a:extLst>
                  <a:ext uri="{FF2B5EF4-FFF2-40B4-BE49-F238E27FC236}">
                    <a16:creationId xmlns:a16="http://schemas.microsoft.com/office/drawing/2014/main" id="{ECBE2DDB-6C58-4CBD-A9CF-D8475D26F7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68713" y="4746626"/>
                <a:ext cx="598488" cy="84138"/>
              </a:xfrm>
              <a:custGeom>
                <a:avLst/>
                <a:gdLst>
                  <a:gd name="T0" fmla="*/ 377 w 377"/>
                  <a:gd name="T1" fmla="*/ 53 h 53"/>
                  <a:gd name="T2" fmla="*/ 0 w 377"/>
                  <a:gd name="T3" fmla="*/ 53 h 53"/>
                  <a:gd name="T4" fmla="*/ 0 w 377"/>
                  <a:gd name="T5" fmla="*/ 0 h 53"/>
                  <a:gd name="T6" fmla="*/ 377 w 377"/>
                  <a:gd name="T7" fmla="*/ 0 h 53"/>
                  <a:gd name="T8" fmla="*/ 377 w 377"/>
                  <a:gd name="T9" fmla="*/ 53 h 53"/>
                  <a:gd name="T10" fmla="*/ 1 w 377"/>
                  <a:gd name="T11" fmla="*/ 52 h 53"/>
                  <a:gd name="T12" fmla="*/ 376 w 377"/>
                  <a:gd name="T13" fmla="*/ 52 h 53"/>
                  <a:gd name="T14" fmla="*/ 376 w 377"/>
                  <a:gd name="T15" fmla="*/ 1 h 53"/>
                  <a:gd name="T16" fmla="*/ 1 w 377"/>
                  <a:gd name="T17" fmla="*/ 1 h 53"/>
                  <a:gd name="T18" fmla="*/ 1 w 377"/>
                  <a:gd name="T19" fmla="*/ 5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7" h="53">
                    <a:moveTo>
                      <a:pt x="377" y="53"/>
                    </a:moveTo>
                    <a:lnTo>
                      <a:pt x="0" y="53"/>
                    </a:lnTo>
                    <a:lnTo>
                      <a:pt x="0" y="0"/>
                    </a:lnTo>
                    <a:lnTo>
                      <a:pt x="377" y="0"/>
                    </a:lnTo>
                    <a:lnTo>
                      <a:pt x="377" y="53"/>
                    </a:lnTo>
                    <a:close/>
                    <a:moveTo>
                      <a:pt x="1" y="52"/>
                    </a:moveTo>
                    <a:lnTo>
                      <a:pt x="376" y="52"/>
                    </a:lnTo>
                    <a:lnTo>
                      <a:pt x="376" y="1"/>
                    </a:lnTo>
                    <a:lnTo>
                      <a:pt x="1" y="1"/>
                    </a:lnTo>
                    <a:lnTo>
                      <a:pt x="1" y="52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0" name="任意多边形: 形状 829">
                <a:extLst>
                  <a:ext uri="{FF2B5EF4-FFF2-40B4-BE49-F238E27FC236}">
                    <a16:creationId xmlns:a16="http://schemas.microsoft.com/office/drawing/2014/main" id="{C20BBAA8-E2B5-4C47-AA4D-D99CF0F1E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5863" y="4803776"/>
                <a:ext cx="487363" cy="422275"/>
              </a:xfrm>
              <a:custGeom>
                <a:avLst/>
                <a:gdLst>
                  <a:gd name="T0" fmla="*/ 0 w 307"/>
                  <a:gd name="T1" fmla="*/ 0 h 266"/>
                  <a:gd name="T2" fmla="*/ 53 w 307"/>
                  <a:gd name="T3" fmla="*/ 266 h 266"/>
                  <a:gd name="T4" fmla="*/ 253 w 307"/>
                  <a:gd name="T5" fmla="*/ 266 h 266"/>
                  <a:gd name="T6" fmla="*/ 307 w 307"/>
                  <a:gd name="T7" fmla="*/ 17 h 266"/>
                  <a:gd name="T8" fmla="*/ 0 w 307"/>
                  <a:gd name="T9" fmla="*/ 0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266">
                    <a:moveTo>
                      <a:pt x="0" y="0"/>
                    </a:moveTo>
                    <a:lnTo>
                      <a:pt x="53" y="266"/>
                    </a:lnTo>
                    <a:lnTo>
                      <a:pt x="253" y="266"/>
                    </a:lnTo>
                    <a:lnTo>
                      <a:pt x="307" y="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1" name="任意多边形: 形状 830">
                <a:extLst>
                  <a:ext uri="{FF2B5EF4-FFF2-40B4-BE49-F238E27FC236}">
                    <a16:creationId xmlns:a16="http://schemas.microsoft.com/office/drawing/2014/main" id="{308A703F-514D-451A-AD74-F3A849FD6B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5863" y="5187951"/>
                <a:ext cx="487363" cy="61913"/>
              </a:xfrm>
              <a:custGeom>
                <a:avLst/>
                <a:gdLst>
                  <a:gd name="T0" fmla="*/ 0 w 307"/>
                  <a:gd name="T1" fmla="*/ 0 h 39"/>
                  <a:gd name="T2" fmla="*/ 29 w 307"/>
                  <a:gd name="T3" fmla="*/ 39 h 39"/>
                  <a:gd name="T4" fmla="*/ 272 w 307"/>
                  <a:gd name="T5" fmla="*/ 39 h 39"/>
                  <a:gd name="T6" fmla="*/ 307 w 307"/>
                  <a:gd name="T7" fmla="*/ 0 h 39"/>
                  <a:gd name="T8" fmla="*/ 0 w 307"/>
                  <a:gd name="T9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39">
                    <a:moveTo>
                      <a:pt x="0" y="0"/>
                    </a:moveTo>
                    <a:lnTo>
                      <a:pt x="29" y="39"/>
                    </a:lnTo>
                    <a:lnTo>
                      <a:pt x="272" y="39"/>
                    </a:lnTo>
                    <a:lnTo>
                      <a:pt x="30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2" name="任意多边形: 形状 831">
                <a:extLst>
                  <a:ext uri="{FF2B5EF4-FFF2-40B4-BE49-F238E27FC236}">
                    <a16:creationId xmlns:a16="http://schemas.microsoft.com/office/drawing/2014/main" id="{8F7C19FA-7646-4BCF-9A31-2A4641662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3350" y="3937001"/>
                <a:ext cx="4763" cy="877888"/>
              </a:xfrm>
              <a:custGeom>
                <a:avLst/>
                <a:gdLst>
                  <a:gd name="T0" fmla="*/ 1 w 2"/>
                  <a:gd name="T1" fmla="*/ 384 h 384"/>
                  <a:gd name="T2" fmla="*/ 0 w 2"/>
                  <a:gd name="T3" fmla="*/ 192 h 384"/>
                  <a:gd name="T4" fmla="*/ 0 w 2"/>
                  <a:gd name="T5" fmla="*/ 0 h 384"/>
                  <a:gd name="T6" fmla="*/ 2 w 2"/>
                  <a:gd name="T7" fmla="*/ 192 h 384"/>
                  <a:gd name="T8" fmla="*/ 1 w 2"/>
                  <a:gd name="T9" fmla="*/ 38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84">
                    <a:moveTo>
                      <a:pt x="1" y="384"/>
                    </a:moveTo>
                    <a:cubicBezTo>
                      <a:pt x="1" y="384"/>
                      <a:pt x="0" y="298"/>
                      <a:pt x="0" y="192"/>
                    </a:cubicBezTo>
                    <a:cubicBezTo>
                      <a:pt x="0" y="86"/>
                      <a:pt x="0" y="0"/>
                      <a:pt x="0" y="0"/>
                    </a:cubicBezTo>
                    <a:cubicBezTo>
                      <a:pt x="1" y="0"/>
                      <a:pt x="1" y="86"/>
                      <a:pt x="2" y="192"/>
                    </a:cubicBezTo>
                    <a:cubicBezTo>
                      <a:pt x="2" y="298"/>
                      <a:pt x="2" y="384"/>
                      <a:pt x="1" y="38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3" name="任意多边形: 形状 832">
                <a:extLst>
                  <a:ext uri="{FF2B5EF4-FFF2-40B4-BE49-F238E27FC236}">
                    <a16:creationId xmlns:a16="http://schemas.microsoft.com/office/drawing/2014/main" id="{0011893A-D9A8-4CFE-9EEB-3EF3121568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2725" y="4324351"/>
                <a:ext cx="57150" cy="465138"/>
              </a:xfrm>
              <a:custGeom>
                <a:avLst/>
                <a:gdLst>
                  <a:gd name="T0" fmla="*/ 25 w 25"/>
                  <a:gd name="T1" fmla="*/ 0 h 204"/>
                  <a:gd name="T2" fmla="*/ 24 w 25"/>
                  <a:gd name="T3" fmla="*/ 2 h 204"/>
                  <a:gd name="T4" fmla="*/ 22 w 25"/>
                  <a:gd name="T5" fmla="*/ 8 h 204"/>
                  <a:gd name="T6" fmla="*/ 20 w 25"/>
                  <a:gd name="T7" fmla="*/ 12 h 204"/>
                  <a:gd name="T8" fmla="*/ 18 w 25"/>
                  <a:gd name="T9" fmla="*/ 17 h 204"/>
                  <a:gd name="T10" fmla="*/ 16 w 25"/>
                  <a:gd name="T11" fmla="*/ 22 h 204"/>
                  <a:gd name="T12" fmla="*/ 14 w 25"/>
                  <a:gd name="T13" fmla="*/ 29 h 204"/>
                  <a:gd name="T14" fmla="*/ 7 w 25"/>
                  <a:gd name="T15" fmla="*/ 61 h 204"/>
                  <a:gd name="T16" fmla="*/ 3 w 25"/>
                  <a:gd name="T17" fmla="*/ 101 h 204"/>
                  <a:gd name="T18" fmla="*/ 5 w 25"/>
                  <a:gd name="T19" fmla="*/ 174 h 204"/>
                  <a:gd name="T20" fmla="*/ 7 w 25"/>
                  <a:gd name="T21" fmla="*/ 196 h 204"/>
                  <a:gd name="T22" fmla="*/ 8 w 25"/>
                  <a:gd name="T23" fmla="*/ 202 h 204"/>
                  <a:gd name="T24" fmla="*/ 8 w 25"/>
                  <a:gd name="T25" fmla="*/ 204 h 204"/>
                  <a:gd name="T26" fmla="*/ 7 w 25"/>
                  <a:gd name="T27" fmla="*/ 202 h 204"/>
                  <a:gd name="T28" fmla="*/ 6 w 25"/>
                  <a:gd name="T29" fmla="*/ 196 h 204"/>
                  <a:gd name="T30" fmla="*/ 4 w 25"/>
                  <a:gd name="T31" fmla="*/ 174 h 204"/>
                  <a:gd name="T32" fmla="*/ 1 w 25"/>
                  <a:gd name="T33" fmla="*/ 100 h 204"/>
                  <a:gd name="T34" fmla="*/ 5 w 25"/>
                  <a:gd name="T35" fmla="*/ 60 h 204"/>
                  <a:gd name="T36" fmla="*/ 13 w 25"/>
                  <a:gd name="T37" fmla="*/ 28 h 204"/>
                  <a:gd name="T38" fmla="*/ 15 w 25"/>
                  <a:gd name="T39" fmla="*/ 22 h 204"/>
                  <a:gd name="T40" fmla="*/ 17 w 25"/>
                  <a:gd name="T41" fmla="*/ 16 h 204"/>
                  <a:gd name="T42" fmla="*/ 19 w 25"/>
                  <a:gd name="T43" fmla="*/ 11 h 204"/>
                  <a:gd name="T44" fmla="*/ 21 w 25"/>
                  <a:gd name="T45" fmla="*/ 7 h 204"/>
                  <a:gd name="T46" fmla="*/ 24 w 25"/>
                  <a:gd name="T47" fmla="*/ 2 h 204"/>
                  <a:gd name="T48" fmla="*/ 25 w 25"/>
                  <a:gd name="T49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" h="204">
                    <a:moveTo>
                      <a:pt x="25" y="0"/>
                    </a:moveTo>
                    <a:cubicBezTo>
                      <a:pt x="25" y="0"/>
                      <a:pt x="24" y="1"/>
                      <a:pt x="24" y="2"/>
                    </a:cubicBezTo>
                    <a:cubicBezTo>
                      <a:pt x="23" y="4"/>
                      <a:pt x="22" y="5"/>
                      <a:pt x="22" y="8"/>
                    </a:cubicBezTo>
                    <a:cubicBezTo>
                      <a:pt x="21" y="9"/>
                      <a:pt x="20" y="10"/>
                      <a:pt x="20" y="12"/>
                    </a:cubicBezTo>
                    <a:cubicBezTo>
                      <a:pt x="19" y="13"/>
                      <a:pt x="19" y="15"/>
                      <a:pt x="18" y="17"/>
                    </a:cubicBezTo>
                    <a:cubicBezTo>
                      <a:pt x="17" y="18"/>
                      <a:pt x="17" y="20"/>
                      <a:pt x="16" y="22"/>
                    </a:cubicBezTo>
                    <a:cubicBezTo>
                      <a:pt x="15" y="24"/>
                      <a:pt x="15" y="26"/>
                      <a:pt x="14" y="29"/>
                    </a:cubicBezTo>
                    <a:cubicBezTo>
                      <a:pt x="11" y="38"/>
                      <a:pt x="9" y="48"/>
                      <a:pt x="7" y="61"/>
                    </a:cubicBezTo>
                    <a:cubicBezTo>
                      <a:pt x="5" y="73"/>
                      <a:pt x="3" y="86"/>
                      <a:pt x="3" y="101"/>
                    </a:cubicBezTo>
                    <a:cubicBezTo>
                      <a:pt x="2" y="129"/>
                      <a:pt x="3" y="155"/>
                      <a:pt x="5" y="174"/>
                    </a:cubicBezTo>
                    <a:cubicBezTo>
                      <a:pt x="6" y="183"/>
                      <a:pt x="7" y="191"/>
                      <a:pt x="7" y="196"/>
                    </a:cubicBezTo>
                    <a:cubicBezTo>
                      <a:pt x="7" y="198"/>
                      <a:pt x="8" y="200"/>
                      <a:pt x="8" y="202"/>
                    </a:cubicBezTo>
                    <a:cubicBezTo>
                      <a:pt x="8" y="203"/>
                      <a:pt x="8" y="204"/>
                      <a:pt x="8" y="204"/>
                    </a:cubicBezTo>
                    <a:cubicBezTo>
                      <a:pt x="8" y="204"/>
                      <a:pt x="8" y="203"/>
                      <a:pt x="7" y="202"/>
                    </a:cubicBezTo>
                    <a:cubicBezTo>
                      <a:pt x="7" y="200"/>
                      <a:pt x="7" y="198"/>
                      <a:pt x="6" y="196"/>
                    </a:cubicBezTo>
                    <a:cubicBezTo>
                      <a:pt x="6" y="191"/>
                      <a:pt x="5" y="183"/>
                      <a:pt x="4" y="174"/>
                    </a:cubicBezTo>
                    <a:cubicBezTo>
                      <a:pt x="1" y="155"/>
                      <a:pt x="0" y="129"/>
                      <a:pt x="1" y="100"/>
                    </a:cubicBezTo>
                    <a:cubicBezTo>
                      <a:pt x="2" y="86"/>
                      <a:pt x="3" y="73"/>
                      <a:pt x="5" y="60"/>
                    </a:cubicBezTo>
                    <a:cubicBezTo>
                      <a:pt x="7" y="48"/>
                      <a:pt x="10" y="37"/>
                      <a:pt x="13" y="28"/>
                    </a:cubicBezTo>
                    <a:cubicBezTo>
                      <a:pt x="14" y="26"/>
                      <a:pt x="14" y="24"/>
                      <a:pt x="15" y="22"/>
                    </a:cubicBezTo>
                    <a:cubicBezTo>
                      <a:pt x="16" y="20"/>
                      <a:pt x="16" y="18"/>
                      <a:pt x="17" y="16"/>
                    </a:cubicBezTo>
                    <a:cubicBezTo>
                      <a:pt x="18" y="15"/>
                      <a:pt x="18" y="13"/>
                      <a:pt x="19" y="11"/>
                    </a:cubicBezTo>
                    <a:cubicBezTo>
                      <a:pt x="20" y="10"/>
                      <a:pt x="20" y="9"/>
                      <a:pt x="21" y="7"/>
                    </a:cubicBezTo>
                    <a:cubicBezTo>
                      <a:pt x="22" y="5"/>
                      <a:pt x="23" y="3"/>
                      <a:pt x="24" y="2"/>
                    </a:cubicBezTo>
                    <a:cubicBezTo>
                      <a:pt x="24" y="1"/>
                      <a:pt x="24" y="0"/>
                      <a:pt x="2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4" name="任意多边形: 形状 833">
                <a:extLst>
                  <a:ext uri="{FF2B5EF4-FFF2-40B4-BE49-F238E27FC236}">
                    <a16:creationId xmlns:a16="http://schemas.microsoft.com/office/drawing/2014/main" id="{9AA66776-209B-4F47-B5B7-E4EBFACE32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6213" y="4165601"/>
                <a:ext cx="77788" cy="654050"/>
              </a:xfrm>
              <a:custGeom>
                <a:avLst/>
                <a:gdLst>
                  <a:gd name="T0" fmla="*/ 34 w 34"/>
                  <a:gd name="T1" fmla="*/ 0 h 286"/>
                  <a:gd name="T2" fmla="*/ 33 w 34"/>
                  <a:gd name="T3" fmla="*/ 3 h 286"/>
                  <a:gd name="T4" fmla="*/ 30 w 34"/>
                  <a:gd name="T5" fmla="*/ 11 h 286"/>
                  <a:gd name="T6" fmla="*/ 28 w 34"/>
                  <a:gd name="T7" fmla="*/ 16 h 286"/>
                  <a:gd name="T8" fmla="*/ 26 w 34"/>
                  <a:gd name="T9" fmla="*/ 23 h 286"/>
                  <a:gd name="T10" fmla="*/ 21 w 34"/>
                  <a:gd name="T11" fmla="*/ 40 h 286"/>
                  <a:gd name="T12" fmla="*/ 19 w 34"/>
                  <a:gd name="T13" fmla="*/ 50 h 286"/>
                  <a:gd name="T14" fmla="*/ 16 w 34"/>
                  <a:gd name="T15" fmla="*/ 61 h 286"/>
                  <a:gd name="T16" fmla="*/ 11 w 34"/>
                  <a:gd name="T17" fmla="*/ 85 h 286"/>
                  <a:gd name="T18" fmla="*/ 4 w 34"/>
                  <a:gd name="T19" fmla="*/ 141 h 286"/>
                  <a:gd name="T20" fmla="*/ 2 w 34"/>
                  <a:gd name="T21" fmla="*/ 197 h 286"/>
                  <a:gd name="T22" fmla="*/ 3 w 34"/>
                  <a:gd name="T23" fmla="*/ 243 h 286"/>
                  <a:gd name="T24" fmla="*/ 4 w 34"/>
                  <a:gd name="T25" fmla="*/ 261 h 286"/>
                  <a:gd name="T26" fmla="*/ 4 w 34"/>
                  <a:gd name="T27" fmla="*/ 274 h 286"/>
                  <a:gd name="T28" fmla="*/ 5 w 34"/>
                  <a:gd name="T29" fmla="*/ 283 h 286"/>
                  <a:gd name="T30" fmla="*/ 5 w 34"/>
                  <a:gd name="T31" fmla="*/ 286 h 286"/>
                  <a:gd name="T32" fmla="*/ 5 w 34"/>
                  <a:gd name="T33" fmla="*/ 283 h 286"/>
                  <a:gd name="T34" fmla="*/ 4 w 34"/>
                  <a:gd name="T35" fmla="*/ 274 h 286"/>
                  <a:gd name="T36" fmla="*/ 2 w 34"/>
                  <a:gd name="T37" fmla="*/ 261 h 286"/>
                  <a:gd name="T38" fmla="*/ 1 w 34"/>
                  <a:gd name="T39" fmla="*/ 243 h 286"/>
                  <a:gd name="T40" fmla="*/ 0 w 34"/>
                  <a:gd name="T41" fmla="*/ 197 h 286"/>
                  <a:gd name="T42" fmla="*/ 2 w 34"/>
                  <a:gd name="T43" fmla="*/ 141 h 286"/>
                  <a:gd name="T44" fmla="*/ 10 w 34"/>
                  <a:gd name="T45" fmla="*/ 85 h 286"/>
                  <a:gd name="T46" fmla="*/ 15 w 34"/>
                  <a:gd name="T47" fmla="*/ 61 h 286"/>
                  <a:gd name="T48" fmla="*/ 17 w 34"/>
                  <a:gd name="T49" fmla="*/ 50 h 286"/>
                  <a:gd name="T50" fmla="*/ 20 w 34"/>
                  <a:gd name="T51" fmla="*/ 40 h 286"/>
                  <a:gd name="T52" fmla="*/ 25 w 34"/>
                  <a:gd name="T53" fmla="*/ 23 h 286"/>
                  <a:gd name="T54" fmla="*/ 27 w 34"/>
                  <a:gd name="T55" fmla="*/ 16 h 286"/>
                  <a:gd name="T56" fmla="*/ 30 w 34"/>
                  <a:gd name="T57" fmla="*/ 10 h 286"/>
                  <a:gd name="T58" fmla="*/ 33 w 34"/>
                  <a:gd name="T59" fmla="*/ 2 h 286"/>
                  <a:gd name="T60" fmla="*/ 34 w 34"/>
                  <a:gd name="T61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4" h="286">
                    <a:moveTo>
                      <a:pt x="34" y="0"/>
                    </a:moveTo>
                    <a:cubicBezTo>
                      <a:pt x="34" y="0"/>
                      <a:pt x="34" y="1"/>
                      <a:pt x="33" y="3"/>
                    </a:cubicBezTo>
                    <a:cubicBezTo>
                      <a:pt x="32" y="5"/>
                      <a:pt x="31" y="7"/>
                      <a:pt x="30" y="11"/>
                    </a:cubicBezTo>
                    <a:cubicBezTo>
                      <a:pt x="30" y="12"/>
                      <a:pt x="29" y="14"/>
                      <a:pt x="28" y="16"/>
                    </a:cubicBezTo>
                    <a:cubicBezTo>
                      <a:pt x="28" y="18"/>
                      <a:pt x="27" y="21"/>
                      <a:pt x="26" y="23"/>
                    </a:cubicBezTo>
                    <a:cubicBezTo>
                      <a:pt x="25" y="28"/>
                      <a:pt x="23" y="34"/>
                      <a:pt x="21" y="40"/>
                    </a:cubicBezTo>
                    <a:cubicBezTo>
                      <a:pt x="21" y="43"/>
                      <a:pt x="20" y="47"/>
                      <a:pt x="19" y="50"/>
                    </a:cubicBezTo>
                    <a:cubicBezTo>
                      <a:pt x="18" y="54"/>
                      <a:pt x="17" y="57"/>
                      <a:pt x="16" y="61"/>
                    </a:cubicBezTo>
                    <a:cubicBezTo>
                      <a:pt x="14" y="68"/>
                      <a:pt x="13" y="77"/>
                      <a:pt x="11" y="85"/>
                    </a:cubicBezTo>
                    <a:cubicBezTo>
                      <a:pt x="9" y="102"/>
                      <a:pt x="6" y="121"/>
                      <a:pt x="4" y="141"/>
                    </a:cubicBezTo>
                    <a:cubicBezTo>
                      <a:pt x="3" y="161"/>
                      <a:pt x="2" y="180"/>
                      <a:pt x="2" y="197"/>
                    </a:cubicBezTo>
                    <a:cubicBezTo>
                      <a:pt x="2" y="214"/>
                      <a:pt x="2" y="230"/>
                      <a:pt x="3" y="243"/>
                    </a:cubicBezTo>
                    <a:cubicBezTo>
                      <a:pt x="3" y="250"/>
                      <a:pt x="3" y="256"/>
                      <a:pt x="4" y="261"/>
                    </a:cubicBezTo>
                    <a:cubicBezTo>
                      <a:pt x="4" y="266"/>
                      <a:pt x="4" y="270"/>
                      <a:pt x="4" y="274"/>
                    </a:cubicBezTo>
                    <a:cubicBezTo>
                      <a:pt x="5" y="278"/>
                      <a:pt x="5" y="280"/>
                      <a:pt x="5" y="283"/>
                    </a:cubicBezTo>
                    <a:cubicBezTo>
                      <a:pt x="5" y="284"/>
                      <a:pt x="5" y="286"/>
                      <a:pt x="5" y="286"/>
                    </a:cubicBezTo>
                    <a:cubicBezTo>
                      <a:pt x="5" y="286"/>
                      <a:pt x="5" y="285"/>
                      <a:pt x="5" y="283"/>
                    </a:cubicBezTo>
                    <a:cubicBezTo>
                      <a:pt x="5" y="281"/>
                      <a:pt x="4" y="278"/>
                      <a:pt x="4" y="274"/>
                    </a:cubicBezTo>
                    <a:cubicBezTo>
                      <a:pt x="3" y="271"/>
                      <a:pt x="3" y="266"/>
                      <a:pt x="2" y="261"/>
                    </a:cubicBezTo>
                    <a:cubicBezTo>
                      <a:pt x="2" y="256"/>
                      <a:pt x="2" y="250"/>
                      <a:pt x="1" y="243"/>
                    </a:cubicBezTo>
                    <a:cubicBezTo>
                      <a:pt x="0" y="230"/>
                      <a:pt x="0" y="215"/>
                      <a:pt x="0" y="197"/>
                    </a:cubicBezTo>
                    <a:cubicBezTo>
                      <a:pt x="0" y="180"/>
                      <a:pt x="1" y="161"/>
                      <a:pt x="2" y="141"/>
                    </a:cubicBezTo>
                    <a:cubicBezTo>
                      <a:pt x="4" y="121"/>
                      <a:pt x="7" y="102"/>
                      <a:pt x="10" y="85"/>
                    </a:cubicBezTo>
                    <a:cubicBezTo>
                      <a:pt x="11" y="76"/>
                      <a:pt x="13" y="68"/>
                      <a:pt x="15" y="61"/>
                    </a:cubicBezTo>
                    <a:cubicBezTo>
                      <a:pt x="16" y="57"/>
                      <a:pt x="17" y="53"/>
                      <a:pt x="17" y="50"/>
                    </a:cubicBezTo>
                    <a:cubicBezTo>
                      <a:pt x="18" y="46"/>
                      <a:pt x="19" y="43"/>
                      <a:pt x="20" y="40"/>
                    </a:cubicBezTo>
                    <a:cubicBezTo>
                      <a:pt x="22" y="33"/>
                      <a:pt x="24" y="28"/>
                      <a:pt x="25" y="23"/>
                    </a:cubicBezTo>
                    <a:cubicBezTo>
                      <a:pt x="26" y="20"/>
                      <a:pt x="27" y="18"/>
                      <a:pt x="27" y="16"/>
                    </a:cubicBezTo>
                    <a:cubicBezTo>
                      <a:pt x="28" y="14"/>
                      <a:pt x="29" y="12"/>
                      <a:pt x="30" y="10"/>
                    </a:cubicBezTo>
                    <a:cubicBezTo>
                      <a:pt x="31" y="7"/>
                      <a:pt x="32" y="4"/>
                      <a:pt x="33" y="2"/>
                    </a:cubicBezTo>
                    <a:cubicBezTo>
                      <a:pt x="33" y="1"/>
                      <a:pt x="34" y="0"/>
                      <a:pt x="3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5" name="任意多边形: 形状 834">
                <a:extLst>
                  <a:ext uri="{FF2B5EF4-FFF2-40B4-BE49-F238E27FC236}">
                    <a16:creationId xmlns:a16="http://schemas.microsoft.com/office/drawing/2014/main" id="{EE082BBB-29D6-43D6-A578-2F2353043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4125" y="3965576"/>
                <a:ext cx="114300" cy="884238"/>
              </a:xfrm>
              <a:custGeom>
                <a:avLst/>
                <a:gdLst>
                  <a:gd name="T0" fmla="*/ 50 w 50"/>
                  <a:gd name="T1" fmla="*/ 387 h 387"/>
                  <a:gd name="T2" fmla="*/ 50 w 50"/>
                  <a:gd name="T3" fmla="*/ 386 h 387"/>
                  <a:gd name="T4" fmla="*/ 49 w 50"/>
                  <a:gd name="T5" fmla="*/ 383 h 387"/>
                  <a:gd name="T6" fmla="*/ 49 w 50"/>
                  <a:gd name="T7" fmla="*/ 372 h 387"/>
                  <a:gd name="T8" fmla="*/ 46 w 50"/>
                  <a:gd name="T9" fmla="*/ 330 h 387"/>
                  <a:gd name="T10" fmla="*/ 35 w 50"/>
                  <a:gd name="T11" fmla="*/ 192 h 387"/>
                  <a:gd name="T12" fmla="*/ 24 w 50"/>
                  <a:gd name="T13" fmla="*/ 117 h 387"/>
                  <a:gd name="T14" fmla="*/ 19 w 50"/>
                  <a:gd name="T15" fmla="*/ 84 h 387"/>
                  <a:gd name="T16" fmla="*/ 13 w 50"/>
                  <a:gd name="T17" fmla="*/ 56 h 387"/>
                  <a:gd name="T18" fmla="*/ 8 w 50"/>
                  <a:gd name="T19" fmla="*/ 33 h 387"/>
                  <a:gd name="T20" fmla="*/ 4 w 50"/>
                  <a:gd name="T21" fmla="*/ 15 h 387"/>
                  <a:gd name="T22" fmla="*/ 1 w 50"/>
                  <a:gd name="T23" fmla="*/ 4 h 387"/>
                  <a:gd name="T24" fmla="*/ 0 w 50"/>
                  <a:gd name="T25" fmla="*/ 1 h 387"/>
                  <a:gd name="T26" fmla="*/ 0 w 50"/>
                  <a:gd name="T27" fmla="*/ 0 h 387"/>
                  <a:gd name="T28" fmla="*/ 0 w 50"/>
                  <a:gd name="T29" fmla="*/ 1 h 387"/>
                  <a:gd name="T30" fmla="*/ 1 w 50"/>
                  <a:gd name="T31" fmla="*/ 4 h 387"/>
                  <a:gd name="T32" fmla="*/ 4 w 50"/>
                  <a:gd name="T33" fmla="*/ 15 h 387"/>
                  <a:gd name="T34" fmla="*/ 9 w 50"/>
                  <a:gd name="T35" fmla="*/ 32 h 387"/>
                  <a:gd name="T36" fmla="*/ 14 w 50"/>
                  <a:gd name="T37" fmla="*/ 56 h 387"/>
                  <a:gd name="T38" fmla="*/ 20 w 50"/>
                  <a:gd name="T39" fmla="*/ 84 h 387"/>
                  <a:gd name="T40" fmla="*/ 26 w 50"/>
                  <a:gd name="T41" fmla="*/ 117 h 387"/>
                  <a:gd name="T42" fmla="*/ 36 w 50"/>
                  <a:gd name="T43" fmla="*/ 192 h 387"/>
                  <a:gd name="T44" fmla="*/ 47 w 50"/>
                  <a:gd name="T45" fmla="*/ 330 h 387"/>
                  <a:gd name="T46" fmla="*/ 49 w 50"/>
                  <a:gd name="T47" fmla="*/ 372 h 387"/>
                  <a:gd name="T48" fmla="*/ 50 w 50"/>
                  <a:gd name="T49" fmla="*/ 383 h 387"/>
                  <a:gd name="T50" fmla="*/ 50 w 50"/>
                  <a:gd name="T51" fmla="*/ 386 h 387"/>
                  <a:gd name="T52" fmla="*/ 50 w 50"/>
                  <a:gd name="T53" fmla="*/ 387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0" h="387">
                    <a:moveTo>
                      <a:pt x="50" y="387"/>
                    </a:moveTo>
                    <a:cubicBezTo>
                      <a:pt x="50" y="387"/>
                      <a:pt x="50" y="387"/>
                      <a:pt x="50" y="386"/>
                    </a:cubicBezTo>
                    <a:cubicBezTo>
                      <a:pt x="50" y="386"/>
                      <a:pt x="50" y="385"/>
                      <a:pt x="49" y="383"/>
                    </a:cubicBezTo>
                    <a:cubicBezTo>
                      <a:pt x="49" y="381"/>
                      <a:pt x="49" y="377"/>
                      <a:pt x="49" y="372"/>
                    </a:cubicBezTo>
                    <a:cubicBezTo>
                      <a:pt x="48" y="362"/>
                      <a:pt x="47" y="348"/>
                      <a:pt x="46" y="330"/>
                    </a:cubicBezTo>
                    <a:cubicBezTo>
                      <a:pt x="44" y="295"/>
                      <a:pt x="41" y="246"/>
                      <a:pt x="35" y="192"/>
                    </a:cubicBezTo>
                    <a:cubicBezTo>
                      <a:pt x="32" y="166"/>
                      <a:pt x="28" y="140"/>
                      <a:pt x="24" y="117"/>
                    </a:cubicBezTo>
                    <a:cubicBezTo>
                      <a:pt x="22" y="105"/>
                      <a:pt x="21" y="94"/>
                      <a:pt x="19" y="84"/>
                    </a:cubicBezTo>
                    <a:cubicBezTo>
                      <a:pt x="17" y="74"/>
                      <a:pt x="15" y="65"/>
                      <a:pt x="13" y="56"/>
                    </a:cubicBezTo>
                    <a:cubicBezTo>
                      <a:pt x="11" y="47"/>
                      <a:pt x="9" y="39"/>
                      <a:pt x="8" y="33"/>
                    </a:cubicBezTo>
                    <a:cubicBezTo>
                      <a:pt x="6" y="26"/>
                      <a:pt x="5" y="20"/>
                      <a:pt x="4" y="15"/>
                    </a:cubicBezTo>
                    <a:cubicBezTo>
                      <a:pt x="2" y="10"/>
                      <a:pt x="2" y="7"/>
                      <a:pt x="1" y="4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2"/>
                      <a:pt x="1" y="3"/>
                      <a:pt x="1" y="4"/>
                    </a:cubicBezTo>
                    <a:cubicBezTo>
                      <a:pt x="2" y="6"/>
                      <a:pt x="3" y="10"/>
                      <a:pt x="4" y="15"/>
                    </a:cubicBezTo>
                    <a:cubicBezTo>
                      <a:pt x="6" y="20"/>
                      <a:pt x="7" y="25"/>
                      <a:pt x="9" y="32"/>
                    </a:cubicBezTo>
                    <a:cubicBezTo>
                      <a:pt x="10" y="39"/>
                      <a:pt x="12" y="47"/>
                      <a:pt x="14" y="56"/>
                    </a:cubicBezTo>
                    <a:cubicBezTo>
                      <a:pt x="16" y="64"/>
                      <a:pt x="18" y="74"/>
                      <a:pt x="20" y="84"/>
                    </a:cubicBezTo>
                    <a:cubicBezTo>
                      <a:pt x="22" y="94"/>
                      <a:pt x="24" y="105"/>
                      <a:pt x="26" y="117"/>
                    </a:cubicBezTo>
                    <a:cubicBezTo>
                      <a:pt x="30" y="140"/>
                      <a:pt x="33" y="165"/>
                      <a:pt x="36" y="192"/>
                    </a:cubicBezTo>
                    <a:cubicBezTo>
                      <a:pt x="42" y="246"/>
                      <a:pt x="45" y="295"/>
                      <a:pt x="47" y="330"/>
                    </a:cubicBezTo>
                    <a:cubicBezTo>
                      <a:pt x="48" y="348"/>
                      <a:pt x="49" y="362"/>
                      <a:pt x="49" y="372"/>
                    </a:cubicBezTo>
                    <a:cubicBezTo>
                      <a:pt x="50" y="377"/>
                      <a:pt x="50" y="381"/>
                      <a:pt x="50" y="383"/>
                    </a:cubicBezTo>
                    <a:cubicBezTo>
                      <a:pt x="50" y="385"/>
                      <a:pt x="50" y="386"/>
                      <a:pt x="50" y="386"/>
                    </a:cubicBezTo>
                    <a:cubicBezTo>
                      <a:pt x="50" y="387"/>
                      <a:pt x="50" y="387"/>
                      <a:pt x="50" y="38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6" name="任意多边形: 形状 835">
                <a:extLst>
                  <a:ext uri="{FF2B5EF4-FFF2-40B4-BE49-F238E27FC236}">
                    <a16:creationId xmlns:a16="http://schemas.microsoft.com/office/drawing/2014/main" id="{471EE536-94A2-4E01-8198-3F7F57E14D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088" y="3983038"/>
                <a:ext cx="285750" cy="514350"/>
              </a:xfrm>
              <a:custGeom>
                <a:avLst/>
                <a:gdLst>
                  <a:gd name="T0" fmla="*/ 84 w 125"/>
                  <a:gd name="T1" fmla="*/ 22 h 225"/>
                  <a:gd name="T2" fmla="*/ 59 w 125"/>
                  <a:gd name="T3" fmla="*/ 0 h 225"/>
                  <a:gd name="T4" fmla="*/ 27 w 125"/>
                  <a:gd name="T5" fmla="*/ 17 h 225"/>
                  <a:gd name="T6" fmla="*/ 12 w 125"/>
                  <a:gd name="T7" fmla="*/ 50 h 225"/>
                  <a:gd name="T8" fmla="*/ 3 w 125"/>
                  <a:gd name="T9" fmla="*/ 139 h 225"/>
                  <a:gd name="T10" fmla="*/ 40 w 125"/>
                  <a:gd name="T11" fmla="*/ 219 h 225"/>
                  <a:gd name="T12" fmla="*/ 53 w 125"/>
                  <a:gd name="T13" fmla="*/ 224 h 225"/>
                  <a:gd name="T14" fmla="*/ 59 w 125"/>
                  <a:gd name="T15" fmla="*/ 220 h 225"/>
                  <a:gd name="T16" fmla="*/ 124 w 125"/>
                  <a:gd name="T17" fmla="*/ 70 h 225"/>
                  <a:gd name="T18" fmla="*/ 116 w 125"/>
                  <a:gd name="T19" fmla="*/ 37 h 225"/>
                  <a:gd name="T20" fmla="*/ 84 w 125"/>
                  <a:gd name="T21" fmla="*/ 22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5" h="225">
                    <a:moveTo>
                      <a:pt x="84" y="22"/>
                    </a:moveTo>
                    <a:cubicBezTo>
                      <a:pt x="83" y="10"/>
                      <a:pt x="71" y="0"/>
                      <a:pt x="59" y="0"/>
                    </a:cubicBezTo>
                    <a:cubicBezTo>
                      <a:pt x="46" y="0"/>
                      <a:pt x="35" y="7"/>
                      <a:pt x="27" y="17"/>
                    </a:cubicBezTo>
                    <a:cubicBezTo>
                      <a:pt x="20" y="27"/>
                      <a:pt x="16" y="39"/>
                      <a:pt x="12" y="50"/>
                    </a:cubicBezTo>
                    <a:cubicBezTo>
                      <a:pt x="4" y="79"/>
                      <a:pt x="0" y="109"/>
                      <a:pt x="3" y="139"/>
                    </a:cubicBezTo>
                    <a:cubicBezTo>
                      <a:pt x="7" y="168"/>
                      <a:pt x="19" y="198"/>
                      <a:pt x="40" y="219"/>
                    </a:cubicBezTo>
                    <a:cubicBezTo>
                      <a:pt x="44" y="222"/>
                      <a:pt x="48" y="225"/>
                      <a:pt x="53" y="224"/>
                    </a:cubicBezTo>
                    <a:cubicBezTo>
                      <a:pt x="55" y="224"/>
                      <a:pt x="57" y="222"/>
                      <a:pt x="59" y="220"/>
                    </a:cubicBezTo>
                    <a:cubicBezTo>
                      <a:pt x="101" y="182"/>
                      <a:pt x="125" y="126"/>
                      <a:pt x="124" y="70"/>
                    </a:cubicBezTo>
                    <a:cubicBezTo>
                      <a:pt x="123" y="58"/>
                      <a:pt x="122" y="47"/>
                      <a:pt x="116" y="37"/>
                    </a:cubicBezTo>
                    <a:cubicBezTo>
                      <a:pt x="109" y="28"/>
                      <a:pt x="95" y="18"/>
                      <a:pt x="84" y="22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7" name="任意多边形: 形状 836">
                <a:extLst>
                  <a:ext uri="{FF2B5EF4-FFF2-40B4-BE49-F238E27FC236}">
                    <a16:creationId xmlns:a16="http://schemas.microsoft.com/office/drawing/2014/main" id="{BBE3146C-EB1A-4205-A8CE-1164BEB44E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708401"/>
                <a:ext cx="152400" cy="176213"/>
              </a:xfrm>
              <a:custGeom>
                <a:avLst/>
                <a:gdLst>
                  <a:gd name="T0" fmla="*/ 67 w 67"/>
                  <a:gd name="T1" fmla="*/ 44 h 77"/>
                  <a:gd name="T2" fmla="*/ 50 w 67"/>
                  <a:gd name="T3" fmla="*/ 75 h 77"/>
                  <a:gd name="T4" fmla="*/ 48 w 67"/>
                  <a:gd name="T5" fmla="*/ 77 h 77"/>
                  <a:gd name="T6" fmla="*/ 46 w 67"/>
                  <a:gd name="T7" fmla="*/ 75 h 77"/>
                  <a:gd name="T8" fmla="*/ 0 w 67"/>
                  <a:gd name="T9" fmla="*/ 6 h 77"/>
                  <a:gd name="T10" fmla="*/ 11 w 67"/>
                  <a:gd name="T11" fmla="*/ 0 h 77"/>
                  <a:gd name="T12" fmla="*/ 67 w 67"/>
                  <a:gd name="T13" fmla="*/ 4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77">
                    <a:moveTo>
                      <a:pt x="67" y="44"/>
                    </a:moveTo>
                    <a:cubicBezTo>
                      <a:pt x="61" y="55"/>
                      <a:pt x="55" y="65"/>
                      <a:pt x="50" y="75"/>
                    </a:cubicBezTo>
                    <a:cubicBezTo>
                      <a:pt x="49" y="76"/>
                      <a:pt x="49" y="77"/>
                      <a:pt x="48" y="77"/>
                    </a:cubicBezTo>
                    <a:cubicBezTo>
                      <a:pt x="47" y="77"/>
                      <a:pt x="46" y="76"/>
                      <a:pt x="46" y="75"/>
                    </a:cubicBezTo>
                    <a:cubicBezTo>
                      <a:pt x="31" y="52"/>
                      <a:pt x="16" y="29"/>
                      <a:pt x="0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67" y="44"/>
                      <a:pt x="67" y="44"/>
                      <a:pt x="67" y="44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8" name="任意多边形: 形状 837">
                <a:extLst>
                  <a:ext uri="{FF2B5EF4-FFF2-40B4-BE49-F238E27FC236}">
                    <a16:creationId xmlns:a16="http://schemas.microsoft.com/office/drawing/2014/main" id="{54752040-DF60-4A1C-B5C7-FE670D13CC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708401"/>
                <a:ext cx="152400" cy="176213"/>
              </a:xfrm>
              <a:custGeom>
                <a:avLst/>
                <a:gdLst>
                  <a:gd name="T0" fmla="*/ 11 w 67"/>
                  <a:gd name="T1" fmla="*/ 0 h 77"/>
                  <a:gd name="T2" fmla="*/ 0 w 67"/>
                  <a:gd name="T3" fmla="*/ 6 h 77"/>
                  <a:gd name="T4" fmla="*/ 46 w 67"/>
                  <a:gd name="T5" fmla="*/ 75 h 77"/>
                  <a:gd name="T6" fmla="*/ 48 w 67"/>
                  <a:gd name="T7" fmla="*/ 77 h 77"/>
                  <a:gd name="T8" fmla="*/ 48 w 67"/>
                  <a:gd name="T9" fmla="*/ 77 h 77"/>
                  <a:gd name="T10" fmla="*/ 50 w 67"/>
                  <a:gd name="T11" fmla="*/ 75 h 77"/>
                  <a:gd name="T12" fmla="*/ 67 w 67"/>
                  <a:gd name="T13" fmla="*/ 44 h 77"/>
                  <a:gd name="T14" fmla="*/ 11 w 67"/>
                  <a:gd name="T15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7" h="77">
                    <a:moveTo>
                      <a:pt x="11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16" y="29"/>
                      <a:pt x="31" y="52"/>
                      <a:pt x="46" y="75"/>
                    </a:cubicBezTo>
                    <a:cubicBezTo>
                      <a:pt x="46" y="76"/>
                      <a:pt x="47" y="77"/>
                      <a:pt x="48" y="77"/>
                    </a:cubicBezTo>
                    <a:cubicBezTo>
                      <a:pt x="48" y="77"/>
                      <a:pt x="48" y="77"/>
                      <a:pt x="48" y="77"/>
                    </a:cubicBezTo>
                    <a:cubicBezTo>
                      <a:pt x="49" y="77"/>
                      <a:pt x="49" y="76"/>
                      <a:pt x="50" y="75"/>
                    </a:cubicBezTo>
                    <a:cubicBezTo>
                      <a:pt x="55" y="65"/>
                      <a:pt x="61" y="55"/>
                      <a:pt x="67" y="44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0C3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9" name="任意多边形: 形状 838">
                <a:extLst>
                  <a:ext uri="{FF2B5EF4-FFF2-40B4-BE49-F238E27FC236}">
                    <a16:creationId xmlns:a16="http://schemas.microsoft.com/office/drawing/2014/main" id="{68D15D60-B16E-4C22-817A-0323072749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625851"/>
                <a:ext cx="401638" cy="311150"/>
              </a:xfrm>
              <a:custGeom>
                <a:avLst/>
                <a:gdLst>
                  <a:gd name="T0" fmla="*/ 159 w 176"/>
                  <a:gd name="T1" fmla="*/ 136 h 136"/>
                  <a:gd name="T2" fmla="*/ 4 w 176"/>
                  <a:gd name="T3" fmla="*/ 45 h 136"/>
                  <a:gd name="T4" fmla="*/ 0 w 176"/>
                  <a:gd name="T5" fmla="*/ 41 h 136"/>
                  <a:gd name="T6" fmla="*/ 3 w 176"/>
                  <a:gd name="T7" fmla="*/ 35 h 136"/>
                  <a:gd name="T8" fmla="*/ 86 w 176"/>
                  <a:gd name="T9" fmla="*/ 2 h 136"/>
                  <a:gd name="T10" fmla="*/ 161 w 176"/>
                  <a:gd name="T11" fmla="*/ 49 h 136"/>
                  <a:gd name="T12" fmla="*/ 159 w 176"/>
                  <a:gd name="T1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6" h="136">
                    <a:moveTo>
                      <a:pt x="159" y="136"/>
                    </a:moveTo>
                    <a:cubicBezTo>
                      <a:pt x="108" y="106"/>
                      <a:pt x="56" y="75"/>
                      <a:pt x="4" y="45"/>
                    </a:cubicBezTo>
                    <a:cubicBezTo>
                      <a:pt x="2" y="44"/>
                      <a:pt x="1" y="43"/>
                      <a:pt x="0" y="41"/>
                    </a:cubicBezTo>
                    <a:cubicBezTo>
                      <a:pt x="0" y="39"/>
                      <a:pt x="1" y="36"/>
                      <a:pt x="3" y="35"/>
                    </a:cubicBezTo>
                    <a:cubicBezTo>
                      <a:pt x="24" y="13"/>
                      <a:pt x="55" y="0"/>
                      <a:pt x="86" y="2"/>
                    </a:cubicBezTo>
                    <a:cubicBezTo>
                      <a:pt x="117" y="4"/>
                      <a:pt x="146" y="22"/>
                      <a:pt x="161" y="49"/>
                    </a:cubicBezTo>
                    <a:cubicBezTo>
                      <a:pt x="176" y="76"/>
                      <a:pt x="176" y="111"/>
                      <a:pt x="159" y="136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0" name="任意多边形: 形状 839">
                <a:extLst>
                  <a:ext uri="{FF2B5EF4-FFF2-40B4-BE49-F238E27FC236}">
                    <a16:creationId xmlns:a16="http://schemas.microsoft.com/office/drawing/2014/main" id="{B7E379FC-3E67-49D4-8E3D-7696491ECF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8550" y="3660776"/>
                <a:ext cx="309563" cy="279400"/>
              </a:xfrm>
              <a:custGeom>
                <a:avLst/>
                <a:gdLst>
                  <a:gd name="T0" fmla="*/ 0 w 135"/>
                  <a:gd name="T1" fmla="*/ 1 h 122"/>
                  <a:gd name="T2" fmla="*/ 2 w 135"/>
                  <a:gd name="T3" fmla="*/ 0 h 122"/>
                  <a:gd name="T4" fmla="*/ 8 w 135"/>
                  <a:gd name="T5" fmla="*/ 0 h 122"/>
                  <a:gd name="T6" fmla="*/ 30 w 135"/>
                  <a:gd name="T7" fmla="*/ 2 h 122"/>
                  <a:gd name="T8" fmla="*/ 61 w 135"/>
                  <a:gd name="T9" fmla="*/ 11 h 122"/>
                  <a:gd name="T10" fmla="*/ 93 w 135"/>
                  <a:gd name="T11" fmla="*/ 32 h 122"/>
                  <a:gd name="T12" fmla="*/ 118 w 135"/>
                  <a:gd name="T13" fmla="*/ 63 h 122"/>
                  <a:gd name="T14" fmla="*/ 130 w 135"/>
                  <a:gd name="T15" fmla="*/ 93 h 122"/>
                  <a:gd name="T16" fmla="*/ 134 w 135"/>
                  <a:gd name="T17" fmla="*/ 114 h 122"/>
                  <a:gd name="T18" fmla="*/ 134 w 135"/>
                  <a:gd name="T19" fmla="*/ 120 h 122"/>
                  <a:gd name="T20" fmla="*/ 134 w 135"/>
                  <a:gd name="T21" fmla="*/ 122 h 122"/>
                  <a:gd name="T22" fmla="*/ 133 w 135"/>
                  <a:gd name="T23" fmla="*/ 114 h 122"/>
                  <a:gd name="T24" fmla="*/ 129 w 135"/>
                  <a:gd name="T25" fmla="*/ 93 h 122"/>
                  <a:gd name="T26" fmla="*/ 92 w 135"/>
                  <a:gd name="T27" fmla="*/ 34 h 122"/>
                  <a:gd name="T28" fmla="*/ 30 w 135"/>
                  <a:gd name="T29" fmla="*/ 3 h 122"/>
                  <a:gd name="T30" fmla="*/ 8 w 135"/>
                  <a:gd name="T31" fmla="*/ 1 h 122"/>
                  <a:gd name="T32" fmla="*/ 0 w 135"/>
                  <a:gd name="T33" fmla="*/ 1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5" h="122">
                    <a:moveTo>
                      <a:pt x="0" y="1"/>
                    </a:moveTo>
                    <a:cubicBezTo>
                      <a:pt x="0" y="0"/>
                      <a:pt x="1" y="0"/>
                      <a:pt x="2" y="0"/>
                    </a:cubicBezTo>
                    <a:cubicBezTo>
                      <a:pt x="4" y="0"/>
                      <a:pt x="6" y="0"/>
                      <a:pt x="8" y="0"/>
                    </a:cubicBezTo>
                    <a:cubicBezTo>
                      <a:pt x="13" y="0"/>
                      <a:pt x="21" y="0"/>
                      <a:pt x="30" y="2"/>
                    </a:cubicBezTo>
                    <a:cubicBezTo>
                      <a:pt x="39" y="3"/>
                      <a:pt x="49" y="6"/>
                      <a:pt x="61" y="11"/>
                    </a:cubicBezTo>
                    <a:cubicBezTo>
                      <a:pt x="72" y="16"/>
                      <a:pt x="83" y="23"/>
                      <a:pt x="93" y="32"/>
                    </a:cubicBezTo>
                    <a:cubicBezTo>
                      <a:pt x="104" y="42"/>
                      <a:pt x="112" y="53"/>
                      <a:pt x="118" y="63"/>
                    </a:cubicBezTo>
                    <a:cubicBezTo>
                      <a:pt x="124" y="74"/>
                      <a:pt x="128" y="84"/>
                      <a:pt x="130" y="93"/>
                    </a:cubicBezTo>
                    <a:cubicBezTo>
                      <a:pt x="133" y="101"/>
                      <a:pt x="134" y="109"/>
                      <a:pt x="134" y="114"/>
                    </a:cubicBezTo>
                    <a:cubicBezTo>
                      <a:pt x="134" y="116"/>
                      <a:pt x="134" y="118"/>
                      <a:pt x="134" y="120"/>
                    </a:cubicBezTo>
                    <a:cubicBezTo>
                      <a:pt x="135" y="121"/>
                      <a:pt x="134" y="122"/>
                      <a:pt x="134" y="122"/>
                    </a:cubicBezTo>
                    <a:cubicBezTo>
                      <a:pt x="134" y="122"/>
                      <a:pt x="134" y="119"/>
                      <a:pt x="133" y="114"/>
                    </a:cubicBezTo>
                    <a:cubicBezTo>
                      <a:pt x="133" y="109"/>
                      <a:pt x="132" y="102"/>
                      <a:pt x="129" y="93"/>
                    </a:cubicBezTo>
                    <a:cubicBezTo>
                      <a:pt x="124" y="76"/>
                      <a:pt x="113" y="52"/>
                      <a:pt x="92" y="34"/>
                    </a:cubicBezTo>
                    <a:cubicBezTo>
                      <a:pt x="72" y="15"/>
                      <a:pt x="47" y="6"/>
                      <a:pt x="30" y="3"/>
                    </a:cubicBezTo>
                    <a:cubicBezTo>
                      <a:pt x="21" y="1"/>
                      <a:pt x="13" y="1"/>
                      <a:pt x="8" y="1"/>
                    </a:cubicBezTo>
                    <a:cubicBezTo>
                      <a:pt x="3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1" name="任意多边形: 形状 840">
                <a:extLst>
                  <a:ext uri="{FF2B5EF4-FFF2-40B4-BE49-F238E27FC236}">
                    <a16:creationId xmlns:a16="http://schemas.microsoft.com/office/drawing/2014/main" id="{E868DF5A-3AAA-44B5-87B6-B500662880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7138" y="3794126"/>
                <a:ext cx="127000" cy="39688"/>
              </a:xfrm>
              <a:custGeom>
                <a:avLst/>
                <a:gdLst>
                  <a:gd name="T0" fmla="*/ 56 w 56"/>
                  <a:gd name="T1" fmla="*/ 0 h 18"/>
                  <a:gd name="T2" fmla="*/ 48 w 56"/>
                  <a:gd name="T3" fmla="*/ 4 h 18"/>
                  <a:gd name="T4" fmla="*/ 29 w 56"/>
                  <a:gd name="T5" fmla="*/ 11 h 18"/>
                  <a:gd name="T6" fmla="*/ 9 w 56"/>
                  <a:gd name="T7" fmla="*/ 16 h 18"/>
                  <a:gd name="T8" fmla="*/ 0 w 56"/>
                  <a:gd name="T9" fmla="*/ 18 h 18"/>
                  <a:gd name="T10" fmla="*/ 8 w 56"/>
                  <a:gd name="T11" fmla="*/ 15 h 18"/>
                  <a:gd name="T12" fmla="*/ 28 w 56"/>
                  <a:gd name="T13" fmla="*/ 9 h 18"/>
                  <a:gd name="T14" fmla="*/ 48 w 56"/>
                  <a:gd name="T15" fmla="*/ 2 h 18"/>
                  <a:gd name="T16" fmla="*/ 56 w 56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8">
                    <a:moveTo>
                      <a:pt x="56" y="0"/>
                    </a:moveTo>
                    <a:cubicBezTo>
                      <a:pt x="56" y="0"/>
                      <a:pt x="53" y="2"/>
                      <a:pt x="48" y="4"/>
                    </a:cubicBezTo>
                    <a:cubicBezTo>
                      <a:pt x="43" y="6"/>
                      <a:pt x="37" y="8"/>
                      <a:pt x="29" y="11"/>
                    </a:cubicBezTo>
                    <a:cubicBezTo>
                      <a:pt x="21" y="13"/>
                      <a:pt x="14" y="15"/>
                      <a:pt x="9" y="16"/>
                    </a:cubicBezTo>
                    <a:cubicBezTo>
                      <a:pt x="4" y="18"/>
                      <a:pt x="0" y="18"/>
                      <a:pt x="0" y="18"/>
                    </a:cubicBezTo>
                    <a:cubicBezTo>
                      <a:pt x="0" y="18"/>
                      <a:pt x="3" y="17"/>
                      <a:pt x="8" y="15"/>
                    </a:cubicBezTo>
                    <a:cubicBezTo>
                      <a:pt x="14" y="13"/>
                      <a:pt x="21" y="11"/>
                      <a:pt x="28" y="9"/>
                    </a:cubicBezTo>
                    <a:cubicBezTo>
                      <a:pt x="36" y="6"/>
                      <a:pt x="42" y="4"/>
                      <a:pt x="48" y="2"/>
                    </a:cubicBezTo>
                    <a:cubicBezTo>
                      <a:pt x="53" y="1"/>
                      <a:pt x="56" y="0"/>
                      <a:pt x="5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2" name="任意多边形: 形状 841">
                <a:extLst>
                  <a:ext uri="{FF2B5EF4-FFF2-40B4-BE49-F238E27FC236}">
                    <a16:creationId xmlns:a16="http://schemas.microsoft.com/office/drawing/2014/main" id="{FA9D159E-CD0A-4EAA-AE19-1681C71CA7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6988" y="3643313"/>
                <a:ext cx="7938" cy="79375"/>
              </a:xfrm>
              <a:custGeom>
                <a:avLst/>
                <a:gdLst>
                  <a:gd name="T0" fmla="*/ 1 w 3"/>
                  <a:gd name="T1" fmla="*/ 0 h 35"/>
                  <a:gd name="T2" fmla="*/ 3 w 3"/>
                  <a:gd name="T3" fmla="*/ 18 h 35"/>
                  <a:gd name="T4" fmla="*/ 2 w 3"/>
                  <a:gd name="T5" fmla="*/ 35 h 35"/>
                  <a:gd name="T6" fmla="*/ 1 w 3"/>
                  <a:gd name="T7" fmla="*/ 18 h 35"/>
                  <a:gd name="T8" fmla="*/ 1 w 3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5">
                    <a:moveTo>
                      <a:pt x="1" y="0"/>
                    </a:moveTo>
                    <a:cubicBezTo>
                      <a:pt x="1" y="0"/>
                      <a:pt x="2" y="8"/>
                      <a:pt x="3" y="18"/>
                    </a:cubicBezTo>
                    <a:cubicBezTo>
                      <a:pt x="3" y="27"/>
                      <a:pt x="2" y="35"/>
                      <a:pt x="2" y="35"/>
                    </a:cubicBezTo>
                    <a:cubicBezTo>
                      <a:pt x="1" y="35"/>
                      <a:pt x="1" y="27"/>
                      <a:pt x="1" y="18"/>
                    </a:cubicBezTo>
                    <a:cubicBezTo>
                      <a:pt x="1" y="8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3" name="任意多边形: 形状 842">
                <a:extLst>
                  <a:ext uri="{FF2B5EF4-FFF2-40B4-BE49-F238E27FC236}">
                    <a16:creationId xmlns:a16="http://schemas.microsoft.com/office/drawing/2014/main" id="{AF1F2321-5B89-4EA0-8F37-963503EF5B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6163" y="3681413"/>
                <a:ext cx="180975" cy="42863"/>
              </a:xfrm>
              <a:custGeom>
                <a:avLst/>
                <a:gdLst>
                  <a:gd name="T0" fmla="*/ 0 w 79"/>
                  <a:gd name="T1" fmla="*/ 19 h 19"/>
                  <a:gd name="T2" fmla="*/ 11 w 79"/>
                  <a:gd name="T3" fmla="*/ 15 h 19"/>
                  <a:gd name="T4" fmla="*/ 39 w 79"/>
                  <a:gd name="T5" fmla="*/ 7 h 19"/>
                  <a:gd name="T6" fmla="*/ 67 w 79"/>
                  <a:gd name="T7" fmla="*/ 2 h 19"/>
                  <a:gd name="T8" fmla="*/ 79 w 79"/>
                  <a:gd name="T9" fmla="*/ 0 h 19"/>
                  <a:gd name="T10" fmla="*/ 67 w 79"/>
                  <a:gd name="T11" fmla="*/ 3 h 19"/>
                  <a:gd name="T12" fmla="*/ 39 w 79"/>
                  <a:gd name="T13" fmla="*/ 9 h 19"/>
                  <a:gd name="T14" fmla="*/ 11 w 79"/>
                  <a:gd name="T15" fmla="*/ 16 h 19"/>
                  <a:gd name="T16" fmla="*/ 0 w 79"/>
                  <a:gd name="T1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19">
                    <a:moveTo>
                      <a:pt x="0" y="19"/>
                    </a:moveTo>
                    <a:cubicBezTo>
                      <a:pt x="0" y="19"/>
                      <a:pt x="4" y="17"/>
                      <a:pt x="11" y="15"/>
                    </a:cubicBezTo>
                    <a:cubicBezTo>
                      <a:pt x="18" y="13"/>
                      <a:pt x="28" y="10"/>
                      <a:pt x="39" y="7"/>
                    </a:cubicBezTo>
                    <a:cubicBezTo>
                      <a:pt x="50" y="5"/>
                      <a:pt x="60" y="3"/>
                      <a:pt x="67" y="2"/>
                    </a:cubicBezTo>
                    <a:cubicBezTo>
                      <a:pt x="74" y="0"/>
                      <a:pt x="79" y="0"/>
                      <a:pt x="79" y="0"/>
                    </a:cubicBezTo>
                    <a:cubicBezTo>
                      <a:pt x="79" y="0"/>
                      <a:pt x="74" y="1"/>
                      <a:pt x="67" y="3"/>
                    </a:cubicBezTo>
                    <a:cubicBezTo>
                      <a:pt x="60" y="4"/>
                      <a:pt x="50" y="7"/>
                      <a:pt x="39" y="9"/>
                    </a:cubicBezTo>
                    <a:cubicBezTo>
                      <a:pt x="28" y="12"/>
                      <a:pt x="18" y="14"/>
                      <a:pt x="11" y="16"/>
                    </a:cubicBezTo>
                    <a:cubicBezTo>
                      <a:pt x="4" y="18"/>
                      <a:pt x="0" y="19"/>
                      <a:pt x="0" y="1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4" name="任意多边形: 形状 843">
                <a:extLst>
                  <a:ext uri="{FF2B5EF4-FFF2-40B4-BE49-F238E27FC236}">
                    <a16:creationId xmlns:a16="http://schemas.microsoft.com/office/drawing/2014/main" id="{9CDC5A80-D9EE-4783-B0BE-47C6B861D1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7088" y="3940176"/>
                <a:ext cx="430213" cy="354013"/>
              </a:xfrm>
              <a:custGeom>
                <a:avLst/>
                <a:gdLst>
                  <a:gd name="T0" fmla="*/ 181 w 188"/>
                  <a:gd name="T1" fmla="*/ 12 h 155"/>
                  <a:gd name="T2" fmla="*/ 136 w 188"/>
                  <a:gd name="T3" fmla="*/ 0 h 155"/>
                  <a:gd name="T4" fmla="*/ 88 w 188"/>
                  <a:gd name="T5" fmla="*/ 13 h 155"/>
                  <a:gd name="T6" fmla="*/ 22 w 188"/>
                  <a:gd name="T7" fmla="*/ 65 h 155"/>
                  <a:gd name="T8" fmla="*/ 12 w 188"/>
                  <a:gd name="T9" fmla="*/ 147 h 155"/>
                  <a:gd name="T10" fmla="*/ 18 w 188"/>
                  <a:gd name="T11" fmla="*/ 153 h 155"/>
                  <a:gd name="T12" fmla="*/ 26 w 188"/>
                  <a:gd name="T13" fmla="*/ 153 h 155"/>
                  <a:gd name="T14" fmla="*/ 113 w 188"/>
                  <a:gd name="T15" fmla="*/ 118 h 155"/>
                  <a:gd name="T16" fmla="*/ 180 w 188"/>
                  <a:gd name="T17" fmla="*/ 54 h 155"/>
                  <a:gd name="T18" fmla="*/ 188 w 188"/>
                  <a:gd name="T19" fmla="*/ 33 h 155"/>
                  <a:gd name="T20" fmla="*/ 181 w 188"/>
                  <a:gd name="T21" fmla="*/ 12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8" h="155">
                    <a:moveTo>
                      <a:pt x="181" y="12"/>
                    </a:moveTo>
                    <a:cubicBezTo>
                      <a:pt x="167" y="2"/>
                      <a:pt x="153" y="0"/>
                      <a:pt x="136" y="0"/>
                    </a:cubicBezTo>
                    <a:cubicBezTo>
                      <a:pt x="120" y="1"/>
                      <a:pt x="103" y="6"/>
                      <a:pt x="88" y="13"/>
                    </a:cubicBezTo>
                    <a:cubicBezTo>
                      <a:pt x="62" y="24"/>
                      <a:pt x="37" y="41"/>
                      <a:pt x="22" y="65"/>
                    </a:cubicBezTo>
                    <a:cubicBezTo>
                      <a:pt x="6" y="89"/>
                      <a:pt x="0" y="121"/>
                      <a:pt x="12" y="147"/>
                    </a:cubicBezTo>
                    <a:cubicBezTo>
                      <a:pt x="13" y="149"/>
                      <a:pt x="15" y="152"/>
                      <a:pt x="18" y="153"/>
                    </a:cubicBezTo>
                    <a:cubicBezTo>
                      <a:pt x="20" y="155"/>
                      <a:pt x="23" y="154"/>
                      <a:pt x="26" y="153"/>
                    </a:cubicBezTo>
                    <a:cubicBezTo>
                      <a:pt x="56" y="143"/>
                      <a:pt x="86" y="133"/>
                      <a:pt x="113" y="118"/>
                    </a:cubicBezTo>
                    <a:cubicBezTo>
                      <a:pt x="141" y="103"/>
                      <a:pt x="166" y="82"/>
                      <a:pt x="180" y="54"/>
                    </a:cubicBezTo>
                    <a:cubicBezTo>
                      <a:pt x="184" y="47"/>
                      <a:pt x="187" y="40"/>
                      <a:pt x="188" y="33"/>
                    </a:cubicBezTo>
                    <a:cubicBezTo>
                      <a:pt x="188" y="25"/>
                      <a:pt x="186" y="17"/>
                      <a:pt x="181" y="12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5" name="任意多边形: 形状 844">
                <a:extLst>
                  <a:ext uri="{FF2B5EF4-FFF2-40B4-BE49-F238E27FC236}">
                    <a16:creationId xmlns:a16="http://schemas.microsoft.com/office/drawing/2014/main" id="{1A9B9AC1-42D5-4E0D-951C-01BBA45A46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3600" y="3960813"/>
                <a:ext cx="376238" cy="330200"/>
              </a:xfrm>
              <a:custGeom>
                <a:avLst/>
                <a:gdLst>
                  <a:gd name="T0" fmla="*/ 165 w 165"/>
                  <a:gd name="T1" fmla="*/ 0 h 145"/>
                  <a:gd name="T2" fmla="*/ 163 w 165"/>
                  <a:gd name="T3" fmla="*/ 1 h 145"/>
                  <a:gd name="T4" fmla="*/ 157 w 165"/>
                  <a:gd name="T5" fmla="*/ 3 h 145"/>
                  <a:gd name="T6" fmla="*/ 152 w 165"/>
                  <a:gd name="T7" fmla="*/ 4 h 145"/>
                  <a:gd name="T8" fmla="*/ 147 w 165"/>
                  <a:gd name="T9" fmla="*/ 6 h 145"/>
                  <a:gd name="T10" fmla="*/ 134 w 165"/>
                  <a:gd name="T11" fmla="*/ 12 h 145"/>
                  <a:gd name="T12" fmla="*/ 127 w 165"/>
                  <a:gd name="T13" fmla="*/ 15 h 145"/>
                  <a:gd name="T14" fmla="*/ 119 w 165"/>
                  <a:gd name="T15" fmla="*/ 19 h 145"/>
                  <a:gd name="T16" fmla="*/ 102 w 165"/>
                  <a:gd name="T17" fmla="*/ 28 h 145"/>
                  <a:gd name="T18" fmla="*/ 67 w 165"/>
                  <a:gd name="T19" fmla="*/ 55 h 145"/>
                  <a:gd name="T20" fmla="*/ 37 w 165"/>
                  <a:gd name="T21" fmla="*/ 86 h 145"/>
                  <a:gd name="T22" fmla="*/ 25 w 165"/>
                  <a:gd name="T23" fmla="*/ 102 h 145"/>
                  <a:gd name="T24" fmla="*/ 20 w 165"/>
                  <a:gd name="T25" fmla="*/ 109 h 145"/>
                  <a:gd name="T26" fmla="*/ 16 w 165"/>
                  <a:gd name="T27" fmla="*/ 116 h 145"/>
                  <a:gd name="T28" fmla="*/ 9 w 165"/>
                  <a:gd name="T29" fmla="*/ 127 h 145"/>
                  <a:gd name="T30" fmla="*/ 6 w 165"/>
                  <a:gd name="T31" fmla="*/ 132 h 145"/>
                  <a:gd name="T32" fmla="*/ 4 w 165"/>
                  <a:gd name="T33" fmla="*/ 137 h 145"/>
                  <a:gd name="T34" fmla="*/ 1 w 165"/>
                  <a:gd name="T35" fmla="*/ 143 h 145"/>
                  <a:gd name="T36" fmla="*/ 0 w 165"/>
                  <a:gd name="T37" fmla="*/ 145 h 145"/>
                  <a:gd name="T38" fmla="*/ 1 w 165"/>
                  <a:gd name="T39" fmla="*/ 143 h 145"/>
                  <a:gd name="T40" fmla="*/ 4 w 165"/>
                  <a:gd name="T41" fmla="*/ 136 h 145"/>
                  <a:gd name="T42" fmla="*/ 6 w 165"/>
                  <a:gd name="T43" fmla="*/ 132 h 145"/>
                  <a:gd name="T44" fmla="*/ 8 w 165"/>
                  <a:gd name="T45" fmla="*/ 127 h 145"/>
                  <a:gd name="T46" fmla="*/ 15 w 165"/>
                  <a:gd name="T47" fmla="*/ 115 h 145"/>
                  <a:gd name="T48" fmla="*/ 19 w 165"/>
                  <a:gd name="T49" fmla="*/ 108 h 145"/>
                  <a:gd name="T50" fmla="*/ 24 w 165"/>
                  <a:gd name="T51" fmla="*/ 101 h 145"/>
                  <a:gd name="T52" fmla="*/ 35 w 165"/>
                  <a:gd name="T53" fmla="*/ 85 h 145"/>
                  <a:gd name="T54" fmla="*/ 66 w 165"/>
                  <a:gd name="T55" fmla="*/ 53 h 145"/>
                  <a:gd name="T56" fmla="*/ 101 w 165"/>
                  <a:gd name="T57" fmla="*/ 27 h 145"/>
                  <a:gd name="T58" fmla="*/ 118 w 165"/>
                  <a:gd name="T59" fmla="*/ 18 h 145"/>
                  <a:gd name="T60" fmla="*/ 126 w 165"/>
                  <a:gd name="T61" fmla="*/ 14 h 145"/>
                  <a:gd name="T62" fmla="*/ 133 w 165"/>
                  <a:gd name="T63" fmla="*/ 10 h 145"/>
                  <a:gd name="T64" fmla="*/ 146 w 165"/>
                  <a:gd name="T65" fmla="*/ 5 h 145"/>
                  <a:gd name="T66" fmla="*/ 152 w 165"/>
                  <a:gd name="T67" fmla="*/ 3 h 145"/>
                  <a:gd name="T68" fmla="*/ 156 w 165"/>
                  <a:gd name="T69" fmla="*/ 2 h 145"/>
                  <a:gd name="T70" fmla="*/ 163 w 165"/>
                  <a:gd name="T71" fmla="*/ 0 h 145"/>
                  <a:gd name="T72" fmla="*/ 165 w 165"/>
                  <a:gd name="T73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65" h="145">
                    <a:moveTo>
                      <a:pt x="165" y="0"/>
                    </a:moveTo>
                    <a:cubicBezTo>
                      <a:pt x="165" y="0"/>
                      <a:pt x="164" y="0"/>
                      <a:pt x="163" y="1"/>
                    </a:cubicBezTo>
                    <a:cubicBezTo>
                      <a:pt x="161" y="1"/>
                      <a:pt x="159" y="2"/>
                      <a:pt x="157" y="3"/>
                    </a:cubicBezTo>
                    <a:cubicBezTo>
                      <a:pt x="155" y="3"/>
                      <a:pt x="154" y="4"/>
                      <a:pt x="152" y="4"/>
                    </a:cubicBezTo>
                    <a:cubicBezTo>
                      <a:pt x="150" y="5"/>
                      <a:pt x="149" y="6"/>
                      <a:pt x="147" y="6"/>
                    </a:cubicBezTo>
                    <a:cubicBezTo>
                      <a:pt x="143" y="8"/>
                      <a:pt x="139" y="9"/>
                      <a:pt x="134" y="12"/>
                    </a:cubicBezTo>
                    <a:cubicBezTo>
                      <a:pt x="132" y="13"/>
                      <a:pt x="129" y="14"/>
                      <a:pt x="127" y="15"/>
                    </a:cubicBezTo>
                    <a:cubicBezTo>
                      <a:pt x="124" y="16"/>
                      <a:pt x="122" y="18"/>
                      <a:pt x="119" y="19"/>
                    </a:cubicBezTo>
                    <a:cubicBezTo>
                      <a:pt x="114" y="22"/>
                      <a:pt x="108" y="25"/>
                      <a:pt x="102" y="28"/>
                    </a:cubicBezTo>
                    <a:cubicBezTo>
                      <a:pt x="91" y="36"/>
                      <a:pt x="79" y="44"/>
                      <a:pt x="67" y="55"/>
                    </a:cubicBezTo>
                    <a:cubicBezTo>
                      <a:pt x="55" y="65"/>
                      <a:pt x="45" y="76"/>
                      <a:pt x="37" y="86"/>
                    </a:cubicBezTo>
                    <a:cubicBezTo>
                      <a:pt x="32" y="92"/>
                      <a:pt x="28" y="97"/>
                      <a:pt x="25" y="102"/>
                    </a:cubicBezTo>
                    <a:cubicBezTo>
                      <a:pt x="23" y="104"/>
                      <a:pt x="22" y="106"/>
                      <a:pt x="20" y="109"/>
                    </a:cubicBezTo>
                    <a:cubicBezTo>
                      <a:pt x="19" y="111"/>
                      <a:pt x="17" y="113"/>
                      <a:pt x="16" y="116"/>
                    </a:cubicBezTo>
                    <a:cubicBezTo>
                      <a:pt x="13" y="120"/>
                      <a:pt x="11" y="124"/>
                      <a:pt x="9" y="127"/>
                    </a:cubicBezTo>
                    <a:cubicBezTo>
                      <a:pt x="8" y="129"/>
                      <a:pt x="7" y="131"/>
                      <a:pt x="6" y="132"/>
                    </a:cubicBezTo>
                    <a:cubicBezTo>
                      <a:pt x="6" y="134"/>
                      <a:pt x="5" y="135"/>
                      <a:pt x="4" y="137"/>
                    </a:cubicBezTo>
                    <a:cubicBezTo>
                      <a:pt x="3" y="139"/>
                      <a:pt x="2" y="141"/>
                      <a:pt x="1" y="143"/>
                    </a:cubicBezTo>
                    <a:cubicBezTo>
                      <a:pt x="1" y="144"/>
                      <a:pt x="0" y="145"/>
                      <a:pt x="0" y="145"/>
                    </a:cubicBezTo>
                    <a:cubicBezTo>
                      <a:pt x="0" y="145"/>
                      <a:pt x="0" y="144"/>
                      <a:pt x="1" y="143"/>
                    </a:cubicBezTo>
                    <a:cubicBezTo>
                      <a:pt x="2" y="141"/>
                      <a:pt x="3" y="139"/>
                      <a:pt x="4" y="136"/>
                    </a:cubicBezTo>
                    <a:cubicBezTo>
                      <a:pt x="4" y="135"/>
                      <a:pt x="5" y="134"/>
                      <a:pt x="6" y="132"/>
                    </a:cubicBezTo>
                    <a:cubicBezTo>
                      <a:pt x="6" y="130"/>
                      <a:pt x="7" y="129"/>
                      <a:pt x="8" y="127"/>
                    </a:cubicBezTo>
                    <a:cubicBezTo>
                      <a:pt x="10" y="123"/>
                      <a:pt x="12" y="119"/>
                      <a:pt x="15" y="115"/>
                    </a:cubicBezTo>
                    <a:cubicBezTo>
                      <a:pt x="16" y="113"/>
                      <a:pt x="17" y="110"/>
                      <a:pt x="19" y="108"/>
                    </a:cubicBezTo>
                    <a:cubicBezTo>
                      <a:pt x="20" y="106"/>
                      <a:pt x="22" y="103"/>
                      <a:pt x="24" y="101"/>
                    </a:cubicBezTo>
                    <a:cubicBezTo>
                      <a:pt x="27" y="96"/>
                      <a:pt x="31" y="91"/>
                      <a:pt x="35" y="85"/>
                    </a:cubicBezTo>
                    <a:cubicBezTo>
                      <a:pt x="44" y="75"/>
                      <a:pt x="54" y="64"/>
                      <a:pt x="66" y="53"/>
                    </a:cubicBezTo>
                    <a:cubicBezTo>
                      <a:pt x="78" y="43"/>
                      <a:pt x="90" y="34"/>
                      <a:pt x="101" y="27"/>
                    </a:cubicBezTo>
                    <a:cubicBezTo>
                      <a:pt x="107" y="24"/>
                      <a:pt x="113" y="20"/>
                      <a:pt x="118" y="18"/>
                    </a:cubicBezTo>
                    <a:cubicBezTo>
                      <a:pt x="121" y="16"/>
                      <a:pt x="124" y="15"/>
                      <a:pt x="126" y="14"/>
                    </a:cubicBezTo>
                    <a:cubicBezTo>
                      <a:pt x="129" y="13"/>
                      <a:pt x="131" y="11"/>
                      <a:pt x="133" y="10"/>
                    </a:cubicBezTo>
                    <a:cubicBezTo>
                      <a:pt x="138" y="8"/>
                      <a:pt x="143" y="7"/>
                      <a:pt x="146" y="5"/>
                    </a:cubicBezTo>
                    <a:cubicBezTo>
                      <a:pt x="148" y="5"/>
                      <a:pt x="150" y="4"/>
                      <a:pt x="152" y="3"/>
                    </a:cubicBezTo>
                    <a:cubicBezTo>
                      <a:pt x="153" y="3"/>
                      <a:pt x="155" y="2"/>
                      <a:pt x="156" y="2"/>
                    </a:cubicBezTo>
                    <a:cubicBezTo>
                      <a:pt x="159" y="1"/>
                      <a:pt x="161" y="1"/>
                      <a:pt x="163" y="0"/>
                    </a:cubicBezTo>
                    <a:cubicBezTo>
                      <a:pt x="164" y="0"/>
                      <a:pt x="165" y="0"/>
                      <a:pt x="16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6" name="任意多边形: 形状 845">
                <a:extLst>
                  <a:ext uri="{FF2B5EF4-FFF2-40B4-BE49-F238E27FC236}">
                    <a16:creationId xmlns:a16="http://schemas.microsoft.com/office/drawing/2014/main" id="{88F4EC03-1D43-418F-8161-2DDE64631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2488" y="4087813"/>
                <a:ext cx="150813" cy="46038"/>
              </a:xfrm>
              <a:custGeom>
                <a:avLst/>
                <a:gdLst>
                  <a:gd name="T0" fmla="*/ 66 w 66"/>
                  <a:gd name="T1" fmla="*/ 0 h 20"/>
                  <a:gd name="T2" fmla="*/ 33 w 66"/>
                  <a:gd name="T3" fmla="*/ 11 h 20"/>
                  <a:gd name="T4" fmla="*/ 0 w 66"/>
                  <a:gd name="T5" fmla="*/ 19 h 20"/>
                  <a:gd name="T6" fmla="*/ 33 w 66"/>
                  <a:gd name="T7" fmla="*/ 9 h 20"/>
                  <a:gd name="T8" fmla="*/ 66 w 66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20">
                    <a:moveTo>
                      <a:pt x="66" y="0"/>
                    </a:moveTo>
                    <a:cubicBezTo>
                      <a:pt x="66" y="1"/>
                      <a:pt x="51" y="5"/>
                      <a:pt x="33" y="11"/>
                    </a:cubicBezTo>
                    <a:cubicBezTo>
                      <a:pt x="15" y="16"/>
                      <a:pt x="0" y="20"/>
                      <a:pt x="0" y="19"/>
                    </a:cubicBezTo>
                    <a:cubicBezTo>
                      <a:pt x="0" y="19"/>
                      <a:pt x="14" y="14"/>
                      <a:pt x="33" y="9"/>
                    </a:cubicBezTo>
                    <a:cubicBezTo>
                      <a:pt x="51" y="4"/>
                      <a:pt x="65" y="0"/>
                      <a:pt x="6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7" name="任意多边形: 形状 846">
                <a:extLst>
                  <a:ext uri="{FF2B5EF4-FFF2-40B4-BE49-F238E27FC236}">
                    <a16:creationId xmlns:a16="http://schemas.microsoft.com/office/drawing/2014/main" id="{09D1642D-4ABF-417C-A8A6-CFDB13A9DE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5363" y="4095751"/>
                <a:ext cx="7938" cy="157163"/>
              </a:xfrm>
              <a:custGeom>
                <a:avLst/>
                <a:gdLst>
                  <a:gd name="T0" fmla="*/ 1 w 3"/>
                  <a:gd name="T1" fmla="*/ 69 h 69"/>
                  <a:gd name="T2" fmla="*/ 1 w 3"/>
                  <a:gd name="T3" fmla="*/ 59 h 69"/>
                  <a:gd name="T4" fmla="*/ 1 w 3"/>
                  <a:gd name="T5" fmla="*/ 34 h 69"/>
                  <a:gd name="T6" fmla="*/ 2 w 3"/>
                  <a:gd name="T7" fmla="*/ 10 h 69"/>
                  <a:gd name="T8" fmla="*/ 3 w 3"/>
                  <a:gd name="T9" fmla="*/ 0 h 69"/>
                  <a:gd name="T10" fmla="*/ 3 w 3"/>
                  <a:gd name="T11" fmla="*/ 10 h 69"/>
                  <a:gd name="T12" fmla="*/ 2 w 3"/>
                  <a:gd name="T13" fmla="*/ 34 h 69"/>
                  <a:gd name="T14" fmla="*/ 2 w 3"/>
                  <a:gd name="T15" fmla="*/ 59 h 69"/>
                  <a:gd name="T16" fmla="*/ 1 w 3"/>
                  <a:gd name="T17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69">
                    <a:moveTo>
                      <a:pt x="1" y="69"/>
                    </a:moveTo>
                    <a:cubicBezTo>
                      <a:pt x="1" y="69"/>
                      <a:pt x="1" y="65"/>
                      <a:pt x="1" y="59"/>
                    </a:cubicBezTo>
                    <a:cubicBezTo>
                      <a:pt x="0" y="53"/>
                      <a:pt x="0" y="44"/>
                      <a:pt x="1" y="34"/>
                    </a:cubicBezTo>
                    <a:cubicBezTo>
                      <a:pt x="1" y="25"/>
                      <a:pt x="1" y="16"/>
                      <a:pt x="2" y="10"/>
                    </a:cubicBezTo>
                    <a:cubicBezTo>
                      <a:pt x="2" y="4"/>
                      <a:pt x="3" y="0"/>
                      <a:pt x="3" y="0"/>
                    </a:cubicBezTo>
                    <a:cubicBezTo>
                      <a:pt x="3" y="0"/>
                      <a:pt x="3" y="4"/>
                      <a:pt x="3" y="10"/>
                    </a:cubicBezTo>
                    <a:cubicBezTo>
                      <a:pt x="3" y="17"/>
                      <a:pt x="3" y="25"/>
                      <a:pt x="2" y="34"/>
                    </a:cubicBezTo>
                    <a:cubicBezTo>
                      <a:pt x="2" y="44"/>
                      <a:pt x="2" y="52"/>
                      <a:pt x="2" y="59"/>
                    </a:cubicBezTo>
                    <a:cubicBezTo>
                      <a:pt x="2" y="65"/>
                      <a:pt x="2" y="69"/>
                      <a:pt x="1" y="6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8" name="任意多边形: 形状 847">
                <a:extLst>
                  <a:ext uri="{FF2B5EF4-FFF2-40B4-BE49-F238E27FC236}">
                    <a16:creationId xmlns:a16="http://schemas.microsoft.com/office/drawing/2014/main" id="{345F4465-1117-4BB5-B5F8-1E8AE43AB5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5538" y="4002088"/>
                <a:ext cx="14288" cy="179388"/>
              </a:xfrm>
              <a:custGeom>
                <a:avLst/>
                <a:gdLst>
                  <a:gd name="T0" fmla="*/ 6 w 6"/>
                  <a:gd name="T1" fmla="*/ 79 h 79"/>
                  <a:gd name="T2" fmla="*/ 2 w 6"/>
                  <a:gd name="T3" fmla="*/ 39 h 79"/>
                  <a:gd name="T4" fmla="*/ 0 w 6"/>
                  <a:gd name="T5" fmla="*/ 0 h 79"/>
                  <a:gd name="T6" fmla="*/ 4 w 6"/>
                  <a:gd name="T7" fmla="*/ 39 h 79"/>
                  <a:gd name="T8" fmla="*/ 6 w 6"/>
                  <a:gd name="T9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79">
                    <a:moveTo>
                      <a:pt x="6" y="79"/>
                    </a:moveTo>
                    <a:cubicBezTo>
                      <a:pt x="5" y="79"/>
                      <a:pt x="4" y="61"/>
                      <a:pt x="2" y="39"/>
                    </a:cubicBezTo>
                    <a:cubicBezTo>
                      <a:pt x="1" y="18"/>
                      <a:pt x="0" y="0"/>
                      <a:pt x="0" y="0"/>
                    </a:cubicBezTo>
                    <a:cubicBezTo>
                      <a:pt x="1" y="0"/>
                      <a:pt x="2" y="18"/>
                      <a:pt x="4" y="39"/>
                    </a:cubicBezTo>
                    <a:cubicBezTo>
                      <a:pt x="5" y="61"/>
                      <a:pt x="6" y="79"/>
                      <a:pt x="6" y="7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9" name="任意多边形: 形状 848">
                <a:extLst>
                  <a:ext uri="{FF2B5EF4-FFF2-40B4-BE49-F238E27FC236}">
                    <a16:creationId xmlns:a16="http://schemas.microsoft.com/office/drawing/2014/main" id="{BD6E5EA7-6CAC-4785-8A20-ACDD340371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613" y="3997326"/>
                <a:ext cx="161925" cy="6350"/>
              </a:xfrm>
              <a:custGeom>
                <a:avLst/>
                <a:gdLst>
                  <a:gd name="T0" fmla="*/ 0 w 71"/>
                  <a:gd name="T1" fmla="*/ 0 h 3"/>
                  <a:gd name="T2" fmla="*/ 11 w 71"/>
                  <a:gd name="T3" fmla="*/ 0 h 3"/>
                  <a:gd name="T4" fmla="*/ 36 w 71"/>
                  <a:gd name="T5" fmla="*/ 1 h 3"/>
                  <a:gd name="T6" fmla="*/ 61 w 71"/>
                  <a:gd name="T7" fmla="*/ 2 h 3"/>
                  <a:gd name="T8" fmla="*/ 71 w 71"/>
                  <a:gd name="T9" fmla="*/ 3 h 3"/>
                  <a:gd name="T10" fmla="*/ 61 w 71"/>
                  <a:gd name="T11" fmla="*/ 3 h 3"/>
                  <a:gd name="T12" fmla="*/ 36 w 71"/>
                  <a:gd name="T13" fmla="*/ 2 h 3"/>
                  <a:gd name="T14" fmla="*/ 11 w 71"/>
                  <a:gd name="T15" fmla="*/ 1 h 3"/>
                  <a:gd name="T16" fmla="*/ 0 w 71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3">
                    <a:moveTo>
                      <a:pt x="0" y="0"/>
                    </a:moveTo>
                    <a:cubicBezTo>
                      <a:pt x="0" y="0"/>
                      <a:pt x="4" y="0"/>
                      <a:pt x="11" y="0"/>
                    </a:cubicBezTo>
                    <a:cubicBezTo>
                      <a:pt x="17" y="0"/>
                      <a:pt x="26" y="0"/>
                      <a:pt x="36" y="1"/>
                    </a:cubicBezTo>
                    <a:cubicBezTo>
                      <a:pt x="45" y="1"/>
                      <a:pt x="54" y="1"/>
                      <a:pt x="61" y="2"/>
                    </a:cubicBezTo>
                    <a:cubicBezTo>
                      <a:pt x="67" y="2"/>
                      <a:pt x="71" y="2"/>
                      <a:pt x="71" y="3"/>
                    </a:cubicBezTo>
                    <a:cubicBezTo>
                      <a:pt x="71" y="3"/>
                      <a:pt x="67" y="3"/>
                      <a:pt x="61" y="3"/>
                    </a:cubicBezTo>
                    <a:cubicBezTo>
                      <a:pt x="54" y="3"/>
                      <a:pt x="45" y="3"/>
                      <a:pt x="36" y="2"/>
                    </a:cubicBezTo>
                    <a:cubicBezTo>
                      <a:pt x="26" y="2"/>
                      <a:pt x="17" y="2"/>
                      <a:pt x="11" y="1"/>
                    </a:cubicBezTo>
                    <a:cubicBezTo>
                      <a:pt x="4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0" name="任意多边形: 形状 849">
                <a:extLst>
                  <a:ext uri="{FF2B5EF4-FFF2-40B4-BE49-F238E27FC236}">
                    <a16:creationId xmlns:a16="http://schemas.microsoft.com/office/drawing/2014/main" id="{F03E55B8-548A-463B-ACD7-4A4BA29D0D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4450" y="4033838"/>
                <a:ext cx="84138" cy="468313"/>
              </a:xfrm>
              <a:custGeom>
                <a:avLst/>
                <a:gdLst>
                  <a:gd name="T0" fmla="*/ 1 w 37"/>
                  <a:gd name="T1" fmla="*/ 205 h 205"/>
                  <a:gd name="T2" fmla="*/ 1 w 37"/>
                  <a:gd name="T3" fmla="*/ 203 h 205"/>
                  <a:gd name="T4" fmla="*/ 0 w 37"/>
                  <a:gd name="T5" fmla="*/ 197 h 205"/>
                  <a:gd name="T6" fmla="*/ 0 w 37"/>
                  <a:gd name="T7" fmla="*/ 174 h 205"/>
                  <a:gd name="T8" fmla="*/ 2 w 37"/>
                  <a:gd name="T9" fmla="*/ 141 h 205"/>
                  <a:gd name="T10" fmla="*/ 8 w 37"/>
                  <a:gd name="T11" fmla="*/ 100 h 205"/>
                  <a:gd name="T12" fmla="*/ 16 w 37"/>
                  <a:gd name="T13" fmla="*/ 61 h 205"/>
                  <a:gd name="T14" fmla="*/ 26 w 37"/>
                  <a:gd name="T15" fmla="*/ 29 h 205"/>
                  <a:gd name="T16" fmla="*/ 34 w 37"/>
                  <a:gd name="T17" fmla="*/ 8 h 205"/>
                  <a:gd name="T18" fmla="*/ 36 w 37"/>
                  <a:gd name="T19" fmla="*/ 2 h 205"/>
                  <a:gd name="T20" fmla="*/ 37 w 37"/>
                  <a:gd name="T21" fmla="*/ 0 h 205"/>
                  <a:gd name="T22" fmla="*/ 37 w 37"/>
                  <a:gd name="T23" fmla="*/ 2 h 205"/>
                  <a:gd name="T24" fmla="*/ 35 w 37"/>
                  <a:gd name="T25" fmla="*/ 8 h 205"/>
                  <a:gd name="T26" fmla="*/ 27 w 37"/>
                  <a:gd name="T27" fmla="*/ 29 h 205"/>
                  <a:gd name="T28" fmla="*/ 18 w 37"/>
                  <a:gd name="T29" fmla="*/ 61 h 205"/>
                  <a:gd name="T30" fmla="*/ 9 w 37"/>
                  <a:gd name="T31" fmla="*/ 101 h 205"/>
                  <a:gd name="T32" fmla="*/ 4 w 37"/>
                  <a:gd name="T33" fmla="*/ 141 h 205"/>
                  <a:gd name="T34" fmla="*/ 1 w 37"/>
                  <a:gd name="T35" fmla="*/ 174 h 205"/>
                  <a:gd name="T36" fmla="*/ 1 w 37"/>
                  <a:gd name="T37" fmla="*/ 197 h 205"/>
                  <a:gd name="T38" fmla="*/ 1 w 37"/>
                  <a:gd name="T39" fmla="*/ 203 h 205"/>
                  <a:gd name="T40" fmla="*/ 1 w 37"/>
                  <a:gd name="T41" fmla="*/ 205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7" h="205">
                    <a:moveTo>
                      <a:pt x="1" y="205"/>
                    </a:moveTo>
                    <a:cubicBezTo>
                      <a:pt x="1" y="205"/>
                      <a:pt x="1" y="204"/>
                      <a:pt x="1" y="203"/>
                    </a:cubicBezTo>
                    <a:cubicBezTo>
                      <a:pt x="0" y="201"/>
                      <a:pt x="0" y="199"/>
                      <a:pt x="0" y="197"/>
                    </a:cubicBezTo>
                    <a:cubicBezTo>
                      <a:pt x="0" y="191"/>
                      <a:pt x="0" y="184"/>
                      <a:pt x="0" y="174"/>
                    </a:cubicBezTo>
                    <a:cubicBezTo>
                      <a:pt x="0" y="165"/>
                      <a:pt x="1" y="153"/>
                      <a:pt x="2" y="141"/>
                    </a:cubicBezTo>
                    <a:cubicBezTo>
                      <a:pt x="3" y="128"/>
                      <a:pt x="5" y="115"/>
                      <a:pt x="8" y="100"/>
                    </a:cubicBezTo>
                    <a:cubicBezTo>
                      <a:pt x="10" y="86"/>
                      <a:pt x="13" y="73"/>
                      <a:pt x="16" y="61"/>
                    </a:cubicBezTo>
                    <a:cubicBezTo>
                      <a:pt x="20" y="49"/>
                      <a:pt x="23" y="38"/>
                      <a:pt x="26" y="29"/>
                    </a:cubicBezTo>
                    <a:cubicBezTo>
                      <a:pt x="29" y="20"/>
                      <a:pt x="32" y="13"/>
                      <a:pt x="34" y="8"/>
                    </a:cubicBezTo>
                    <a:cubicBezTo>
                      <a:pt x="35" y="5"/>
                      <a:pt x="36" y="4"/>
                      <a:pt x="36" y="2"/>
                    </a:cubicBezTo>
                    <a:cubicBezTo>
                      <a:pt x="37" y="1"/>
                      <a:pt x="37" y="0"/>
                      <a:pt x="37" y="0"/>
                    </a:cubicBezTo>
                    <a:cubicBezTo>
                      <a:pt x="37" y="0"/>
                      <a:pt x="37" y="1"/>
                      <a:pt x="37" y="2"/>
                    </a:cubicBezTo>
                    <a:cubicBezTo>
                      <a:pt x="36" y="4"/>
                      <a:pt x="35" y="6"/>
                      <a:pt x="35" y="8"/>
                    </a:cubicBezTo>
                    <a:cubicBezTo>
                      <a:pt x="33" y="13"/>
                      <a:pt x="30" y="20"/>
                      <a:pt x="27" y="29"/>
                    </a:cubicBezTo>
                    <a:cubicBezTo>
                      <a:pt x="24" y="38"/>
                      <a:pt x="21" y="49"/>
                      <a:pt x="18" y="61"/>
                    </a:cubicBezTo>
                    <a:cubicBezTo>
                      <a:pt x="15" y="73"/>
                      <a:pt x="12" y="87"/>
                      <a:pt x="9" y="101"/>
                    </a:cubicBezTo>
                    <a:cubicBezTo>
                      <a:pt x="7" y="115"/>
                      <a:pt x="5" y="129"/>
                      <a:pt x="4" y="141"/>
                    </a:cubicBezTo>
                    <a:cubicBezTo>
                      <a:pt x="3" y="154"/>
                      <a:pt x="2" y="165"/>
                      <a:pt x="1" y="174"/>
                    </a:cubicBezTo>
                    <a:cubicBezTo>
                      <a:pt x="1" y="184"/>
                      <a:pt x="1" y="191"/>
                      <a:pt x="1" y="197"/>
                    </a:cubicBezTo>
                    <a:cubicBezTo>
                      <a:pt x="1" y="199"/>
                      <a:pt x="1" y="201"/>
                      <a:pt x="1" y="203"/>
                    </a:cubicBezTo>
                    <a:cubicBezTo>
                      <a:pt x="1" y="204"/>
                      <a:pt x="1" y="205"/>
                      <a:pt x="1" y="20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2" name="任意多边形: 形状 851">
                <a:extLst>
                  <a:ext uri="{FF2B5EF4-FFF2-40B4-BE49-F238E27FC236}">
                    <a16:creationId xmlns:a16="http://schemas.microsoft.com/office/drawing/2014/main" id="{3BF57C41-3DD5-4035-8036-18DFAEB96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7138" y="4259263"/>
                <a:ext cx="107950" cy="93663"/>
              </a:xfrm>
              <a:custGeom>
                <a:avLst/>
                <a:gdLst>
                  <a:gd name="T0" fmla="*/ 47 w 47"/>
                  <a:gd name="T1" fmla="*/ 0 h 41"/>
                  <a:gd name="T2" fmla="*/ 41 w 47"/>
                  <a:gd name="T3" fmla="*/ 7 h 41"/>
                  <a:gd name="T4" fmla="*/ 25 w 47"/>
                  <a:gd name="T5" fmla="*/ 22 h 41"/>
                  <a:gd name="T6" fmla="*/ 7 w 47"/>
                  <a:gd name="T7" fmla="*/ 36 h 41"/>
                  <a:gd name="T8" fmla="*/ 0 w 47"/>
                  <a:gd name="T9" fmla="*/ 41 h 41"/>
                  <a:gd name="T10" fmla="*/ 7 w 47"/>
                  <a:gd name="T11" fmla="*/ 35 h 41"/>
                  <a:gd name="T12" fmla="*/ 23 w 47"/>
                  <a:gd name="T13" fmla="*/ 20 h 41"/>
                  <a:gd name="T14" fmla="*/ 40 w 47"/>
                  <a:gd name="T15" fmla="*/ 6 h 41"/>
                  <a:gd name="T16" fmla="*/ 47 w 47"/>
                  <a:gd name="T17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41">
                    <a:moveTo>
                      <a:pt x="47" y="0"/>
                    </a:moveTo>
                    <a:cubicBezTo>
                      <a:pt x="47" y="0"/>
                      <a:pt x="45" y="3"/>
                      <a:pt x="41" y="7"/>
                    </a:cubicBezTo>
                    <a:cubicBezTo>
                      <a:pt x="37" y="11"/>
                      <a:pt x="31" y="16"/>
                      <a:pt x="25" y="22"/>
                    </a:cubicBezTo>
                    <a:cubicBezTo>
                      <a:pt x="18" y="28"/>
                      <a:pt x="12" y="32"/>
                      <a:pt x="7" y="36"/>
                    </a:cubicBezTo>
                    <a:cubicBezTo>
                      <a:pt x="3" y="39"/>
                      <a:pt x="0" y="41"/>
                      <a:pt x="0" y="41"/>
                    </a:cubicBezTo>
                    <a:cubicBezTo>
                      <a:pt x="0" y="41"/>
                      <a:pt x="2" y="39"/>
                      <a:pt x="7" y="35"/>
                    </a:cubicBezTo>
                    <a:cubicBezTo>
                      <a:pt x="11" y="31"/>
                      <a:pt x="17" y="26"/>
                      <a:pt x="23" y="20"/>
                    </a:cubicBezTo>
                    <a:cubicBezTo>
                      <a:pt x="29" y="15"/>
                      <a:pt x="35" y="10"/>
                      <a:pt x="40" y="6"/>
                    </a:cubicBezTo>
                    <a:cubicBezTo>
                      <a:pt x="44" y="2"/>
                      <a:pt x="47" y="0"/>
                      <a:pt x="4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3" name="任意多边形: 形状 852">
                <a:extLst>
                  <a:ext uri="{FF2B5EF4-FFF2-40B4-BE49-F238E27FC236}">
                    <a16:creationId xmlns:a16="http://schemas.microsoft.com/office/drawing/2014/main" id="{1FC0A7EA-BE52-4D28-9954-CEC2CF825F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6200" y="4205288"/>
                <a:ext cx="100013" cy="146050"/>
              </a:xfrm>
              <a:custGeom>
                <a:avLst/>
                <a:gdLst>
                  <a:gd name="T0" fmla="*/ 44 w 44"/>
                  <a:gd name="T1" fmla="*/ 64 h 64"/>
                  <a:gd name="T2" fmla="*/ 37 w 44"/>
                  <a:gd name="T3" fmla="*/ 54 h 64"/>
                  <a:gd name="T4" fmla="*/ 22 w 44"/>
                  <a:gd name="T5" fmla="*/ 32 h 64"/>
                  <a:gd name="T6" fmla="*/ 6 w 44"/>
                  <a:gd name="T7" fmla="*/ 10 h 64"/>
                  <a:gd name="T8" fmla="*/ 0 w 44"/>
                  <a:gd name="T9" fmla="*/ 0 h 64"/>
                  <a:gd name="T10" fmla="*/ 8 w 44"/>
                  <a:gd name="T11" fmla="*/ 9 h 64"/>
                  <a:gd name="T12" fmla="*/ 24 w 44"/>
                  <a:gd name="T13" fmla="*/ 31 h 64"/>
                  <a:gd name="T14" fmla="*/ 39 w 44"/>
                  <a:gd name="T15" fmla="*/ 54 h 64"/>
                  <a:gd name="T16" fmla="*/ 44 w 44"/>
                  <a:gd name="T1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64">
                    <a:moveTo>
                      <a:pt x="44" y="64"/>
                    </a:moveTo>
                    <a:cubicBezTo>
                      <a:pt x="44" y="64"/>
                      <a:pt x="41" y="60"/>
                      <a:pt x="37" y="54"/>
                    </a:cubicBezTo>
                    <a:cubicBezTo>
                      <a:pt x="33" y="48"/>
                      <a:pt x="28" y="40"/>
                      <a:pt x="22" y="32"/>
                    </a:cubicBezTo>
                    <a:cubicBezTo>
                      <a:pt x="16" y="24"/>
                      <a:pt x="11" y="16"/>
                      <a:pt x="6" y="10"/>
                    </a:cubicBezTo>
                    <a:cubicBezTo>
                      <a:pt x="2" y="4"/>
                      <a:pt x="0" y="1"/>
                      <a:pt x="0" y="0"/>
                    </a:cubicBezTo>
                    <a:cubicBezTo>
                      <a:pt x="0" y="0"/>
                      <a:pt x="3" y="4"/>
                      <a:pt x="8" y="9"/>
                    </a:cubicBezTo>
                    <a:cubicBezTo>
                      <a:pt x="12" y="14"/>
                      <a:pt x="18" y="22"/>
                      <a:pt x="24" y="31"/>
                    </a:cubicBezTo>
                    <a:cubicBezTo>
                      <a:pt x="30" y="40"/>
                      <a:pt x="35" y="48"/>
                      <a:pt x="39" y="54"/>
                    </a:cubicBezTo>
                    <a:cubicBezTo>
                      <a:pt x="42" y="60"/>
                      <a:pt x="44" y="63"/>
                      <a:pt x="44" y="6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4" name="任意多边形: 形状 853">
                <a:extLst>
                  <a:ext uri="{FF2B5EF4-FFF2-40B4-BE49-F238E27FC236}">
                    <a16:creationId xmlns:a16="http://schemas.microsoft.com/office/drawing/2014/main" id="{A9CF5044-4FC9-4062-9A97-7B0E09BDF7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13" y="4065588"/>
                <a:ext cx="171450" cy="109538"/>
              </a:xfrm>
              <a:custGeom>
                <a:avLst/>
                <a:gdLst>
                  <a:gd name="T0" fmla="*/ 74 w 75"/>
                  <a:gd name="T1" fmla="*/ 0 h 48"/>
                  <a:gd name="T2" fmla="*/ 38 w 75"/>
                  <a:gd name="T3" fmla="*/ 25 h 48"/>
                  <a:gd name="T4" fmla="*/ 0 w 75"/>
                  <a:gd name="T5" fmla="*/ 48 h 48"/>
                  <a:gd name="T6" fmla="*/ 37 w 75"/>
                  <a:gd name="T7" fmla="*/ 23 h 48"/>
                  <a:gd name="T8" fmla="*/ 74 w 75"/>
                  <a:gd name="T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48">
                    <a:moveTo>
                      <a:pt x="74" y="0"/>
                    </a:moveTo>
                    <a:cubicBezTo>
                      <a:pt x="75" y="0"/>
                      <a:pt x="58" y="11"/>
                      <a:pt x="38" y="25"/>
                    </a:cubicBezTo>
                    <a:cubicBezTo>
                      <a:pt x="17" y="38"/>
                      <a:pt x="1" y="48"/>
                      <a:pt x="0" y="48"/>
                    </a:cubicBezTo>
                    <a:cubicBezTo>
                      <a:pt x="0" y="47"/>
                      <a:pt x="16" y="36"/>
                      <a:pt x="37" y="23"/>
                    </a:cubicBezTo>
                    <a:cubicBezTo>
                      <a:pt x="57" y="10"/>
                      <a:pt x="74" y="0"/>
                      <a:pt x="7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5" name="任意多边形: 形状 854">
                <a:extLst>
                  <a:ext uri="{FF2B5EF4-FFF2-40B4-BE49-F238E27FC236}">
                    <a16:creationId xmlns:a16="http://schemas.microsoft.com/office/drawing/2014/main" id="{EF9E948D-DC1D-4B5A-8517-CECE1DD7DA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2713" y="4070351"/>
                <a:ext cx="111125" cy="109538"/>
              </a:xfrm>
              <a:custGeom>
                <a:avLst/>
                <a:gdLst>
                  <a:gd name="T0" fmla="*/ 48 w 49"/>
                  <a:gd name="T1" fmla="*/ 48 h 48"/>
                  <a:gd name="T2" fmla="*/ 24 w 49"/>
                  <a:gd name="T3" fmla="*/ 25 h 48"/>
                  <a:gd name="T4" fmla="*/ 0 w 49"/>
                  <a:gd name="T5" fmla="*/ 1 h 48"/>
                  <a:gd name="T6" fmla="*/ 25 w 49"/>
                  <a:gd name="T7" fmla="*/ 24 h 48"/>
                  <a:gd name="T8" fmla="*/ 48 w 49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8">
                    <a:moveTo>
                      <a:pt x="48" y="48"/>
                    </a:moveTo>
                    <a:cubicBezTo>
                      <a:pt x="48" y="48"/>
                      <a:pt x="37" y="38"/>
                      <a:pt x="24" y="25"/>
                    </a:cubicBezTo>
                    <a:cubicBezTo>
                      <a:pt x="10" y="12"/>
                      <a:pt x="0" y="1"/>
                      <a:pt x="0" y="1"/>
                    </a:cubicBezTo>
                    <a:cubicBezTo>
                      <a:pt x="1" y="0"/>
                      <a:pt x="12" y="11"/>
                      <a:pt x="25" y="24"/>
                    </a:cubicBezTo>
                    <a:cubicBezTo>
                      <a:pt x="38" y="37"/>
                      <a:pt x="49" y="47"/>
                      <a:pt x="48" y="4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6" name="任意多边形: 形状 855">
                <a:extLst>
                  <a:ext uri="{FF2B5EF4-FFF2-40B4-BE49-F238E27FC236}">
                    <a16:creationId xmlns:a16="http://schemas.microsoft.com/office/drawing/2014/main" id="{5FB188A0-DF16-4348-883F-2AD5342CCB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9238" y="3935413"/>
                <a:ext cx="471488" cy="241300"/>
              </a:xfrm>
              <a:custGeom>
                <a:avLst/>
                <a:gdLst>
                  <a:gd name="T0" fmla="*/ 0 w 206"/>
                  <a:gd name="T1" fmla="*/ 106 h 106"/>
                  <a:gd name="T2" fmla="*/ 14 w 206"/>
                  <a:gd name="T3" fmla="*/ 105 h 106"/>
                  <a:gd name="T4" fmla="*/ 42 w 206"/>
                  <a:gd name="T5" fmla="*/ 96 h 106"/>
                  <a:gd name="T6" fmla="*/ 55 w 206"/>
                  <a:gd name="T7" fmla="*/ 89 h 106"/>
                  <a:gd name="T8" fmla="*/ 111 w 206"/>
                  <a:gd name="T9" fmla="*/ 83 h 106"/>
                  <a:gd name="T10" fmla="*/ 199 w 206"/>
                  <a:gd name="T11" fmla="*/ 60 h 106"/>
                  <a:gd name="T12" fmla="*/ 203 w 206"/>
                  <a:gd name="T13" fmla="*/ 57 h 106"/>
                  <a:gd name="T14" fmla="*/ 196 w 206"/>
                  <a:gd name="T15" fmla="*/ 44 h 106"/>
                  <a:gd name="T16" fmla="*/ 121 w 206"/>
                  <a:gd name="T17" fmla="*/ 7 h 106"/>
                  <a:gd name="T18" fmla="*/ 41 w 206"/>
                  <a:gd name="T19" fmla="*/ 17 h 106"/>
                  <a:gd name="T20" fmla="*/ 0 w 206"/>
                  <a:gd name="T21" fmla="*/ 10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6" h="106">
                    <a:moveTo>
                      <a:pt x="0" y="106"/>
                    </a:moveTo>
                    <a:cubicBezTo>
                      <a:pt x="14" y="105"/>
                      <a:pt x="14" y="105"/>
                      <a:pt x="14" y="105"/>
                    </a:cubicBezTo>
                    <a:cubicBezTo>
                      <a:pt x="24" y="104"/>
                      <a:pt x="34" y="101"/>
                      <a:pt x="42" y="96"/>
                    </a:cubicBezTo>
                    <a:cubicBezTo>
                      <a:pt x="47" y="93"/>
                      <a:pt x="51" y="91"/>
                      <a:pt x="55" y="89"/>
                    </a:cubicBezTo>
                    <a:cubicBezTo>
                      <a:pt x="73" y="82"/>
                      <a:pt x="92" y="84"/>
                      <a:pt x="111" y="83"/>
                    </a:cubicBezTo>
                    <a:cubicBezTo>
                      <a:pt x="141" y="81"/>
                      <a:pt x="171" y="73"/>
                      <a:pt x="199" y="60"/>
                    </a:cubicBezTo>
                    <a:cubicBezTo>
                      <a:pt x="200" y="59"/>
                      <a:pt x="202" y="58"/>
                      <a:pt x="203" y="57"/>
                    </a:cubicBezTo>
                    <a:cubicBezTo>
                      <a:pt x="206" y="51"/>
                      <a:pt x="200" y="47"/>
                      <a:pt x="196" y="44"/>
                    </a:cubicBezTo>
                    <a:cubicBezTo>
                      <a:pt x="172" y="29"/>
                      <a:pt x="148" y="15"/>
                      <a:pt x="121" y="7"/>
                    </a:cubicBezTo>
                    <a:cubicBezTo>
                      <a:pt x="94" y="0"/>
                      <a:pt x="64" y="1"/>
                      <a:pt x="41" y="17"/>
                    </a:cubicBezTo>
                    <a:cubicBezTo>
                      <a:pt x="14" y="36"/>
                      <a:pt x="4" y="73"/>
                      <a:pt x="0" y="106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7" name="任意多边形: 形状 856">
                <a:extLst>
                  <a:ext uri="{FF2B5EF4-FFF2-40B4-BE49-F238E27FC236}">
                    <a16:creationId xmlns:a16="http://schemas.microsoft.com/office/drawing/2014/main" id="{1F36A03D-F129-44E7-99EC-D34DC4BFD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9238" y="3968751"/>
                <a:ext cx="465138" cy="207963"/>
              </a:xfrm>
              <a:custGeom>
                <a:avLst/>
                <a:gdLst>
                  <a:gd name="T0" fmla="*/ 203 w 203"/>
                  <a:gd name="T1" fmla="*/ 40 h 91"/>
                  <a:gd name="T2" fmla="*/ 201 w 203"/>
                  <a:gd name="T3" fmla="*/ 39 h 91"/>
                  <a:gd name="T4" fmla="*/ 194 w 203"/>
                  <a:gd name="T5" fmla="*/ 35 h 91"/>
                  <a:gd name="T6" fmla="*/ 169 w 203"/>
                  <a:gd name="T7" fmla="*/ 23 h 91"/>
                  <a:gd name="T8" fmla="*/ 131 w 203"/>
                  <a:gd name="T9" fmla="*/ 8 h 91"/>
                  <a:gd name="T10" fmla="*/ 82 w 203"/>
                  <a:gd name="T11" fmla="*/ 4 h 91"/>
                  <a:gd name="T12" fmla="*/ 37 w 203"/>
                  <a:gd name="T13" fmla="*/ 23 h 91"/>
                  <a:gd name="T14" fmla="*/ 14 w 203"/>
                  <a:gd name="T15" fmla="*/ 56 h 91"/>
                  <a:gd name="T16" fmla="*/ 4 w 203"/>
                  <a:gd name="T17" fmla="*/ 82 h 91"/>
                  <a:gd name="T18" fmla="*/ 1 w 203"/>
                  <a:gd name="T19" fmla="*/ 89 h 91"/>
                  <a:gd name="T20" fmla="*/ 0 w 203"/>
                  <a:gd name="T21" fmla="*/ 91 h 91"/>
                  <a:gd name="T22" fmla="*/ 1 w 203"/>
                  <a:gd name="T23" fmla="*/ 89 h 91"/>
                  <a:gd name="T24" fmla="*/ 3 w 203"/>
                  <a:gd name="T25" fmla="*/ 82 h 91"/>
                  <a:gd name="T26" fmla="*/ 13 w 203"/>
                  <a:gd name="T27" fmla="*/ 56 h 91"/>
                  <a:gd name="T28" fmla="*/ 36 w 203"/>
                  <a:gd name="T29" fmla="*/ 22 h 91"/>
                  <a:gd name="T30" fmla="*/ 82 w 203"/>
                  <a:gd name="T31" fmla="*/ 2 h 91"/>
                  <a:gd name="T32" fmla="*/ 132 w 203"/>
                  <a:gd name="T33" fmla="*/ 6 h 91"/>
                  <a:gd name="T34" fmla="*/ 170 w 203"/>
                  <a:gd name="T35" fmla="*/ 22 h 91"/>
                  <a:gd name="T36" fmla="*/ 194 w 203"/>
                  <a:gd name="T37" fmla="*/ 35 h 91"/>
                  <a:gd name="T38" fmla="*/ 201 w 203"/>
                  <a:gd name="T39" fmla="*/ 38 h 91"/>
                  <a:gd name="T40" fmla="*/ 203 w 203"/>
                  <a:gd name="T41" fmla="*/ 4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3" h="91">
                    <a:moveTo>
                      <a:pt x="203" y="40"/>
                    </a:moveTo>
                    <a:cubicBezTo>
                      <a:pt x="203" y="40"/>
                      <a:pt x="202" y="40"/>
                      <a:pt x="201" y="39"/>
                    </a:cubicBezTo>
                    <a:cubicBezTo>
                      <a:pt x="199" y="38"/>
                      <a:pt x="197" y="37"/>
                      <a:pt x="194" y="35"/>
                    </a:cubicBezTo>
                    <a:cubicBezTo>
                      <a:pt x="188" y="32"/>
                      <a:pt x="180" y="28"/>
                      <a:pt x="169" y="23"/>
                    </a:cubicBezTo>
                    <a:cubicBezTo>
                      <a:pt x="159" y="18"/>
                      <a:pt x="146" y="12"/>
                      <a:pt x="131" y="8"/>
                    </a:cubicBezTo>
                    <a:cubicBezTo>
                      <a:pt x="117" y="4"/>
                      <a:pt x="100" y="2"/>
                      <a:pt x="82" y="4"/>
                    </a:cubicBezTo>
                    <a:cubicBezTo>
                      <a:pt x="65" y="6"/>
                      <a:pt x="49" y="13"/>
                      <a:pt x="37" y="23"/>
                    </a:cubicBezTo>
                    <a:cubicBezTo>
                      <a:pt x="26" y="34"/>
                      <a:pt x="19" y="46"/>
                      <a:pt x="14" y="56"/>
                    </a:cubicBezTo>
                    <a:cubicBezTo>
                      <a:pt x="9" y="67"/>
                      <a:pt x="6" y="76"/>
                      <a:pt x="4" y="82"/>
                    </a:cubicBezTo>
                    <a:cubicBezTo>
                      <a:pt x="3" y="85"/>
                      <a:pt x="2" y="87"/>
                      <a:pt x="1" y="89"/>
                    </a:cubicBezTo>
                    <a:cubicBezTo>
                      <a:pt x="1" y="90"/>
                      <a:pt x="0" y="91"/>
                      <a:pt x="0" y="91"/>
                    </a:cubicBezTo>
                    <a:cubicBezTo>
                      <a:pt x="0" y="91"/>
                      <a:pt x="0" y="90"/>
                      <a:pt x="1" y="89"/>
                    </a:cubicBezTo>
                    <a:cubicBezTo>
                      <a:pt x="1" y="87"/>
                      <a:pt x="2" y="85"/>
                      <a:pt x="3" y="82"/>
                    </a:cubicBezTo>
                    <a:cubicBezTo>
                      <a:pt x="5" y="75"/>
                      <a:pt x="8" y="66"/>
                      <a:pt x="13" y="56"/>
                    </a:cubicBezTo>
                    <a:cubicBezTo>
                      <a:pt x="18" y="45"/>
                      <a:pt x="24" y="33"/>
                      <a:pt x="36" y="22"/>
                    </a:cubicBezTo>
                    <a:cubicBezTo>
                      <a:pt x="48" y="12"/>
                      <a:pt x="64" y="5"/>
                      <a:pt x="82" y="2"/>
                    </a:cubicBezTo>
                    <a:cubicBezTo>
                      <a:pt x="100" y="0"/>
                      <a:pt x="117" y="2"/>
                      <a:pt x="132" y="6"/>
                    </a:cubicBezTo>
                    <a:cubicBezTo>
                      <a:pt x="147" y="11"/>
                      <a:pt x="160" y="16"/>
                      <a:pt x="170" y="22"/>
                    </a:cubicBezTo>
                    <a:cubicBezTo>
                      <a:pt x="180" y="27"/>
                      <a:pt x="189" y="31"/>
                      <a:pt x="194" y="35"/>
                    </a:cubicBezTo>
                    <a:cubicBezTo>
                      <a:pt x="197" y="36"/>
                      <a:pt x="199" y="37"/>
                      <a:pt x="201" y="38"/>
                    </a:cubicBezTo>
                    <a:cubicBezTo>
                      <a:pt x="202" y="39"/>
                      <a:pt x="203" y="40"/>
                      <a:pt x="203" y="4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8" name="任意多边形: 形状 857">
                <a:extLst>
                  <a:ext uri="{FF2B5EF4-FFF2-40B4-BE49-F238E27FC236}">
                    <a16:creationId xmlns:a16="http://schemas.microsoft.com/office/drawing/2014/main" id="{52546E0F-BBF6-44C1-8384-DFF30E236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0850" y="3976688"/>
                <a:ext cx="187325" cy="125413"/>
              </a:xfrm>
              <a:custGeom>
                <a:avLst/>
                <a:gdLst>
                  <a:gd name="T0" fmla="*/ 81 w 82"/>
                  <a:gd name="T1" fmla="*/ 55 h 55"/>
                  <a:gd name="T2" fmla="*/ 40 w 82"/>
                  <a:gd name="T3" fmla="*/ 28 h 55"/>
                  <a:gd name="T4" fmla="*/ 0 w 82"/>
                  <a:gd name="T5" fmla="*/ 0 h 55"/>
                  <a:gd name="T6" fmla="*/ 41 w 82"/>
                  <a:gd name="T7" fmla="*/ 27 h 55"/>
                  <a:gd name="T8" fmla="*/ 81 w 82"/>
                  <a:gd name="T9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55">
                    <a:moveTo>
                      <a:pt x="81" y="55"/>
                    </a:moveTo>
                    <a:cubicBezTo>
                      <a:pt x="81" y="55"/>
                      <a:pt x="63" y="44"/>
                      <a:pt x="40" y="28"/>
                    </a:cubicBezTo>
                    <a:cubicBezTo>
                      <a:pt x="18" y="13"/>
                      <a:pt x="0" y="1"/>
                      <a:pt x="0" y="0"/>
                    </a:cubicBezTo>
                    <a:cubicBezTo>
                      <a:pt x="1" y="0"/>
                      <a:pt x="19" y="12"/>
                      <a:pt x="41" y="27"/>
                    </a:cubicBezTo>
                    <a:cubicBezTo>
                      <a:pt x="64" y="42"/>
                      <a:pt x="82" y="55"/>
                      <a:pt x="81" y="5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9" name="任意多边形: 形状 858">
                <a:extLst>
                  <a:ext uri="{FF2B5EF4-FFF2-40B4-BE49-F238E27FC236}">
                    <a16:creationId xmlns:a16="http://schemas.microsoft.com/office/drawing/2014/main" id="{1B1CC5A1-E377-4C53-ACE6-8D2435B15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0225" y="3971926"/>
                <a:ext cx="66675" cy="9525"/>
              </a:xfrm>
              <a:custGeom>
                <a:avLst/>
                <a:gdLst>
                  <a:gd name="T0" fmla="*/ 29 w 29"/>
                  <a:gd name="T1" fmla="*/ 1 h 4"/>
                  <a:gd name="T2" fmla="*/ 14 w 29"/>
                  <a:gd name="T3" fmla="*/ 4 h 4"/>
                  <a:gd name="T4" fmla="*/ 0 w 29"/>
                  <a:gd name="T5" fmla="*/ 3 h 4"/>
                  <a:gd name="T6" fmla="*/ 14 w 29"/>
                  <a:gd name="T7" fmla="*/ 2 h 4"/>
                  <a:gd name="T8" fmla="*/ 29 w 29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">
                    <a:moveTo>
                      <a:pt x="29" y="1"/>
                    </a:moveTo>
                    <a:cubicBezTo>
                      <a:pt x="29" y="1"/>
                      <a:pt x="22" y="3"/>
                      <a:pt x="14" y="4"/>
                    </a:cubicBezTo>
                    <a:cubicBezTo>
                      <a:pt x="6" y="4"/>
                      <a:pt x="0" y="4"/>
                      <a:pt x="0" y="3"/>
                    </a:cubicBezTo>
                    <a:cubicBezTo>
                      <a:pt x="0" y="3"/>
                      <a:pt x="6" y="2"/>
                      <a:pt x="14" y="2"/>
                    </a:cubicBezTo>
                    <a:cubicBezTo>
                      <a:pt x="22" y="1"/>
                      <a:pt x="29" y="0"/>
                      <a:pt x="29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0" name="任意多边形: 形状 859">
                <a:extLst>
                  <a:ext uri="{FF2B5EF4-FFF2-40B4-BE49-F238E27FC236}">
                    <a16:creationId xmlns:a16="http://schemas.microsoft.com/office/drawing/2014/main" id="{26230B6F-A182-49DA-93FE-5542192795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4650" y="3940176"/>
                <a:ext cx="34925" cy="52388"/>
              </a:xfrm>
              <a:custGeom>
                <a:avLst/>
                <a:gdLst>
                  <a:gd name="T0" fmla="*/ 14 w 15"/>
                  <a:gd name="T1" fmla="*/ 0 h 23"/>
                  <a:gd name="T2" fmla="*/ 8 w 15"/>
                  <a:gd name="T3" fmla="*/ 12 h 23"/>
                  <a:gd name="T4" fmla="*/ 1 w 15"/>
                  <a:gd name="T5" fmla="*/ 23 h 23"/>
                  <a:gd name="T6" fmla="*/ 7 w 15"/>
                  <a:gd name="T7" fmla="*/ 11 h 23"/>
                  <a:gd name="T8" fmla="*/ 14 w 15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3">
                    <a:moveTo>
                      <a:pt x="14" y="0"/>
                    </a:moveTo>
                    <a:cubicBezTo>
                      <a:pt x="15" y="0"/>
                      <a:pt x="12" y="6"/>
                      <a:pt x="8" y="12"/>
                    </a:cubicBezTo>
                    <a:cubicBezTo>
                      <a:pt x="5" y="18"/>
                      <a:pt x="1" y="23"/>
                      <a:pt x="1" y="23"/>
                    </a:cubicBezTo>
                    <a:cubicBezTo>
                      <a:pt x="0" y="23"/>
                      <a:pt x="3" y="17"/>
                      <a:pt x="7" y="11"/>
                    </a:cubicBezTo>
                    <a:cubicBezTo>
                      <a:pt x="11" y="5"/>
                      <a:pt x="14" y="0"/>
                      <a:pt x="1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1" name="任意多边形: 形状 860">
                <a:extLst>
                  <a:ext uri="{FF2B5EF4-FFF2-40B4-BE49-F238E27FC236}">
                    <a16:creationId xmlns:a16="http://schemas.microsoft.com/office/drawing/2014/main" id="{979E6561-13E8-4C93-A76F-04D7FBD1C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7500" y="4035426"/>
                <a:ext cx="128588" cy="92075"/>
              </a:xfrm>
              <a:custGeom>
                <a:avLst/>
                <a:gdLst>
                  <a:gd name="T0" fmla="*/ 56 w 56"/>
                  <a:gd name="T1" fmla="*/ 40 h 40"/>
                  <a:gd name="T2" fmla="*/ 47 w 56"/>
                  <a:gd name="T3" fmla="*/ 35 h 40"/>
                  <a:gd name="T4" fmla="*/ 27 w 56"/>
                  <a:gd name="T5" fmla="*/ 22 h 40"/>
                  <a:gd name="T6" fmla="*/ 8 w 56"/>
                  <a:gd name="T7" fmla="*/ 7 h 40"/>
                  <a:gd name="T8" fmla="*/ 0 w 56"/>
                  <a:gd name="T9" fmla="*/ 0 h 40"/>
                  <a:gd name="T10" fmla="*/ 9 w 56"/>
                  <a:gd name="T11" fmla="*/ 6 h 40"/>
                  <a:gd name="T12" fmla="*/ 28 w 56"/>
                  <a:gd name="T13" fmla="*/ 20 h 40"/>
                  <a:gd name="T14" fmla="*/ 48 w 56"/>
                  <a:gd name="T15" fmla="*/ 34 h 40"/>
                  <a:gd name="T16" fmla="*/ 56 w 56"/>
                  <a:gd name="T1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40">
                    <a:moveTo>
                      <a:pt x="56" y="40"/>
                    </a:moveTo>
                    <a:cubicBezTo>
                      <a:pt x="56" y="40"/>
                      <a:pt x="52" y="38"/>
                      <a:pt x="47" y="35"/>
                    </a:cubicBezTo>
                    <a:cubicBezTo>
                      <a:pt x="42" y="32"/>
                      <a:pt x="35" y="27"/>
                      <a:pt x="27" y="22"/>
                    </a:cubicBezTo>
                    <a:cubicBezTo>
                      <a:pt x="19" y="16"/>
                      <a:pt x="13" y="11"/>
                      <a:pt x="8" y="7"/>
                    </a:cubicBezTo>
                    <a:cubicBezTo>
                      <a:pt x="3" y="3"/>
                      <a:pt x="0" y="1"/>
                      <a:pt x="0" y="0"/>
                    </a:cubicBezTo>
                    <a:cubicBezTo>
                      <a:pt x="0" y="0"/>
                      <a:pt x="3" y="2"/>
                      <a:pt x="9" y="6"/>
                    </a:cubicBezTo>
                    <a:cubicBezTo>
                      <a:pt x="14" y="10"/>
                      <a:pt x="21" y="15"/>
                      <a:pt x="28" y="20"/>
                    </a:cubicBezTo>
                    <a:cubicBezTo>
                      <a:pt x="36" y="26"/>
                      <a:pt x="43" y="30"/>
                      <a:pt x="48" y="34"/>
                    </a:cubicBezTo>
                    <a:cubicBezTo>
                      <a:pt x="53" y="37"/>
                      <a:pt x="56" y="40"/>
                      <a:pt x="56" y="4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2" name="任意多边形: 形状 861">
                <a:extLst>
                  <a:ext uri="{FF2B5EF4-FFF2-40B4-BE49-F238E27FC236}">
                    <a16:creationId xmlns:a16="http://schemas.microsoft.com/office/drawing/2014/main" id="{C4F7CF2B-526E-48DF-B7FA-128AC5B7F8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7488" y="4294188"/>
                <a:ext cx="347663" cy="400050"/>
              </a:xfrm>
              <a:custGeom>
                <a:avLst/>
                <a:gdLst>
                  <a:gd name="T0" fmla="*/ 35 w 152"/>
                  <a:gd name="T1" fmla="*/ 8 h 175"/>
                  <a:gd name="T2" fmla="*/ 3 w 152"/>
                  <a:gd name="T3" fmla="*/ 31 h 175"/>
                  <a:gd name="T4" fmla="*/ 11 w 152"/>
                  <a:gd name="T5" fmla="*/ 71 h 175"/>
                  <a:gd name="T6" fmla="*/ 66 w 152"/>
                  <a:gd name="T7" fmla="*/ 144 h 175"/>
                  <a:gd name="T8" fmla="*/ 151 w 152"/>
                  <a:gd name="T9" fmla="*/ 175 h 175"/>
                  <a:gd name="T10" fmla="*/ 149 w 152"/>
                  <a:gd name="T11" fmla="*/ 94 h 175"/>
                  <a:gd name="T12" fmla="*/ 119 w 152"/>
                  <a:gd name="T13" fmla="*/ 32 h 175"/>
                  <a:gd name="T14" fmla="*/ 56 w 152"/>
                  <a:gd name="T15" fmla="*/ 3 h 175"/>
                  <a:gd name="T16" fmla="*/ 35 w 152"/>
                  <a:gd name="T17" fmla="*/ 8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75">
                    <a:moveTo>
                      <a:pt x="35" y="8"/>
                    </a:moveTo>
                    <a:cubicBezTo>
                      <a:pt x="21" y="5"/>
                      <a:pt x="5" y="18"/>
                      <a:pt x="3" y="31"/>
                    </a:cubicBezTo>
                    <a:cubicBezTo>
                      <a:pt x="0" y="45"/>
                      <a:pt x="5" y="59"/>
                      <a:pt x="11" y="71"/>
                    </a:cubicBezTo>
                    <a:cubicBezTo>
                      <a:pt x="24" y="99"/>
                      <a:pt x="42" y="124"/>
                      <a:pt x="66" y="144"/>
                    </a:cubicBezTo>
                    <a:cubicBezTo>
                      <a:pt x="90" y="163"/>
                      <a:pt x="120" y="175"/>
                      <a:pt x="151" y="175"/>
                    </a:cubicBezTo>
                    <a:cubicBezTo>
                      <a:pt x="145" y="148"/>
                      <a:pt x="152" y="121"/>
                      <a:pt x="149" y="94"/>
                    </a:cubicBezTo>
                    <a:cubicBezTo>
                      <a:pt x="146" y="71"/>
                      <a:pt x="135" y="49"/>
                      <a:pt x="119" y="32"/>
                    </a:cubicBezTo>
                    <a:cubicBezTo>
                      <a:pt x="102" y="16"/>
                      <a:pt x="80" y="5"/>
                      <a:pt x="56" y="3"/>
                    </a:cubicBezTo>
                    <a:cubicBezTo>
                      <a:pt x="48" y="2"/>
                      <a:pt x="38" y="0"/>
                      <a:pt x="35" y="8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3" name="任意多边形: 形状 862">
                <a:extLst>
                  <a:ext uri="{FF2B5EF4-FFF2-40B4-BE49-F238E27FC236}">
                    <a16:creationId xmlns:a16="http://schemas.microsoft.com/office/drawing/2014/main" id="{EFFC5975-F5FF-4B9C-BEFD-260BA0F07E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6863" y="4311651"/>
                <a:ext cx="266700" cy="382588"/>
              </a:xfrm>
              <a:custGeom>
                <a:avLst/>
                <a:gdLst>
                  <a:gd name="T0" fmla="*/ 116 w 116"/>
                  <a:gd name="T1" fmla="*/ 167 h 167"/>
                  <a:gd name="T2" fmla="*/ 114 w 116"/>
                  <a:gd name="T3" fmla="*/ 166 h 167"/>
                  <a:gd name="T4" fmla="*/ 109 w 116"/>
                  <a:gd name="T5" fmla="*/ 162 h 167"/>
                  <a:gd name="T6" fmla="*/ 96 w 116"/>
                  <a:gd name="T7" fmla="*/ 145 h 167"/>
                  <a:gd name="T8" fmla="*/ 89 w 116"/>
                  <a:gd name="T9" fmla="*/ 131 h 167"/>
                  <a:gd name="T10" fmla="*/ 81 w 116"/>
                  <a:gd name="T11" fmla="*/ 115 h 167"/>
                  <a:gd name="T12" fmla="*/ 73 w 116"/>
                  <a:gd name="T13" fmla="*/ 98 h 167"/>
                  <a:gd name="T14" fmla="*/ 60 w 116"/>
                  <a:gd name="T15" fmla="*/ 82 h 167"/>
                  <a:gd name="T16" fmla="*/ 33 w 116"/>
                  <a:gd name="T17" fmla="*/ 53 h 167"/>
                  <a:gd name="T18" fmla="*/ 12 w 116"/>
                  <a:gd name="T19" fmla="*/ 28 h 167"/>
                  <a:gd name="T20" fmla="*/ 2 w 116"/>
                  <a:gd name="T21" fmla="*/ 8 h 167"/>
                  <a:gd name="T22" fmla="*/ 0 w 116"/>
                  <a:gd name="T23" fmla="*/ 2 h 167"/>
                  <a:gd name="T24" fmla="*/ 0 w 116"/>
                  <a:gd name="T25" fmla="*/ 0 h 167"/>
                  <a:gd name="T26" fmla="*/ 2 w 116"/>
                  <a:gd name="T27" fmla="*/ 8 h 167"/>
                  <a:gd name="T28" fmla="*/ 13 w 116"/>
                  <a:gd name="T29" fmla="*/ 27 h 167"/>
                  <a:gd name="T30" fmla="*/ 34 w 116"/>
                  <a:gd name="T31" fmla="*/ 52 h 167"/>
                  <a:gd name="T32" fmla="*/ 62 w 116"/>
                  <a:gd name="T33" fmla="*/ 80 h 167"/>
                  <a:gd name="T34" fmla="*/ 74 w 116"/>
                  <a:gd name="T35" fmla="*/ 97 h 167"/>
                  <a:gd name="T36" fmla="*/ 83 w 116"/>
                  <a:gd name="T37" fmla="*/ 115 h 167"/>
                  <a:gd name="T38" fmla="*/ 90 w 116"/>
                  <a:gd name="T39" fmla="*/ 130 h 167"/>
                  <a:gd name="T40" fmla="*/ 97 w 116"/>
                  <a:gd name="T41" fmla="*/ 144 h 167"/>
                  <a:gd name="T42" fmla="*/ 109 w 116"/>
                  <a:gd name="T43" fmla="*/ 162 h 167"/>
                  <a:gd name="T44" fmla="*/ 116 w 116"/>
                  <a:gd name="T45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6" h="167">
                    <a:moveTo>
                      <a:pt x="116" y="167"/>
                    </a:moveTo>
                    <a:cubicBezTo>
                      <a:pt x="116" y="167"/>
                      <a:pt x="115" y="166"/>
                      <a:pt x="114" y="166"/>
                    </a:cubicBezTo>
                    <a:cubicBezTo>
                      <a:pt x="113" y="165"/>
                      <a:pt x="111" y="164"/>
                      <a:pt x="109" y="162"/>
                    </a:cubicBezTo>
                    <a:cubicBezTo>
                      <a:pt x="105" y="159"/>
                      <a:pt x="100" y="153"/>
                      <a:pt x="96" y="145"/>
                    </a:cubicBezTo>
                    <a:cubicBezTo>
                      <a:pt x="93" y="141"/>
                      <a:pt x="91" y="136"/>
                      <a:pt x="89" y="131"/>
                    </a:cubicBezTo>
                    <a:cubicBezTo>
                      <a:pt x="86" y="126"/>
                      <a:pt x="84" y="121"/>
                      <a:pt x="81" y="115"/>
                    </a:cubicBezTo>
                    <a:cubicBezTo>
                      <a:pt x="79" y="110"/>
                      <a:pt x="76" y="104"/>
                      <a:pt x="73" y="98"/>
                    </a:cubicBezTo>
                    <a:cubicBezTo>
                      <a:pt x="69" y="93"/>
                      <a:pt x="65" y="87"/>
                      <a:pt x="60" y="82"/>
                    </a:cubicBezTo>
                    <a:cubicBezTo>
                      <a:pt x="51" y="71"/>
                      <a:pt x="42" y="62"/>
                      <a:pt x="33" y="53"/>
                    </a:cubicBezTo>
                    <a:cubicBezTo>
                      <a:pt x="24" y="44"/>
                      <a:pt x="17" y="35"/>
                      <a:pt x="12" y="28"/>
                    </a:cubicBezTo>
                    <a:cubicBezTo>
                      <a:pt x="7" y="20"/>
                      <a:pt x="4" y="13"/>
                      <a:pt x="2" y="8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1" y="3"/>
                      <a:pt x="2" y="8"/>
                    </a:cubicBezTo>
                    <a:cubicBezTo>
                      <a:pt x="4" y="13"/>
                      <a:pt x="8" y="19"/>
                      <a:pt x="13" y="27"/>
                    </a:cubicBezTo>
                    <a:cubicBezTo>
                      <a:pt x="18" y="34"/>
                      <a:pt x="26" y="43"/>
                      <a:pt x="34" y="52"/>
                    </a:cubicBezTo>
                    <a:cubicBezTo>
                      <a:pt x="43" y="60"/>
                      <a:pt x="53" y="70"/>
                      <a:pt x="62" y="80"/>
                    </a:cubicBezTo>
                    <a:cubicBezTo>
                      <a:pt x="67" y="86"/>
                      <a:pt x="71" y="92"/>
                      <a:pt x="74" y="97"/>
                    </a:cubicBezTo>
                    <a:cubicBezTo>
                      <a:pt x="78" y="103"/>
                      <a:pt x="81" y="109"/>
                      <a:pt x="83" y="115"/>
                    </a:cubicBezTo>
                    <a:cubicBezTo>
                      <a:pt x="86" y="120"/>
                      <a:pt x="88" y="125"/>
                      <a:pt x="90" y="130"/>
                    </a:cubicBezTo>
                    <a:cubicBezTo>
                      <a:pt x="92" y="135"/>
                      <a:pt x="95" y="140"/>
                      <a:pt x="97" y="144"/>
                    </a:cubicBezTo>
                    <a:cubicBezTo>
                      <a:pt x="101" y="152"/>
                      <a:pt x="105" y="159"/>
                      <a:pt x="109" y="162"/>
                    </a:cubicBezTo>
                    <a:cubicBezTo>
                      <a:pt x="113" y="165"/>
                      <a:pt x="116" y="166"/>
                      <a:pt x="116" y="16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4" name="任意多边形: 形状 863">
                <a:extLst>
                  <a:ext uri="{FF2B5EF4-FFF2-40B4-BE49-F238E27FC236}">
                    <a16:creationId xmlns:a16="http://schemas.microsoft.com/office/drawing/2014/main" id="{D7E8FF9A-514E-4A83-A549-6EB7FBA6B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3225" y="4506913"/>
                <a:ext cx="38100" cy="136525"/>
              </a:xfrm>
              <a:custGeom>
                <a:avLst/>
                <a:gdLst>
                  <a:gd name="T0" fmla="*/ 1 w 17"/>
                  <a:gd name="T1" fmla="*/ 60 h 60"/>
                  <a:gd name="T2" fmla="*/ 2 w 17"/>
                  <a:gd name="T3" fmla="*/ 51 h 60"/>
                  <a:gd name="T4" fmla="*/ 7 w 17"/>
                  <a:gd name="T5" fmla="*/ 30 h 60"/>
                  <a:gd name="T6" fmla="*/ 14 w 17"/>
                  <a:gd name="T7" fmla="*/ 9 h 60"/>
                  <a:gd name="T8" fmla="*/ 17 w 17"/>
                  <a:gd name="T9" fmla="*/ 0 h 60"/>
                  <a:gd name="T10" fmla="*/ 15 w 17"/>
                  <a:gd name="T11" fmla="*/ 9 h 60"/>
                  <a:gd name="T12" fmla="*/ 9 w 17"/>
                  <a:gd name="T13" fmla="*/ 30 h 60"/>
                  <a:gd name="T14" fmla="*/ 3 w 17"/>
                  <a:gd name="T15" fmla="*/ 51 h 60"/>
                  <a:gd name="T16" fmla="*/ 1 w 17"/>
                  <a:gd name="T1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60">
                    <a:moveTo>
                      <a:pt x="1" y="60"/>
                    </a:moveTo>
                    <a:cubicBezTo>
                      <a:pt x="0" y="60"/>
                      <a:pt x="1" y="56"/>
                      <a:pt x="2" y="51"/>
                    </a:cubicBezTo>
                    <a:cubicBezTo>
                      <a:pt x="3" y="45"/>
                      <a:pt x="4" y="38"/>
                      <a:pt x="7" y="30"/>
                    </a:cubicBezTo>
                    <a:cubicBezTo>
                      <a:pt x="9" y="21"/>
                      <a:pt x="12" y="14"/>
                      <a:pt x="14" y="9"/>
                    </a:cubicBezTo>
                    <a:cubicBezTo>
                      <a:pt x="16" y="3"/>
                      <a:pt x="17" y="0"/>
                      <a:pt x="17" y="0"/>
                    </a:cubicBezTo>
                    <a:cubicBezTo>
                      <a:pt x="17" y="0"/>
                      <a:pt x="16" y="4"/>
                      <a:pt x="15" y="9"/>
                    </a:cubicBezTo>
                    <a:cubicBezTo>
                      <a:pt x="13" y="14"/>
                      <a:pt x="11" y="22"/>
                      <a:pt x="9" y="30"/>
                    </a:cubicBezTo>
                    <a:cubicBezTo>
                      <a:pt x="6" y="38"/>
                      <a:pt x="4" y="46"/>
                      <a:pt x="3" y="51"/>
                    </a:cubicBezTo>
                    <a:cubicBezTo>
                      <a:pt x="2" y="57"/>
                      <a:pt x="1" y="60"/>
                      <a:pt x="1" y="6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5" name="任意多边形: 形状 864">
                <a:extLst>
                  <a:ext uri="{FF2B5EF4-FFF2-40B4-BE49-F238E27FC236}">
                    <a16:creationId xmlns:a16="http://schemas.microsoft.com/office/drawing/2014/main" id="{5AB578FD-F0CB-4CDF-A189-9169B441A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9575" y="4462463"/>
                <a:ext cx="146050" cy="34925"/>
              </a:xfrm>
              <a:custGeom>
                <a:avLst/>
                <a:gdLst>
                  <a:gd name="T0" fmla="*/ 64 w 64"/>
                  <a:gd name="T1" fmla="*/ 14 h 15"/>
                  <a:gd name="T2" fmla="*/ 55 w 64"/>
                  <a:gd name="T3" fmla="*/ 12 h 15"/>
                  <a:gd name="T4" fmla="*/ 32 w 64"/>
                  <a:gd name="T5" fmla="*/ 7 h 15"/>
                  <a:gd name="T6" fmla="*/ 9 w 64"/>
                  <a:gd name="T7" fmla="*/ 2 h 15"/>
                  <a:gd name="T8" fmla="*/ 0 w 64"/>
                  <a:gd name="T9" fmla="*/ 0 h 15"/>
                  <a:gd name="T10" fmla="*/ 10 w 64"/>
                  <a:gd name="T11" fmla="*/ 1 h 15"/>
                  <a:gd name="T12" fmla="*/ 33 w 64"/>
                  <a:gd name="T13" fmla="*/ 5 h 15"/>
                  <a:gd name="T14" fmla="*/ 55 w 64"/>
                  <a:gd name="T15" fmla="*/ 11 h 15"/>
                  <a:gd name="T16" fmla="*/ 64 w 64"/>
                  <a:gd name="T17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4" h="15">
                    <a:moveTo>
                      <a:pt x="64" y="14"/>
                    </a:moveTo>
                    <a:cubicBezTo>
                      <a:pt x="64" y="15"/>
                      <a:pt x="60" y="14"/>
                      <a:pt x="55" y="12"/>
                    </a:cubicBezTo>
                    <a:cubicBezTo>
                      <a:pt x="49" y="11"/>
                      <a:pt x="41" y="9"/>
                      <a:pt x="32" y="7"/>
                    </a:cubicBezTo>
                    <a:cubicBezTo>
                      <a:pt x="23" y="5"/>
                      <a:pt x="15" y="3"/>
                      <a:pt x="9" y="2"/>
                    </a:cubicBezTo>
                    <a:cubicBezTo>
                      <a:pt x="3" y="1"/>
                      <a:pt x="0" y="0"/>
                      <a:pt x="0" y="0"/>
                    </a:cubicBezTo>
                    <a:cubicBezTo>
                      <a:pt x="0" y="0"/>
                      <a:pt x="4" y="0"/>
                      <a:pt x="10" y="1"/>
                    </a:cubicBezTo>
                    <a:cubicBezTo>
                      <a:pt x="15" y="1"/>
                      <a:pt x="24" y="3"/>
                      <a:pt x="33" y="5"/>
                    </a:cubicBezTo>
                    <a:cubicBezTo>
                      <a:pt x="41" y="7"/>
                      <a:pt x="49" y="9"/>
                      <a:pt x="55" y="11"/>
                    </a:cubicBezTo>
                    <a:cubicBezTo>
                      <a:pt x="61" y="13"/>
                      <a:pt x="64" y="14"/>
                      <a:pt x="64" y="1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4" name="任意多边形: 形状 923">
                <a:extLst>
                  <a:ext uri="{FF2B5EF4-FFF2-40B4-BE49-F238E27FC236}">
                    <a16:creationId xmlns:a16="http://schemas.microsoft.com/office/drawing/2014/main" id="{E7545C7F-CF11-4187-BD5D-12163A354C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0513" y="4381501"/>
                <a:ext cx="41275" cy="157163"/>
              </a:xfrm>
              <a:custGeom>
                <a:avLst/>
                <a:gdLst>
                  <a:gd name="T0" fmla="*/ 0 w 18"/>
                  <a:gd name="T1" fmla="*/ 69 h 69"/>
                  <a:gd name="T2" fmla="*/ 1 w 18"/>
                  <a:gd name="T3" fmla="*/ 59 h 69"/>
                  <a:gd name="T4" fmla="*/ 7 w 18"/>
                  <a:gd name="T5" fmla="*/ 34 h 69"/>
                  <a:gd name="T6" fmla="*/ 14 w 18"/>
                  <a:gd name="T7" fmla="*/ 10 h 69"/>
                  <a:gd name="T8" fmla="*/ 18 w 18"/>
                  <a:gd name="T9" fmla="*/ 0 h 69"/>
                  <a:gd name="T10" fmla="*/ 15 w 18"/>
                  <a:gd name="T11" fmla="*/ 10 h 69"/>
                  <a:gd name="T12" fmla="*/ 9 w 18"/>
                  <a:gd name="T13" fmla="*/ 34 h 69"/>
                  <a:gd name="T14" fmla="*/ 3 w 18"/>
                  <a:gd name="T15" fmla="*/ 59 h 69"/>
                  <a:gd name="T16" fmla="*/ 0 w 18"/>
                  <a:gd name="T17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69">
                    <a:moveTo>
                      <a:pt x="0" y="69"/>
                    </a:moveTo>
                    <a:cubicBezTo>
                      <a:pt x="0" y="69"/>
                      <a:pt x="0" y="65"/>
                      <a:pt x="1" y="59"/>
                    </a:cubicBezTo>
                    <a:cubicBezTo>
                      <a:pt x="3" y="52"/>
                      <a:pt x="4" y="44"/>
                      <a:pt x="7" y="34"/>
                    </a:cubicBezTo>
                    <a:cubicBezTo>
                      <a:pt x="9" y="24"/>
                      <a:pt x="12" y="16"/>
                      <a:pt x="14" y="10"/>
                    </a:cubicBezTo>
                    <a:cubicBezTo>
                      <a:pt x="16" y="3"/>
                      <a:pt x="18" y="0"/>
                      <a:pt x="18" y="0"/>
                    </a:cubicBezTo>
                    <a:cubicBezTo>
                      <a:pt x="18" y="0"/>
                      <a:pt x="17" y="4"/>
                      <a:pt x="15" y="10"/>
                    </a:cubicBezTo>
                    <a:cubicBezTo>
                      <a:pt x="14" y="16"/>
                      <a:pt x="11" y="25"/>
                      <a:pt x="9" y="34"/>
                    </a:cubicBezTo>
                    <a:cubicBezTo>
                      <a:pt x="6" y="44"/>
                      <a:pt x="4" y="53"/>
                      <a:pt x="3" y="59"/>
                    </a:cubicBezTo>
                    <a:cubicBezTo>
                      <a:pt x="1" y="65"/>
                      <a:pt x="0" y="69"/>
                      <a:pt x="0" y="6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5" name="任意多边形: 形状 924">
                <a:extLst>
                  <a:ext uri="{FF2B5EF4-FFF2-40B4-BE49-F238E27FC236}">
                    <a16:creationId xmlns:a16="http://schemas.microsoft.com/office/drawing/2014/main" id="{267227A7-7402-4B42-823A-09B2D48F8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5913" y="4348163"/>
                <a:ext cx="169863" cy="20638"/>
              </a:xfrm>
              <a:custGeom>
                <a:avLst/>
                <a:gdLst>
                  <a:gd name="T0" fmla="*/ 74 w 74"/>
                  <a:gd name="T1" fmla="*/ 8 h 9"/>
                  <a:gd name="T2" fmla="*/ 37 w 74"/>
                  <a:gd name="T3" fmla="*/ 5 h 9"/>
                  <a:gd name="T4" fmla="*/ 0 w 74"/>
                  <a:gd name="T5" fmla="*/ 0 h 9"/>
                  <a:gd name="T6" fmla="*/ 37 w 74"/>
                  <a:gd name="T7" fmla="*/ 3 h 9"/>
                  <a:gd name="T8" fmla="*/ 74 w 74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9">
                    <a:moveTo>
                      <a:pt x="74" y="8"/>
                    </a:moveTo>
                    <a:cubicBezTo>
                      <a:pt x="74" y="9"/>
                      <a:pt x="58" y="7"/>
                      <a:pt x="37" y="5"/>
                    </a:cubicBezTo>
                    <a:cubicBezTo>
                      <a:pt x="17" y="3"/>
                      <a:pt x="0" y="1"/>
                      <a:pt x="0" y="0"/>
                    </a:cubicBezTo>
                    <a:cubicBezTo>
                      <a:pt x="0" y="0"/>
                      <a:pt x="17" y="1"/>
                      <a:pt x="37" y="3"/>
                    </a:cubicBezTo>
                    <a:cubicBezTo>
                      <a:pt x="58" y="6"/>
                      <a:pt x="74" y="8"/>
                      <a:pt x="74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6" name="椭圆 925">
                <a:extLst>
                  <a:ext uri="{FF2B5EF4-FFF2-40B4-BE49-F238E27FC236}">
                    <a16:creationId xmlns:a16="http://schemas.microsoft.com/office/drawing/2014/main" id="{51E8C4FB-D3C5-414C-841C-DB5E28D1C9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8713" y="4829176"/>
                <a:ext cx="598488" cy="4763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7" name="椭圆 926">
                <a:extLst>
                  <a:ext uri="{FF2B5EF4-FFF2-40B4-BE49-F238E27FC236}">
                    <a16:creationId xmlns:a16="http://schemas.microsoft.com/office/drawing/2014/main" id="{9D05D638-0E21-45FE-AFBB-7701F6C134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71900" y="5000626"/>
                <a:ext cx="401638" cy="4763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1" name="椭圆 930">
                <a:extLst>
                  <a:ext uri="{FF2B5EF4-FFF2-40B4-BE49-F238E27FC236}">
                    <a16:creationId xmlns:a16="http://schemas.microsoft.com/office/drawing/2014/main" id="{42B4B79A-8BF6-4E2D-BA13-FBBA897772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73488" y="5026026"/>
                <a:ext cx="404813" cy="3175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2" name="椭圆 931">
                <a:extLst>
                  <a:ext uri="{FF2B5EF4-FFF2-40B4-BE49-F238E27FC236}">
                    <a16:creationId xmlns:a16="http://schemas.microsoft.com/office/drawing/2014/main" id="{AC597D04-03F4-4BE8-80A6-49BAFD3D3F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0788" y="4979988"/>
                <a:ext cx="417513" cy="4763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512149" y="2951599"/>
            <a:ext cx="5572087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518" name="组合 517">
            <a:extLst>
              <a:ext uri="{FF2B5EF4-FFF2-40B4-BE49-F238E27FC236}">
                <a16:creationId xmlns:a16="http://schemas.microsoft.com/office/drawing/2014/main" id="{8AACE642-EFB2-4551-9805-F451B41AB3A9}"/>
              </a:ext>
            </a:extLst>
          </p:cNvPr>
          <p:cNvGrpSpPr/>
          <p:nvPr userDrawn="1"/>
        </p:nvGrpSpPr>
        <p:grpSpPr>
          <a:xfrm flipH="1">
            <a:off x="669924" y="3288323"/>
            <a:ext cx="4272895" cy="2845777"/>
            <a:chOff x="3278188" y="1557338"/>
            <a:chExt cx="5613400" cy="3738563"/>
          </a:xfrm>
        </p:grpSpPr>
        <p:sp>
          <p:nvSpPr>
            <p:cNvPr id="519" name="矩形 518">
              <a:extLst>
                <a:ext uri="{FF2B5EF4-FFF2-40B4-BE49-F238E27FC236}">
                  <a16:creationId xmlns:a16="http://schemas.microsoft.com/office/drawing/2014/main" id="{022D6953-DA55-4183-A719-396C56DD92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0451" y="1733551"/>
              <a:ext cx="838200" cy="1216025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0" name="矩形 519">
              <a:extLst>
                <a:ext uri="{FF2B5EF4-FFF2-40B4-BE49-F238E27FC236}">
                  <a16:creationId xmlns:a16="http://schemas.microsoft.com/office/drawing/2014/main" id="{F007437F-56BA-4CED-80EF-6863A633DC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6001" y="1733551"/>
              <a:ext cx="839788" cy="1216025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1" name="矩形 520">
              <a:extLst>
                <a:ext uri="{FF2B5EF4-FFF2-40B4-BE49-F238E27FC236}">
                  <a16:creationId xmlns:a16="http://schemas.microsoft.com/office/drawing/2014/main" id="{18818245-6417-4945-8588-BFF562A003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2363" y="1866901"/>
              <a:ext cx="630238" cy="9509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2" name="任意多边形: 形状 521">
              <a:extLst>
                <a:ext uri="{FF2B5EF4-FFF2-40B4-BE49-F238E27FC236}">
                  <a16:creationId xmlns:a16="http://schemas.microsoft.com/office/drawing/2014/main" id="{7A5D8998-6BF9-4C77-B9DF-650014EA3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188" y="1863726"/>
              <a:ext cx="633413" cy="955675"/>
            </a:xfrm>
            <a:custGeom>
              <a:avLst/>
              <a:gdLst>
                <a:gd name="T0" fmla="*/ 277 w 277"/>
                <a:gd name="T1" fmla="*/ 417 h 418"/>
                <a:gd name="T2" fmla="*/ 277 w 277"/>
                <a:gd name="T3" fmla="*/ 415 h 418"/>
                <a:gd name="T4" fmla="*/ 276 w 277"/>
                <a:gd name="T5" fmla="*/ 409 h 418"/>
                <a:gd name="T6" fmla="*/ 276 w 277"/>
                <a:gd name="T7" fmla="*/ 387 h 418"/>
                <a:gd name="T8" fmla="*/ 276 w 277"/>
                <a:gd name="T9" fmla="*/ 301 h 418"/>
                <a:gd name="T10" fmla="*/ 276 w 277"/>
                <a:gd name="T11" fmla="*/ 1 h 418"/>
                <a:gd name="T12" fmla="*/ 277 w 277"/>
                <a:gd name="T13" fmla="*/ 2 h 418"/>
                <a:gd name="T14" fmla="*/ 1 w 277"/>
                <a:gd name="T15" fmla="*/ 2 h 418"/>
                <a:gd name="T16" fmla="*/ 1 w 277"/>
                <a:gd name="T17" fmla="*/ 2 h 418"/>
                <a:gd name="T18" fmla="*/ 2 w 277"/>
                <a:gd name="T19" fmla="*/ 1 h 418"/>
                <a:gd name="T20" fmla="*/ 2 w 277"/>
                <a:gd name="T21" fmla="*/ 417 h 418"/>
                <a:gd name="T22" fmla="*/ 1 w 277"/>
                <a:gd name="T23" fmla="*/ 417 h 418"/>
                <a:gd name="T24" fmla="*/ 202 w 277"/>
                <a:gd name="T25" fmla="*/ 417 h 418"/>
                <a:gd name="T26" fmla="*/ 257 w 277"/>
                <a:gd name="T27" fmla="*/ 417 h 418"/>
                <a:gd name="T28" fmla="*/ 272 w 277"/>
                <a:gd name="T29" fmla="*/ 417 h 418"/>
                <a:gd name="T30" fmla="*/ 277 w 277"/>
                <a:gd name="T31" fmla="*/ 417 h 418"/>
                <a:gd name="T32" fmla="*/ 272 w 277"/>
                <a:gd name="T33" fmla="*/ 418 h 418"/>
                <a:gd name="T34" fmla="*/ 257 w 277"/>
                <a:gd name="T35" fmla="*/ 418 h 418"/>
                <a:gd name="T36" fmla="*/ 202 w 277"/>
                <a:gd name="T37" fmla="*/ 418 h 418"/>
                <a:gd name="T38" fmla="*/ 1 w 277"/>
                <a:gd name="T39" fmla="*/ 418 h 418"/>
                <a:gd name="T40" fmla="*/ 0 w 277"/>
                <a:gd name="T41" fmla="*/ 418 h 418"/>
                <a:gd name="T42" fmla="*/ 0 w 277"/>
                <a:gd name="T43" fmla="*/ 417 h 418"/>
                <a:gd name="T44" fmla="*/ 0 w 277"/>
                <a:gd name="T45" fmla="*/ 1 h 418"/>
                <a:gd name="T46" fmla="*/ 0 w 277"/>
                <a:gd name="T47" fmla="*/ 0 h 418"/>
                <a:gd name="T48" fmla="*/ 1 w 277"/>
                <a:gd name="T49" fmla="*/ 0 h 418"/>
                <a:gd name="T50" fmla="*/ 1 w 277"/>
                <a:gd name="T51" fmla="*/ 0 h 418"/>
                <a:gd name="T52" fmla="*/ 277 w 277"/>
                <a:gd name="T53" fmla="*/ 0 h 418"/>
                <a:gd name="T54" fmla="*/ 277 w 277"/>
                <a:gd name="T55" fmla="*/ 0 h 418"/>
                <a:gd name="T56" fmla="*/ 277 w 277"/>
                <a:gd name="T57" fmla="*/ 1 h 418"/>
                <a:gd name="T58" fmla="*/ 277 w 277"/>
                <a:gd name="T59" fmla="*/ 301 h 418"/>
                <a:gd name="T60" fmla="*/ 277 w 277"/>
                <a:gd name="T61" fmla="*/ 387 h 418"/>
                <a:gd name="T62" fmla="*/ 277 w 277"/>
                <a:gd name="T63" fmla="*/ 410 h 418"/>
                <a:gd name="T64" fmla="*/ 277 w 277"/>
                <a:gd name="T65" fmla="*/ 416 h 418"/>
                <a:gd name="T66" fmla="*/ 277 w 277"/>
                <a:gd name="T67" fmla="*/ 417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7" h="418">
                  <a:moveTo>
                    <a:pt x="277" y="417"/>
                  </a:moveTo>
                  <a:cubicBezTo>
                    <a:pt x="277" y="417"/>
                    <a:pt x="277" y="417"/>
                    <a:pt x="277" y="415"/>
                  </a:cubicBezTo>
                  <a:cubicBezTo>
                    <a:pt x="276" y="414"/>
                    <a:pt x="276" y="412"/>
                    <a:pt x="276" y="409"/>
                  </a:cubicBezTo>
                  <a:cubicBezTo>
                    <a:pt x="276" y="404"/>
                    <a:pt x="276" y="397"/>
                    <a:pt x="276" y="387"/>
                  </a:cubicBezTo>
                  <a:cubicBezTo>
                    <a:pt x="276" y="367"/>
                    <a:pt x="276" y="338"/>
                    <a:pt x="276" y="301"/>
                  </a:cubicBezTo>
                  <a:cubicBezTo>
                    <a:pt x="276" y="227"/>
                    <a:pt x="276" y="123"/>
                    <a:pt x="276" y="1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192" y="2"/>
                    <a:pt x="99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58"/>
                    <a:pt x="2" y="303"/>
                    <a:pt x="2" y="417"/>
                  </a:cubicBezTo>
                  <a:cubicBezTo>
                    <a:pt x="1" y="417"/>
                    <a:pt x="1" y="417"/>
                    <a:pt x="1" y="417"/>
                  </a:cubicBezTo>
                  <a:cubicBezTo>
                    <a:pt x="85" y="417"/>
                    <a:pt x="154" y="417"/>
                    <a:pt x="202" y="417"/>
                  </a:cubicBezTo>
                  <a:cubicBezTo>
                    <a:pt x="225" y="417"/>
                    <a:pt x="244" y="417"/>
                    <a:pt x="257" y="417"/>
                  </a:cubicBezTo>
                  <a:cubicBezTo>
                    <a:pt x="263" y="417"/>
                    <a:pt x="268" y="417"/>
                    <a:pt x="272" y="417"/>
                  </a:cubicBezTo>
                  <a:cubicBezTo>
                    <a:pt x="275" y="417"/>
                    <a:pt x="277" y="417"/>
                    <a:pt x="277" y="417"/>
                  </a:cubicBezTo>
                  <a:cubicBezTo>
                    <a:pt x="277" y="417"/>
                    <a:pt x="275" y="418"/>
                    <a:pt x="272" y="418"/>
                  </a:cubicBezTo>
                  <a:cubicBezTo>
                    <a:pt x="268" y="418"/>
                    <a:pt x="264" y="418"/>
                    <a:pt x="257" y="418"/>
                  </a:cubicBezTo>
                  <a:cubicBezTo>
                    <a:pt x="245" y="418"/>
                    <a:pt x="226" y="418"/>
                    <a:pt x="202" y="418"/>
                  </a:cubicBezTo>
                  <a:cubicBezTo>
                    <a:pt x="154" y="418"/>
                    <a:pt x="85" y="418"/>
                    <a:pt x="1" y="418"/>
                  </a:cubicBezTo>
                  <a:cubicBezTo>
                    <a:pt x="0" y="418"/>
                    <a:pt x="0" y="418"/>
                    <a:pt x="0" y="418"/>
                  </a:cubicBezTo>
                  <a:cubicBezTo>
                    <a:pt x="0" y="417"/>
                    <a:pt x="0" y="417"/>
                    <a:pt x="0" y="417"/>
                  </a:cubicBezTo>
                  <a:cubicBezTo>
                    <a:pt x="0" y="303"/>
                    <a:pt x="0" y="158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99" y="0"/>
                    <a:pt x="192" y="0"/>
                    <a:pt x="277" y="0"/>
                  </a:cubicBezTo>
                  <a:cubicBezTo>
                    <a:pt x="277" y="0"/>
                    <a:pt x="277" y="0"/>
                    <a:pt x="277" y="0"/>
                  </a:cubicBezTo>
                  <a:cubicBezTo>
                    <a:pt x="277" y="1"/>
                    <a:pt x="277" y="1"/>
                    <a:pt x="277" y="1"/>
                  </a:cubicBezTo>
                  <a:cubicBezTo>
                    <a:pt x="277" y="124"/>
                    <a:pt x="277" y="228"/>
                    <a:pt x="277" y="301"/>
                  </a:cubicBezTo>
                  <a:cubicBezTo>
                    <a:pt x="277" y="338"/>
                    <a:pt x="277" y="367"/>
                    <a:pt x="277" y="387"/>
                  </a:cubicBezTo>
                  <a:cubicBezTo>
                    <a:pt x="277" y="397"/>
                    <a:pt x="277" y="405"/>
                    <a:pt x="277" y="410"/>
                  </a:cubicBezTo>
                  <a:cubicBezTo>
                    <a:pt x="277" y="412"/>
                    <a:pt x="277" y="414"/>
                    <a:pt x="277" y="416"/>
                  </a:cubicBezTo>
                  <a:cubicBezTo>
                    <a:pt x="277" y="417"/>
                    <a:pt x="277" y="417"/>
                    <a:pt x="277" y="417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3" name="任意多边形: 形状 522">
              <a:extLst>
                <a:ext uri="{FF2B5EF4-FFF2-40B4-BE49-F238E27FC236}">
                  <a16:creationId xmlns:a16="http://schemas.microsoft.com/office/drawing/2014/main" id="{F009DEA7-3DB7-4CE8-8B5F-04CF9D981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3076" y="1733551"/>
              <a:ext cx="114300" cy="139700"/>
            </a:xfrm>
            <a:custGeom>
              <a:avLst/>
              <a:gdLst>
                <a:gd name="T0" fmla="*/ 50 w 50"/>
                <a:gd name="T1" fmla="*/ 0 h 61"/>
                <a:gd name="T2" fmla="*/ 44 w 50"/>
                <a:gd name="T3" fmla="*/ 10 h 61"/>
                <a:gd name="T4" fmla="*/ 26 w 50"/>
                <a:gd name="T5" fmla="*/ 31 h 61"/>
                <a:gd name="T6" fmla="*/ 8 w 50"/>
                <a:gd name="T7" fmla="*/ 53 h 61"/>
                <a:gd name="T8" fmla="*/ 0 w 50"/>
                <a:gd name="T9" fmla="*/ 61 h 61"/>
                <a:gd name="T10" fmla="*/ 7 w 50"/>
                <a:gd name="T11" fmla="*/ 52 h 61"/>
                <a:gd name="T12" fmla="*/ 25 w 50"/>
                <a:gd name="T13" fmla="*/ 30 h 61"/>
                <a:gd name="T14" fmla="*/ 43 w 50"/>
                <a:gd name="T15" fmla="*/ 9 h 61"/>
                <a:gd name="T16" fmla="*/ 50 w 50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61">
                  <a:moveTo>
                    <a:pt x="50" y="0"/>
                  </a:moveTo>
                  <a:cubicBezTo>
                    <a:pt x="50" y="0"/>
                    <a:pt x="48" y="4"/>
                    <a:pt x="44" y="10"/>
                  </a:cubicBezTo>
                  <a:cubicBezTo>
                    <a:pt x="39" y="15"/>
                    <a:pt x="33" y="23"/>
                    <a:pt x="26" y="31"/>
                  </a:cubicBezTo>
                  <a:cubicBezTo>
                    <a:pt x="20" y="40"/>
                    <a:pt x="13" y="47"/>
                    <a:pt x="8" y="53"/>
                  </a:cubicBezTo>
                  <a:cubicBezTo>
                    <a:pt x="4" y="58"/>
                    <a:pt x="0" y="61"/>
                    <a:pt x="0" y="61"/>
                  </a:cubicBezTo>
                  <a:cubicBezTo>
                    <a:pt x="0" y="61"/>
                    <a:pt x="3" y="57"/>
                    <a:pt x="7" y="52"/>
                  </a:cubicBezTo>
                  <a:cubicBezTo>
                    <a:pt x="12" y="46"/>
                    <a:pt x="18" y="38"/>
                    <a:pt x="25" y="30"/>
                  </a:cubicBezTo>
                  <a:cubicBezTo>
                    <a:pt x="32" y="22"/>
                    <a:pt x="38" y="15"/>
                    <a:pt x="43" y="9"/>
                  </a:cubicBezTo>
                  <a:cubicBezTo>
                    <a:pt x="47" y="3"/>
                    <a:pt x="50" y="0"/>
                    <a:pt x="5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4" name="任意多边形: 形状 523">
              <a:extLst>
                <a:ext uri="{FF2B5EF4-FFF2-40B4-BE49-F238E27FC236}">
                  <a16:creationId xmlns:a16="http://schemas.microsoft.com/office/drawing/2014/main" id="{28875770-542B-417B-876C-462AA3EC7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776" y="2814638"/>
              <a:ext cx="109538" cy="138113"/>
            </a:xfrm>
            <a:custGeom>
              <a:avLst/>
              <a:gdLst>
                <a:gd name="T0" fmla="*/ 0 w 48"/>
                <a:gd name="T1" fmla="*/ 0 h 60"/>
                <a:gd name="T2" fmla="*/ 48 w 48"/>
                <a:gd name="T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8" h="60">
                  <a:moveTo>
                    <a:pt x="0" y="0"/>
                  </a:moveTo>
                  <a:cubicBezTo>
                    <a:pt x="14" y="22"/>
                    <a:pt x="30" y="42"/>
                    <a:pt x="48" y="6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5" name="任意多边形: 形状 524">
              <a:extLst>
                <a:ext uri="{FF2B5EF4-FFF2-40B4-BE49-F238E27FC236}">
                  <a16:creationId xmlns:a16="http://schemas.microsoft.com/office/drawing/2014/main" id="{B10C6C26-BA77-4275-B44A-00ECD41DEC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776" y="2814638"/>
              <a:ext cx="109538" cy="138113"/>
            </a:xfrm>
            <a:custGeom>
              <a:avLst/>
              <a:gdLst>
                <a:gd name="T0" fmla="*/ 48 w 48"/>
                <a:gd name="T1" fmla="*/ 60 h 60"/>
                <a:gd name="T2" fmla="*/ 40 w 48"/>
                <a:gd name="T3" fmla="*/ 53 h 60"/>
                <a:gd name="T4" fmla="*/ 22 w 48"/>
                <a:gd name="T5" fmla="*/ 32 h 60"/>
                <a:gd name="T6" fmla="*/ 6 w 48"/>
                <a:gd name="T7" fmla="*/ 10 h 60"/>
                <a:gd name="T8" fmla="*/ 0 w 48"/>
                <a:gd name="T9" fmla="*/ 0 h 60"/>
                <a:gd name="T10" fmla="*/ 7 w 48"/>
                <a:gd name="T11" fmla="*/ 9 h 60"/>
                <a:gd name="T12" fmla="*/ 23 w 48"/>
                <a:gd name="T13" fmla="*/ 31 h 60"/>
                <a:gd name="T14" fmla="*/ 41 w 48"/>
                <a:gd name="T15" fmla="*/ 52 h 60"/>
                <a:gd name="T16" fmla="*/ 48 w 48"/>
                <a:gd name="T1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60">
                  <a:moveTo>
                    <a:pt x="48" y="60"/>
                  </a:moveTo>
                  <a:cubicBezTo>
                    <a:pt x="48" y="60"/>
                    <a:pt x="45" y="58"/>
                    <a:pt x="40" y="53"/>
                  </a:cubicBezTo>
                  <a:cubicBezTo>
                    <a:pt x="35" y="48"/>
                    <a:pt x="28" y="41"/>
                    <a:pt x="22" y="32"/>
                  </a:cubicBezTo>
                  <a:cubicBezTo>
                    <a:pt x="15" y="24"/>
                    <a:pt x="9" y="16"/>
                    <a:pt x="6" y="10"/>
                  </a:cubicBezTo>
                  <a:cubicBezTo>
                    <a:pt x="2" y="4"/>
                    <a:pt x="0" y="0"/>
                    <a:pt x="0" y="0"/>
                  </a:cubicBezTo>
                  <a:cubicBezTo>
                    <a:pt x="0" y="0"/>
                    <a:pt x="3" y="3"/>
                    <a:pt x="7" y="9"/>
                  </a:cubicBezTo>
                  <a:cubicBezTo>
                    <a:pt x="11" y="15"/>
                    <a:pt x="16" y="23"/>
                    <a:pt x="23" y="31"/>
                  </a:cubicBezTo>
                  <a:cubicBezTo>
                    <a:pt x="30" y="39"/>
                    <a:pt x="36" y="46"/>
                    <a:pt x="41" y="52"/>
                  </a:cubicBezTo>
                  <a:cubicBezTo>
                    <a:pt x="45" y="57"/>
                    <a:pt x="48" y="60"/>
                    <a:pt x="48" y="6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6" name="任意多边形: 形状 525">
              <a:extLst>
                <a:ext uri="{FF2B5EF4-FFF2-40B4-BE49-F238E27FC236}">
                  <a16:creationId xmlns:a16="http://schemas.microsoft.com/office/drawing/2014/main" id="{D208CCC8-90FB-45A0-9097-34DAB0A67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6001" y="2813051"/>
              <a:ext cx="109538" cy="136525"/>
            </a:xfrm>
            <a:custGeom>
              <a:avLst/>
              <a:gdLst>
                <a:gd name="T0" fmla="*/ 0 w 48"/>
                <a:gd name="T1" fmla="*/ 60 h 60"/>
                <a:gd name="T2" fmla="*/ 48 w 48"/>
                <a:gd name="T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8" h="60">
                  <a:moveTo>
                    <a:pt x="0" y="60"/>
                  </a:moveTo>
                  <a:cubicBezTo>
                    <a:pt x="16" y="40"/>
                    <a:pt x="32" y="20"/>
                    <a:pt x="4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7" name="任意多边形: 形状 526">
              <a:extLst>
                <a:ext uri="{FF2B5EF4-FFF2-40B4-BE49-F238E27FC236}">
                  <a16:creationId xmlns:a16="http://schemas.microsoft.com/office/drawing/2014/main" id="{455D1A49-24CB-4572-9ED8-0789D7D18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6001" y="2813051"/>
              <a:ext cx="112713" cy="136525"/>
            </a:xfrm>
            <a:custGeom>
              <a:avLst/>
              <a:gdLst>
                <a:gd name="T0" fmla="*/ 48 w 49"/>
                <a:gd name="T1" fmla="*/ 0 h 60"/>
                <a:gd name="T2" fmla="*/ 25 w 49"/>
                <a:gd name="T3" fmla="*/ 31 h 60"/>
                <a:gd name="T4" fmla="*/ 0 w 49"/>
                <a:gd name="T5" fmla="*/ 60 h 60"/>
                <a:gd name="T6" fmla="*/ 23 w 49"/>
                <a:gd name="T7" fmla="*/ 29 h 60"/>
                <a:gd name="T8" fmla="*/ 48 w 49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0">
                  <a:moveTo>
                    <a:pt x="48" y="0"/>
                  </a:moveTo>
                  <a:cubicBezTo>
                    <a:pt x="49" y="1"/>
                    <a:pt x="38" y="14"/>
                    <a:pt x="25" y="31"/>
                  </a:cubicBezTo>
                  <a:cubicBezTo>
                    <a:pt x="12" y="47"/>
                    <a:pt x="1" y="60"/>
                    <a:pt x="0" y="60"/>
                  </a:cubicBezTo>
                  <a:cubicBezTo>
                    <a:pt x="0" y="59"/>
                    <a:pt x="10" y="46"/>
                    <a:pt x="23" y="29"/>
                  </a:cubicBezTo>
                  <a:cubicBezTo>
                    <a:pt x="37" y="13"/>
                    <a:pt x="48" y="0"/>
                    <a:pt x="4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8" name="任意多边形: 形状 527">
              <a:extLst>
                <a:ext uri="{FF2B5EF4-FFF2-40B4-BE49-F238E27FC236}">
                  <a16:creationId xmlns:a16="http://schemas.microsoft.com/office/drawing/2014/main" id="{CD139C9A-192D-4D3B-88A1-34530381A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6001" y="1733551"/>
              <a:ext cx="106363" cy="133350"/>
            </a:xfrm>
            <a:custGeom>
              <a:avLst/>
              <a:gdLst>
                <a:gd name="T0" fmla="*/ 0 w 46"/>
                <a:gd name="T1" fmla="*/ 0 h 58"/>
                <a:gd name="T2" fmla="*/ 24 w 46"/>
                <a:gd name="T3" fmla="*/ 28 h 58"/>
                <a:gd name="T4" fmla="*/ 45 w 46"/>
                <a:gd name="T5" fmla="*/ 57 h 58"/>
                <a:gd name="T6" fmla="*/ 22 w 46"/>
                <a:gd name="T7" fmla="*/ 29 h 58"/>
                <a:gd name="T8" fmla="*/ 0 w 46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58">
                  <a:moveTo>
                    <a:pt x="0" y="0"/>
                  </a:moveTo>
                  <a:cubicBezTo>
                    <a:pt x="1" y="0"/>
                    <a:pt x="11" y="12"/>
                    <a:pt x="24" y="28"/>
                  </a:cubicBezTo>
                  <a:cubicBezTo>
                    <a:pt x="36" y="44"/>
                    <a:pt x="46" y="57"/>
                    <a:pt x="45" y="57"/>
                  </a:cubicBezTo>
                  <a:cubicBezTo>
                    <a:pt x="45" y="58"/>
                    <a:pt x="34" y="45"/>
                    <a:pt x="22" y="29"/>
                  </a:cubicBezTo>
                  <a:cubicBezTo>
                    <a:pt x="9" y="1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9" name="矩形 528">
              <a:extLst>
                <a:ext uri="{FF2B5EF4-FFF2-40B4-BE49-F238E27FC236}">
                  <a16:creationId xmlns:a16="http://schemas.microsoft.com/office/drawing/2014/main" id="{E9DB644D-9C95-43D6-B0F2-22480C2F1D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3026" y="2058988"/>
              <a:ext cx="212725" cy="600075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0" name="任意多边形: 形状 529">
              <a:extLst>
                <a:ext uri="{FF2B5EF4-FFF2-40B4-BE49-F238E27FC236}">
                  <a16:creationId xmlns:a16="http://schemas.microsoft.com/office/drawing/2014/main" id="{56545A9E-EE14-40CA-8F76-743C1112C7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8376" y="1557338"/>
              <a:ext cx="790575" cy="533400"/>
            </a:xfrm>
            <a:custGeom>
              <a:avLst/>
              <a:gdLst>
                <a:gd name="T0" fmla="*/ 498 w 498"/>
                <a:gd name="T1" fmla="*/ 0 h 336"/>
                <a:gd name="T2" fmla="*/ 498 w 498"/>
                <a:gd name="T3" fmla="*/ 336 h 336"/>
                <a:gd name="T4" fmla="*/ 17 w 498"/>
                <a:gd name="T5" fmla="*/ 336 h 336"/>
                <a:gd name="T6" fmla="*/ 0 w 498"/>
                <a:gd name="T7" fmla="*/ 2 h 336"/>
                <a:gd name="T8" fmla="*/ 498 w 498"/>
                <a:gd name="T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8" h="336">
                  <a:moveTo>
                    <a:pt x="498" y="0"/>
                  </a:moveTo>
                  <a:lnTo>
                    <a:pt x="498" y="336"/>
                  </a:lnTo>
                  <a:lnTo>
                    <a:pt x="17" y="336"/>
                  </a:lnTo>
                  <a:lnTo>
                    <a:pt x="0" y="2"/>
                  </a:lnTo>
                  <a:lnTo>
                    <a:pt x="498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1" name="矩形 530">
              <a:extLst>
                <a:ext uri="{FF2B5EF4-FFF2-40B4-BE49-F238E27FC236}">
                  <a16:creationId xmlns:a16="http://schemas.microsoft.com/office/drawing/2014/main" id="{64EB0A2B-E805-4872-B68D-C25A699A40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8376" y="1560513"/>
              <a:ext cx="763588" cy="527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2" name="任意多边形: 形状 531">
              <a:extLst>
                <a:ext uri="{FF2B5EF4-FFF2-40B4-BE49-F238E27FC236}">
                  <a16:creationId xmlns:a16="http://schemas.microsoft.com/office/drawing/2014/main" id="{B00C28BA-13DF-40C5-9C23-1879BC612E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3613" y="1557338"/>
              <a:ext cx="773113" cy="534988"/>
            </a:xfrm>
            <a:custGeom>
              <a:avLst/>
              <a:gdLst>
                <a:gd name="T0" fmla="*/ 487 w 487"/>
                <a:gd name="T1" fmla="*/ 337 h 337"/>
                <a:gd name="T2" fmla="*/ 0 w 487"/>
                <a:gd name="T3" fmla="*/ 337 h 337"/>
                <a:gd name="T4" fmla="*/ 0 w 487"/>
                <a:gd name="T5" fmla="*/ 0 h 337"/>
                <a:gd name="T6" fmla="*/ 487 w 487"/>
                <a:gd name="T7" fmla="*/ 0 h 337"/>
                <a:gd name="T8" fmla="*/ 487 w 487"/>
                <a:gd name="T9" fmla="*/ 337 h 337"/>
                <a:gd name="T10" fmla="*/ 4 w 487"/>
                <a:gd name="T11" fmla="*/ 332 h 337"/>
                <a:gd name="T12" fmla="*/ 482 w 487"/>
                <a:gd name="T13" fmla="*/ 332 h 337"/>
                <a:gd name="T14" fmla="*/ 482 w 487"/>
                <a:gd name="T15" fmla="*/ 5 h 337"/>
                <a:gd name="T16" fmla="*/ 4 w 487"/>
                <a:gd name="T17" fmla="*/ 5 h 337"/>
                <a:gd name="T18" fmla="*/ 4 w 487"/>
                <a:gd name="T19" fmla="*/ 332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7" h="337">
                  <a:moveTo>
                    <a:pt x="487" y="337"/>
                  </a:moveTo>
                  <a:lnTo>
                    <a:pt x="0" y="337"/>
                  </a:lnTo>
                  <a:lnTo>
                    <a:pt x="0" y="0"/>
                  </a:lnTo>
                  <a:lnTo>
                    <a:pt x="487" y="0"/>
                  </a:lnTo>
                  <a:lnTo>
                    <a:pt x="487" y="337"/>
                  </a:lnTo>
                  <a:close/>
                  <a:moveTo>
                    <a:pt x="4" y="332"/>
                  </a:moveTo>
                  <a:lnTo>
                    <a:pt x="482" y="332"/>
                  </a:lnTo>
                  <a:lnTo>
                    <a:pt x="482" y="5"/>
                  </a:lnTo>
                  <a:lnTo>
                    <a:pt x="4" y="5"/>
                  </a:lnTo>
                  <a:lnTo>
                    <a:pt x="4" y="332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3" name="矩形 532">
              <a:extLst>
                <a:ext uri="{FF2B5EF4-FFF2-40B4-BE49-F238E27FC236}">
                  <a16:creationId xmlns:a16="http://schemas.microsoft.com/office/drawing/2014/main" id="{00BA3443-6689-43EF-BDB2-28759CD800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9338" y="1627188"/>
              <a:ext cx="600075" cy="395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4" name="任意多边形: 形状 533">
              <a:extLst>
                <a:ext uri="{FF2B5EF4-FFF2-40B4-BE49-F238E27FC236}">
                  <a16:creationId xmlns:a16="http://schemas.microsoft.com/office/drawing/2014/main" id="{062A6732-D658-4278-93E7-F977DAFF8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7751" y="1624013"/>
              <a:ext cx="603250" cy="400050"/>
            </a:xfrm>
            <a:custGeom>
              <a:avLst/>
              <a:gdLst>
                <a:gd name="T0" fmla="*/ 263 w 264"/>
                <a:gd name="T1" fmla="*/ 1 h 175"/>
                <a:gd name="T2" fmla="*/ 262 w 264"/>
                <a:gd name="T3" fmla="*/ 1 h 175"/>
                <a:gd name="T4" fmla="*/ 258 w 264"/>
                <a:gd name="T5" fmla="*/ 1 h 175"/>
                <a:gd name="T6" fmla="*/ 244 w 264"/>
                <a:gd name="T7" fmla="*/ 1 h 175"/>
                <a:gd name="T8" fmla="*/ 190 w 264"/>
                <a:gd name="T9" fmla="*/ 1 h 175"/>
                <a:gd name="T10" fmla="*/ 1 w 264"/>
                <a:gd name="T11" fmla="*/ 2 h 175"/>
                <a:gd name="T12" fmla="*/ 2 w 264"/>
                <a:gd name="T13" fmla="*/ 1 h 175"/>
                <a:gd name="T14" fmla="*/ 2 w 264"/>
                <a:gd name="T15" fmla="*/ 174 h 175"/>
                <a:gd name="T16" fmla="*/ 2 w 264"/>
                <a:gd name="T17" fmla="*/ 174 h 175"/>
                <a:gd name="T18" fmla="*/ 1 w 264"/>
                <a:gd name="T19" fmla="*/ 174 h 175"/>
                <a:gd name="T20" fmla="*/ 263 w 264"/>
                <a:gd name="T21" fmla="*/ 174 h 175"/>
                <a:gd name="T22" fmla="*/ 262 w 264"/>
                <a:gd name="T23" fmla="*/ 174 h 175"/>
                <a:gd name="T24" fmla="*/ 263 w 264"/>
                <a:gd name="T25" fmla="*/ 48 h 175"/>
                <a:gd name="T26" fmla="*/ 263 w 264"/>
                <a:gd name="T27" fmla="*/ 13 h 175"/>
                <a:gd name="T28" fmla="*/ 263 w 264"/>
                <a:gd name="T29" fmla="*/ 4 h 175"/>
                <a:gd name="T30" fmla="*/ 263 w 264"/>
                <a:gd name="T31" fmla="*/ 1 h 175"/>
                <a:gd name="T32" fmla="*/ 263 w 264"/>
                <a:gd name="T33" fmla="*/ 4 h 175"/>
                <a:gd name="T34" fmla="*/ 263 w 264"/>
                <a:gd name="T35" fmla="*/ 13 h 175"/>
                <a:gd name="T36" fmla="*/ 263 w 264"/>
                <a:gd name="T37" fmla="*/ 48 h 175"/>
                <a:gd name="T38" fmla="*/ 264 w 264"/>
                <a:gd name="T39" fmla="*/ 174 h 175"/>
                <a:gd name="T40" fmla="*/ 264 w 264"/>
                <a:gd name="T41" fmla="*/ 175 h 175"/>
                <a:gd name="T42" fmla="*/ 263 w 264"/>
                <a:gd name="T43" fmla="*/ 175 h 175"/>
                <a:gd name="T44" fmla="*/ 1 w 264"/>
                <a:gd name="T45" fmla="*/ 175 h 175"/>
                <a:gd name="T46" fmla="*/ 0 w 264"/>
                <a:gd name="T47" fmla="*/ 175 h 175"/>
                <a:gd name="T48" fmla="*/ 0 w 264"/>
                <a:gd name="T49" fmla="*/ 174 h 175"/>
                <a:gd name="T50" fmla="*/ 0 w 264"/>
                <a:gd name="T51" fmla="*/ 174 h 175"/>
                <a:gd name="T52" fmla="*/ 0 w 264"/>
                <a:gd name="T53" fmla="*/ 1 h 175"/>
                <a:gd name="T54" fmla="*/ 0 w 264"/>
                <a:gd name="T55" fmla="*/ 0 h 175"/>
                <a:gd name="T56" fmla="*/ 1 w 264"/>
                <a:gd name="T57" fmla="*/ 0 h 175"/>
                <a:gd name="T58" fmla="*/ 190 w 264"/>
                <a:gd name="T59" fmla="*/ 1 h 175"/>
                <a:gd name="T60" fmla="*/ 244 w 264"/>
                <a:gd name="T61" fmla="*/ 1 h 175"/>
                <a:gd name="T62" fmla="*/ 258 w 264"/>
                <a:gd name="T63" fmla="*/ 1 h 175"/>
                <a:gd name="T64" fmla="*/ 262 w 264"/>
                <a:gd name="T65" fmla="*/ 1 h 175"/>
                <a:gd name="T66" fmla="*/ 263 w 264"/>
                <a:gd name="T67" fmla="*/ 1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64" h="175">
                  <a:moveTo>
                    <a:pt x="263" y="1"/>
                  </a:moveTo>
                  <a:cubicBezTo>
                    <a:pt x="263" y="1"/>
                    <a:pt x="263" y="1"/>
                    <a:pt x="262" y="1"/>
                  </a:cubicBezTo>
                  <a:cubicBezTo>
                    <a:pt x="261" y="1"/>
                    <a:pt x="260" y="1"/>
                    <a:pt x="258" y="1"/>
                  </a:cubicBezTo>
                  <a:cubicBezTo>
                    <a:pt x="255" y="1"/>
                    <a:pt x="250" y="1"/>
                    <a:pt x="244" y="1"/>
                  </a:cubicBezTo>
                  <a:cubicBezTo>
                    <a:pt x="231" y="1"/>
                    <a:pt x="213" y="1"/>
                    <a:pt x="190" y="1"/>
                  </a:cubicBezTo>
                  <a:cubicBezTo>
                    <a:pt x="143" y="1"/>
                    <a:pt x="78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54"/>
                    <a:pt x="2" y="113"/>
                    <a:pt x="2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1" y="174"/>
                    <a:pt x="1" y="174"/>
                    <a:pt x="1" y="174"/>
                  </a:cubicBezTo>
                  <a:cubicBezTo>
                    <a:pt x="100" y="174"/>
                    <a:pt x="191" y="174"/>
                    <a:pt x="263" y="174"/>
                  </a:cubicBezTo>
                  <a:cubicBezTo>
                    <a:pt x="262" y="174"/>
                    <a:pt x="262" y="174"/>
                    <a:pt x="262" y="174"/>
                  </a:cubicBezTo>
                  <a:cubicBezTo>
                    <a:pt x="262" y="122"/>
                    <a:pt x="263" y="78"/>
                    <a:pt x="263" y="48"/>
                  </a:cubicBezTo>
                  <a:cubicBezTo>
                    <a:pt x="263" y="33"/>
                    <a:pt x="263" y="21"/>
                    <a:pt x="263" y="13"/>
                  </a:cubicBezTo>
                  <a:cubicBezTo>
                    <a:pt x="263" y="9"/>
                    <a:pt x="263" y="6"/>
                    <a:pt x="263" y="4"/>
                  </a:cubicBezTo>
                  <a:cubicBezTo>
                    <a:pt x="263" y="2"/>
                    <a:pt x="263" y="1"/>
                    <a:pt x="263" y="1"/>
                  </a:cubicBezTo>
                  <a:cubicBezTo>
                    <a:pt x="263" y="1"/>
                    <a:pt x="263" y="2"/>
                    <a:pt x="263" y="4"/>
                  </a:cubicBezTo>
                  <a:cubicBezTo>
                    <a:pt x="263" y="6"/>
                    <a:pt x="263" y="9"/>
                    <a:pt x="263" y="13"/>
                  </a:cubicBezTo>
                  <a:cubicBezTo>
                    <a:pt x="263" y="21"/>
                    <a:pt x="263" y="33"/>
                    <a:pt x="263" y="48"/>
                  </a:cubicBezTo>
                  <a:cubicBezTo>
                    <a:pt x="263" y="78"/>
                    <a:pt x="264" y="121"/>
                    <a:pt x="264" y="174"/>
                  </a:cubicBezTo>
                  <a:cubicBezTo>
                    <a:pt x="264" y="175"/>
                    <a:pt x="264" y="175"/>
                    <a:pt x="264" y="175"/>
                  </a:cubicBezTo>
                  <a:cubicBezTo>
                    <a:pt x="263" y="175"/>
                    <a:pt x="263" y="175"/>
                    <a:pt x="263" y="175"/>
                  </a:cubicBezTo>
                  <a:cubicBezTo>
                    <a:pt x="191" y="175"/>
                    <a:pt x="100" y="175"/>
                    <a:pt x="1" y="175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13"/>
                    <a:pt x="0" y="5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78" y="0"/>
                    <a:pt x="144" y="0"/>
                    <a:pt x="190" y="1"/>
                  </a:cubicBezTo>
                  <a:cubicBezTo>
                    <a:pt x="213" y="1"/>
                    <a:pt x="231" y="1"/>
                    <a:pt x="244" y="1"/>
                  </a:cubicBezTo>
                  <a:cubicBezTo>
                    <a:pt x="250" y="1"/>
                    <a:pt x="255" y="1"/>
                    <a:pt x="258" y="1"/>
                  </a:cubicBezTo>
                  <a:cubicBezTo>
                    <a:pt x="260" y="1"/>
                    <a:pt x="261" y="1"/>
                    <a:pt x="262" y="1"/>
                  </a:cubicBezTo>
                  <a:cubicBezTo>
                    <a:pt x="263" y="1"/>
                    <a:pt x="263" y="1"/>
                    <a:pt x="263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5" name="任意多边形: 形状 534">
              <a:extLst>
                <a:ext uri="{FF2B5EF4-FFF2-40B4-BE49-F238E27FC236}">
                  <a16:creationId xmlns:a16="http://schemas.microsoft.com/office/drawing/2014/main" id="{CC8AE65C-A206-479F-9EB1-EA9DB1E9B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5201" y="1557338"/>
              <a:ext cx="84138" cy="69850"/>
            </a:xfrm>
            <a:custGeom>
              <a:avLst/>
              <a:gdLst>
                <a:gd name="T0" fmla="*/ 1 w 37"/>
                <a:gd name="T1" fmla="*/ 1 h 30"/>
                <a:gd name="T2" fmla="*/ 6 w 37"/>
                <a:gd name="T3" fmla="*/ 4 h 30"/>
                <a:gd name="T4" fmla="*/ 20 w 37"/>
                <a:gd name="T5" fmla="*/ 14 h 30"/>
                <a:gd name="T6" fmla="*/ 32 w 37"/>
                <a:gd name="T7" fmla="*/ 25 h 30"/>
                <a:gd name="T8" fmla="*/ 37 w 37"/>
                <a:gd name="T9" fmla="*/ 30 h 30"/>
                <a:gd name="T10" fmla="*/ 19 w 37"/>
                <a:gd name="T11" fmla="*/ 16 h 30"/>
                <a:gd name="T12" fmla="*/ 1 w 37"/>
                <a:gd name="T13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0">
                  <a:moveTo>
                    <a:pt x="1" y="1"/>
                  </a:moveTo>
                  <a:cubicBezTo>
                    <a:pt x="1" y="0"/>
                    <a:pt x="3" y="2"/>
                    <a:pt x="6" y="4"/>
                  </a:cubicBezTo>
                  <a:cubicBezTo>
                    <a:pt x="10" y="7"/>
                    <a:pt x="15" y="10"/>
                    <a:pt x="20" y="14"/>
                  </a:cubicBezTo>
                  <a:cubicBezTo>
                    <a:pt x="25" y="18"/>
                    <a:pt x="29" y="22"/>
                    <a:pt x="32" y="25"/>
                  </a:cubicBezTo>
                  <a:cubicBezTo>
                    <a:pt x="35" y="28"/>
                    <a:pt x="37" y="30"/>
                    <a:pt x="37" y="30"/>
                  </a:cubicBezTo>
                  <a:cubicBezTo>
                    <a:pt x="37" y="30"/>
                    <a:pt x="29" y="24"/>
                    <a:pt x="19" y="16"/>
                  </a:cubicBezTo>
                  <a:cubicBezTo>
                    <a:pt x="8" y="8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6" name="任意多边形: 形状 535">
              <a:extLst>
                <a:ext uri="{FF2B5EF4-FFF2-40B4-BE49-F238E27FC236}">
                  <a16:creationId xmlns:a16="http://schemas.microsoft.com/office/drawing/2014/main" id="{898B7829-89FA-444E-9062-B8CCA89B9B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9413" y="1560513"/>
              <a:ext cx="84138" cy="66675"/>
            </a:xfrm>
            <a:custGeom>
              <a:avLst/>
              <a:gdLst>
                <a:gd name="T0" fmla="*/ 36 w 37"/>
                <a:gd name="T1" fmla="*/ 0 h 29"/>
                <a:gd name="T2" fmla="*/ 19 w 37"/>
                <a:gd name="T3" fmla="*/ 15 h 29"/>
                <a:gd name="T4" fmla="*/ 0 w 37"/>
                <a:gd name="T5" fmla="*/ 29 h 29"/>
                <a:gd name="T6" fmla="*/ 18 w 37"/>
                <a:gd name="T7" fmla="*/ 14 h 29"/>
                <a:gd name="T8" fmla="*/ 36 w 37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9">
                  <a:moveTo>
                    <a:pt x="36" y="0"/>
                  </a:moveTo>
                  <a:cubicBezTo>
                    <a:pt x="37" y="1"/>
                    <a:pt x="29" y="7"/>
                    <a:pt x="19" y="15"/>
                  </a:cubicBezTo>
                  <a:cubicBezTo>
                    <a:pt x="9" y="23"/>
                    <a:pt x="0" y="29"/>
                    <a:pt x="0" y="29"/>
                  </a:cubicBezTo>
                  <a:cubicBezTo>
                    <a:pt x="0" y="29"/>
                    <a:pt x="8" y="22"/>
                    <a:pt x="18" y="14"/>
                  </a:cubicBezTo>
                  <a:cubicBezTo>
                    <a:pt x="28" y="6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7" name="任意多边形: 形状 536">
              <a:extLst>
                <a:ext uri="{FF2B5EF4-FFF2-40B4-BE49-F238E27FC236}">
                  <a16:creationId xmlns:a16="http://schemas.microsoft.com/office/drawing/2014/main" id="{7E56C1A9-998F-4914-ADC6-783438492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6238" y="2019301"/>
              <a:ext cx="85725" cy="68263"/>
            </a:xfrm>
            <a:custGeom>
              <a:avLst/>
              <a:gdLst>
                <a:gd name="T0" fmla="*/ 37 w 37"/>
                <a:gd name="T1" fmla="*/ 30 h 30"/>
                <a:gd name="T2" fmla="*/ 0 w 37"/>
                <a:gd name="T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7" h="30">
                  <a:moveTo>
                    <a:pt x="37" y="30"/>
                  </a:moveTo>
                  <a:cubicBezTo>
                    <a:pt x="25" y="20"/>
                    <a:pt x="12" y="1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8" name="任意多边形: 形状 537">
              <a:extLst>
                <a:ext uri="{FF2B5EF4-FFF2-40B4-BE49-F238E27FC236}">
                  <a16:creationId xmlns:a16="http://schemas.microsoft.com/office/drawing/2014/main" id="{91AAD516-B883-4786-8AB8-248176B3F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4651" y="2019301"/>
              <a:ext cx="87313" cy="68263"/>
            </a:xfrm>
            <a:custGeom>
              <a:avLst/>
              <a:gdLst>
                <a:gd name="T0" fmla="*/ 1 w 38"/>
                <a:gd name="T1" fmla="*/ 0 h 30"/>
                <a:gd name="T2" fmla="*/ 20 w 38"/>
                <a:gd name="T3" fmla="*/ 14 h 30"/>
                <a:gd name="T4" fmla="*/ 38 w 38"/>
                <a:gd name="T5" fmla="*/ 30 h 30"/>
                <a:gd name="T6" fmla="*/ 19 w 38"/>
                <a:gd name="T7" fmla="*/ 16 h 30"/>
                <a:gd name="T8" fmla="*/ 1 w 38"/>
                <a:gd name="T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0">
                  <a:moveTo>
                    <a:pt x="1" y="0"/>
                  </a:moveTo>
                  <a:cubicBezTo>
                    <a:pt x="1" y="0"/>
                    <a:pt x="10" y="6"/>
                    <a:pt x="20" y="14"/>
                  </a:cubicBezTo>
                  <a:cubicBezTo>
                    <a:pt x="30" y="23"/>
                    <a:pt x="38" y="30"/>
                    <a:pt x="38" y="30"/>
                  </a:cubicBezTo>
                  <a:cubicBezTo>
                    <a:pt x="38" y="30"/>
                    <a:pt x="29" y="24"/>
                    <a:pt x="19" y="16"/>
                  </a:cubicBezTo>
                  <a:cubicBezTo>
                    <a:pt x="8" y="7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9" name="任意多边形: 形状 538">
              <a:extLst>
                <a:ext uri="{FF2B5EF4-FFF2-40B4-BE49-F238E27FC236}">
                  <a16:creationId xmlns:a16="http://schemas.microsoft.com/office/drawing/2014/main" id="{6C263054-999F-4F9F-B1D5-80614E91E3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5201" y="2022476"/>
              <a:ext cx="84138" cy="65088"/>
            </a:xfrm>
            <a:custGeom>
              <a:avLst/>
              <a:gdLst>
                <a:gd name="T0" fmla="*/ 1 w 37"/>
                <a:gd name="T1" fmla="*/ 29 h 29"/>
                <a:gd name="T2" fmla="*/ 18 w 37"/>
                <a:gd name="T3" fmla="*/ 14 h 29"/>
                <a:gd name="T4" fmla="*/ 37 w 37"/>
                <a:gd name="T5" fmla="*/ 1 h 29"/>
                <a:gd name="T6" fmla="*/ 19 w 37"/>
                <a:gd name="T7" fmla="*/ 16 h 29"/>
                <a:gd name="T8" fmla="*/ 1 w 37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9">
                  <a:moveTo>
                    <a:pt x="1" y="29"/>
                  </a:moveTo>
                  <a:cubicBezTo>
                    <a:pt x="0" y="29"/>
                    <a:pt x="8" y="22"/>
                    <a:pt x="18" y="14"/>
                  </a:cubicBezTo>
                  <a:cubicBezTo>
                    <a:pt x="28" y="6"/>
                    <a:pt x="36" y="0"/>
                    <a:pt x="37" y="1"/>
                  </a:cubicBezTo>
                  <a:cubicBezTo>
                    <a:pt x="37" y="1"/>
                    <a:pt x="29" y="8"/>
                    <a:pt x="19" y="16"/>
                  </a:cubicBezTo>
                  <a:cubicBezTo>
                    <a:pt x="9" y="23"/>
                    <a:pt x="1" y="29"/>
                    <a:pt x="1" y="29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0" name="矩形 539">
              <a:extLst>
                <a:ext uri="{FF2B5EF4-FFF2-40B4-BE49-F238E27FC236}">
                  <a16:creationId xmlns:a16="http://schemas.microsoft.com/office/drawing/2014/main" id="{D3B0178F-12EC-4C55-A06B-4D2F38376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576" y="1749426"/>
              <a:ext cx="376238" cy="133350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1" name="任意多边形: 形状 540">
              <a:extLst>
                <a:ext uri="{FF2B5EF4-FFF2-40B4-BE49-F238E27FC236}">
                  <a16:creationId xmlns:a16="http://schemas.microsoft.com/office/drawing/2014/main" id="{31D58882-ACFC-433D-9D68-388FCB8B4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9576" y="3910013"/>
              <a:ext cx="742950" cy="1319213"/>
            </a:xfrm>
            <a:custGeom>
              <a:avLst/>
              <a:gdLst>
                <a:gd name="T0" fmla="*/ 287 w 325"/>
                <a:gd name="T1" fmla="*/ 14 h 577"/>
                <a:gd name="T2" fmla="*/ 234 w 325"/>
                <a:gd name="T3" fmla="*/ 71 h 577"/>
                <a:gd name="T4" fmla="*/ 203 w 325"/>
                <a:gd name="T5" fmla="*/ 181 h 577"/>
                <a:gd name="T6" fmla="*/ 186 w 325"/>
                <a:gd name="T7" fmla="*/ 188 h 577"/>
                <a:gd name="T8" fmla="*/ 143 w 325"/>
                <a:gd name="T9" fmla="*/ 164 h 577"/>
                <a:gd name="T10" fmla="*/ 132 w 325"/>
                <a:gd name="T11" fmla="*/ 218 h 577"/>
                <a:gd name="T12" fmla="*/ 154 w 325"/>
                <a:gd name="T13" fmla="*/ 309 h 577"/>
                <a:gd name="T14" fmla="*/ 145 w 325"/>
                <a:gd name="T15" fmla="*/ 318 h 577"/>
                <a:gd name="T16" fmla="*/ 69 w 325"/>
                <a:gd name="T17" fmla="*/ 298 h 577"/>
                <a:gd name="T18" fmla="*/ 87 w 325"/>
                <a:gd name="T19" fmla="*/ 402 h 577"/>
                <a:gd name="T20" fmla="*/ 86 w 325"/>
                <a:gd name="T21" fmla="*/ 416 h 577"/>
                <a:gd name="T22" fmla="*/ 52 w 325"/>
                <a:gd name="T23" fmla="*/ 392 h 577"/>
                <a:gd name="T24" fmla="*/ 9 w 325"/>
                <a:gd name="T25" fmla="*/ 386 h 577"/>
                <a:gd name="T26" fmla="*/ 72 w 325"/>
                <a:gd name="T27" fmla="*/ 540 h 577"/>
                <a:gd name="T28" fmla="*/ 105 w 325"/>
                <a:gd name="T29" fmla="*/ 577 h 577"/>
                <a:gd name="T30" fmla="*/ 153 w 325"/>
                <a:gd name="T31" fmla="*/ 567 h 577"/>
                <a:gd name="T32" fmla="*/ 294 w 325"/>
                <a:gd name="T33" fmla="*/ 478 h 577"/>
                <a:gd name="T34" fmla="*/ 256 w 325"/>
                <a:gd name="T35" fmla="*/ 458 h 577"/>
                <a:gd name="T36" fmla="*/ 215 w 325"/>
                <a:gd name="T37" fmla="*/ 458 h 577"/>
                <a:gd name="T38" fmla="*/ 222 w 325"/>
                <a:gd name="T39" fmla="*/ 446 h 577"/>
                <a:gd name="T40" fmla="*/ 298 w 325"/>
                <a:gd name="T41" fmla="*/ 372 h 577"/>
                <a:gd name="T42" fmla="*/ 224 w 325"/>
                <a:gd name="T43" fmla="*/ 344 h 577"/>
                <a:gd name="T44" fmla="*/ 223 w 325"/>
                <a:gd name="T45" fmla="*/ 331 h 577"/>
                <a:gd name="T46" fmla="*/ 294 w 325"/>
                <a:gd name="T47" fmla="*/ 270 h 577"/>
                <a:gd name="T48" fmla="*/ 317 w 325"/>
                <a:gd name="T49" fmla="*/ 220 h 577"/>
                <a:gd name="T50" fmla="*/ 268 w 325"/>
                <a:gd name="T51" fmla="*/ 215 h 577"/>
                <a:gd name="T52" fmla="*/ 258 w 325"/>
                <a:gd name="T53" fmla="*/ 198 h 577"/>
                <a:gd name="T54" fmla="*/ 298 w 325"/>
                <a:gd name="T55" fmla="*/ 91 h 577"/>
                <a:gd name="T56" fmla="*/ 287 w 325"/>
                <a:gd name="T57" fmla="*/ 14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5" h="577">
                  <a:moveTo>
                    <a:pt x="287" y="14"/>
                  </a:moveTo>
                  <a:cubicBezTo>
                    <a:pt x="287" y="14"/>
                    <a:pt x="257" y="0"/>
                    <a:pt x="234" y="71"/>
                  </a:cubicBezTo>
                  <a:cubicBezTo>
                    <a:pt x="210" y="141"/>
                    <a:pt x="203" y="181"/>
                    <a:pt x="203" y="181"/>
                  </a:cubicBezTo>
                  <a:cubicBezTo>
                    <a:pt x="203" y="181"/>
                    <a:pt x="196" y="196"/>
                    <a:pt x="186" y="188"/>
                  </a:cubicBezTo>
                  <a:cubicBezTo>
                    <a:pt x="175" y="181"/>
                    <a:pt x="158" y="157"/>
                    <a:pt x="143" y="164"/>
                  </a:cubicBezTo>
                  <a:cubicBezTo>
                    <a:pt x="127" y="172"/>
                    <a:pt x="124" y="191"/>
                    <a:pt x="132" y="218"/>
                  </a:cubicBezTo>
                  <a:cubicBezTo>
                    <a:pt x="139" y="244"/>
                    <a:pt x="152" y="304"/>
                    <a:pt x="154" y="309"/>
                  </a:cubicBezTo>
                  <a:cubicBezTo>
                    <a:pt x="155" y="314"/>
                    <a:pt x="153" y="322"/>
                    <a:pt x="145" y="318"/>
                  </a:cubicBezTo>
                  <a:cubicBezTo>
                    <a:pt x="137" y="315"/>
                    <a:pt x="87" y="274"/>
                    <a:pt x="69" y="298"/>
                  </a:cubicBezTo>
                  <a:cubicBezTo>
                    <a:pt x="51" y="323"/>
                    <a:pt x="83" y="394"/>
                    <a:pt x="87" y="402"/>
                  </a:cubicBezTo>
                  <a:cubicBezTo>
                    <a:pt x="90" y="410"/>
                    <a:pt x="89" y="414"/>
                    <a:pt x="86" y="416"/>
                  </a:cubicBezTo>
                  <a:cubicBezTo>
                    <a:pt x="82" y="419"/>
                    <a:pt x="67" y="403"/>
                    <a:pt x="52" y="392"/>
                  </a:cubicBezTo>
                  <a:cubicBezTo>
                    <a:pt x="37" y="381"/>
                    <a:pt x="19" y="371"/>
                    <a:pt x="9" y="386"/>
                  </a:cubicBezTo>
                  <a:cubicBezTo>
                    <a:pt x="0" y="401"/>
                    <a:pt x="5" y="458"/>
                    <a:pt x="72" y="540"/>
                  </a:cubicBezTo>
                  <a:cubicBezTo>
                    <a:pt x="105" y="577"/>
                    <a:pt x="105" y="577"/>
                    <a:pt x="105" y="577"/>
                  </a:cubicBezTo>
                  <a:cubicBezTo>
                    <a:pt x="153" y="567"/>
                    <a:pt x="153" y="567"/>
                    <a:pt x="153" y="567"/>
                  </a:cubicBezTo>
                  <a:cubicBezTo>
                    <a:pt x="256" y="539"/>
                    <a:pt x="293" y="496"/>
                    <a:pt x="294" y="478"/>
                  </a:cubicBezTo>
                  <a:cubicBezTo>
                    <a:pt x="296" y="461"/>
                    <a:pt x="274" y="458"/>
                    <a:pt x="256" y="458"/>
                  </a:cubicBezTo>
                  <a:cubicBezTo>
                    <a:pt x="238" y="459"/>
                    <a:pt x="216" y="462"/>
                    <a:pt x="215" y="458"/>
                  </a:cubicBezTo>
                  <a:cubicBezTo>
                    <a:pt x="214" y="454"/>
                    <a:pt x="215" y="450"/>
                    <a:pt x="222" y="446"/>
                  </a:cubicBezTo>
                  <a:cubicBezTo>
                    <a:pt x="230" y="441"/>
                    <a:pt x="298" y="403"/>
                    <a:pt x="298" y="372"/>
                  </a:cubicBezTo>
                  <a:cubicBezTo>
                    <a:pt x="298" y="341"/>
                    <a:pt x="233" y="346"/>
                    <a:pt x="224" y="344"/>
                  </a:cubicBezTo>
                  <a:cubicBezTo>
                    <a:pt x="215" y="342"/>
                    <a:pt x="219" y="335"/>
                    <a:pt x="223" y="331"/>
                  </a:cubicBezTo>
                  <a:cubicBezTo>
                    <a:pt x="227" y="327"/>
                    <a:pt x="273" y="288"/>
                    <a:pt x="294" y="270"/>
                  </a:cubicBezTo>
                  <a:cubicBezTo>
                    <a:pt x="316" y="253"/>
                    <a:pt x="325" y="236"/>
                    <a:pt x="317" y="220"/>
                  </a:cubicBezTo>
                  <a:cubicBezTo>
                    <a:pt x="308" y="206"/>
                    <a:pt x="281" y="215"/>
                    <a:pt x="268" y="215"/>
                  </a:cubicBezTo>
                  <a:cubicBezTo>
                    <a:pt x="255" y="214"/>
                    <a:pt x="258" y="198"/>
                    <a:pt x="258" y="198"/>
                  </a:cubicBezTo>
                  <a:cubicBezTo>
                    <a:pt x="258" y="198"/>
                    <a:pt x="276" y="162"/>
                    <a:pt x="298" y="91"/>
                  </a:cubicBezTo>
                  <a:cubicBezTo>
                    <a:pt x="320" y="21"/>
                    <a:pt x="287" y="14"/>
                    <a:pt x="287" y="14"/>
                  </a:cubicBezTo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2" name="任意多边形: 形状 541">
              <a:extLst>
                <a:ext uri="{FF2B5EF4-FFF2-40B4-BE49-F238E27FC236}">
                  <a16:creationId xmlns:a16="http://schemas.microsoft.com/office/drawing/2014/main" id="{BF0F6F8B-9035-4EA3-A0FE-641EB5D10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13" y="4086226"/>
              <a:ext cx="384175" cy="1165225"/>
            </a:xfrm>
            <a:custGeom>
              <a:avLst/>
              <a:gdLst>
                <a:gd name="T0" fmla="*/ 0 w 168"/>
                <a:gd name="T1" fmla="*/ 510 h 510"/>
                <a:gd name="T2" fmla="*/ 74 w 168"/>
                <a:gd name="T3" fmla="*/ 287 h 510"/>
                <a:gd name="T4" fmla="*/ 141 w 168"/>
                <a:gd name="T5" fmla="*/ 84 h 510"/>
                <a:gd name="T6" fmla="*/ 161 w 168"/>
                <a:gd name="T7" fmla="*/ 23 h 510"/>
                <a:gd name="T8" fmla="*/ 166 w 168"/>
                <a:gd name="T9" fmla="*/ 6 h 510"/>
                <a:gd name="T10" fmla="*/ 168 w 168"/>
                <a:gd name="T11" fmla="*/ 2 h 510"/>
                <a:gd name="T12" fmla="*/ 168 w 168"/>
                <a:gd name="T13" fmla="*/ 0 h 510"/>
                <a:gd name="T14" fmla="*/ 168 w 168"/>
                <a:gd name="T15" fmla="*/ 2 h 510"/>
                <a:gd name="T16" fmla="*/ 166 w 168"/>
                <a:gd name="T17" fmla="*/ 6 h 510"/>
                <a:gd name="T18" fmla="*/ 161 w 168"/>
                <a:gd name="T19" fmla="*/ 23 h 510"/>
                <a:gd name="T20" fmla="*/ 142 w 168"/>
                <a:gd name="T21" fmla="*/ 85 h 510"/>
                <a:gd name="T22" fmla="*/ 76 w 168"/>
                <a:gd name="T23" fmla="*/ 287 h 510"/>
                <a:gd name="T24" fmla="*/ 1 w 168"/>
                <a:gd name="T25" fmla="*/ 51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8" h="510">
                  <a:moveTo>
                    <a:pt x="0" y="510"/>
                  </a:moveTo>
                  <a:cubicBezTo>
                    <a:pt x="17" y="458"/>
                    <a:pt x="48" y="366"/>
                    <a:pt x="74" y="287"/>
                  </a:cubicBezTo>
                  <a:cubicBezTo>
                    <a:pt x="100" y="208"/>
                    <a:pt x="124" y="136"/>
                    <a:pt x="141" y="84"/>
                  </a:cubicBezTo>
                  <a:cubicBezTo>
                    <a:pt x="149" y="59"/>
                    <a:pt x="156" y="38"/>
                    <a:pt x="161" y="23"/>
                  </a:cubicBezTo>
                  <a:cubicBezTo>
                    <a:pt x="163" y="16"/>
                    <a:pt x="165" y="10"/>
                    <a:pt x="166" y="6"/>
                  </a:cubicBezTo>
                  <a:cubicBezTo>
                    <a:pt x="167" y="4"/>
                    <a:pt x="167" y="3"/>
                    <a:pt x="168" y="2"/>
                  </a:cubicBezTo>
                  <a:cubicBezTo>
                    <a:pt x="168" y="1"/>
                    <a:pt x="168" y="0"/>
                    <a:pt x="168" y="0"/>
                  </a:cubicBezTo>
                  <a:cubicBezTo>
                    <a:pt x="168" y="0"/>
                    <a:pt x="168" y="1"/>
                    <a:pt x="168" y="2"/>
                  </a:cubicBezTo>
                  <a:cubicBezTo>
                    <a:pt x="167" y="3"/>
                    <a:pt x="167" y="4"/>
                    <a:pt x="166" y="6"/>
                  </a:cubicBezTo>
                  <a:cubicBezTo>
                    <a:pt x="165" y="10"/>
                    <a:pt x="164" y="16"/>
                    <a:pt x="161" y="23"/>
                  </a:cubicBezTo>
                  <a:cubicBezTo>
                    <a:pt x="157" y="38"/>
                    <a:pt x="150" y="59"/>
                    <a:pt x="142" y="85"/>
                  </a:cubicBezTo>
                  <a:cubicBezTo>
                    <a:pt x="125" y="137"/>
                    <a:pt x="102" y="208"/>
                    <a:pt x="76" y="287"/>
                  </a:cubicBezTo>
                  <a:cubicBezTo>
                    <a:pt x="49" y="366"/>
                    <a:pt x="18" y="458"/>
                    <a:pt x="1" y="51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3" name="任意多边形: 形状 542">
              <a:extLst>
                <a:ext uri="{FF2B5EF4-FFF2-40B4-BE49-F238E27FC236}">
                  <a16:creationId xmlns:a16="http://schemas.microsoft.com/office/drawing/2014/main" id="{2FAD0961-CECF-4219-B603-F60B34879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7401" y="4362451"/>
              <a:ext cx="79375" cy="192088"/>
            </a:xfrm>
            <a:custGeom>
              <a:avLst/>
              <a:gdLst>
                <a:gd name="T0" fmla="*/ 0 w 35"/>
                <a:gd name="T1" fmla="*/ 0 h 84"/>
                <a:gd name="T2" fmla="*/ 2 w 35"/>
                <a:gd name="T3" fmla="*/ 3 h 84"/>
                <a:gd name="T4" fmla="*/ 6 w 35"/>
                <a:gd name="T5" fmla="*/ 12 h 84"/>
                <a:gd name="T6" fmla="*/ 18 w 35"/>
                <a:gd name="T7" fmla="*/ 42 h 84"/>
                <a:gd name="T8" fmla="*/ 30 w 35"/>
                <a:gd name="T9" fmla="*/ 71 h 84"/>
                <a:gd name="T10" fmla="*/ 34 w 35"/>
                <a:gd name="T11" fmla="*/ 80 h 84"/>
                <a:gd name="T12" fmla="*/ 35 w 35"/>
                <a:gd name="T13" fmla="*/ 84 h 84"/>
                <a:gd name="T14" fmla="*/ 33 w 35"/>
                <a:gd name="T15" fmla="*/ 81 h 84"/>
                <a:gd name="T16" fmla="*/ 29 w 35"/>
                <a:gd name="T17" fmla="*/ 72 h 84"/>
                <a:gd name="T18" fmla="*/ 17 w 35"/>
                <a:gd name="T19" fmla="*/ 42 h 84"/>
                <a:gd name="T20" fmla="*/ 5 w 35"/>
                <a:gd name="T21" fmla="*/ 12 h 84"/>
                <a:gd name="T22" fmla="*/ 1 w 35"/>
                <a:gd name="T23" fmla="*/ 3 h 84"/>
                <a:gd name="T24" fmla="*/ 0 w 35"/>
                <a:gd name="T25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84">
                  <a:moveTo>
                    <a:pt x="0" y="0"/>
                  </a:moveTo>
                  <a:cubicBezTo>
                    <a:pt x="0" y="0"/>
                    <a:pt x="1" y="1"/>
                    <a:pt x="2" y="3"/>
                  </a:cubicBezTo>
                  <a:cubicBezTo>
                    <a:pt x="3" y="5"/>
                    <a:pt x="4" y="8"/>
                    <a:pt x="6" y="12"/>
                  </a:cubicBezTo>
                  <a:cubicBezTo>
                    <a:pt x="9" y="19"/>
                    <a:pt x="14" y="30"/>
                    <a:pt x="18" y="42"/>
                  </a:cubicBezTo>
                  <a:cubicBezTo>
                    <a:pt x="23" y="53"/>
                    <a:pt x="27" y="63"/>
                    <a:pt x="30" y="71"/>
                  </a:cubicBezTo>
                  <a:cubicBezTo>
                    <a:pt x="31" y="75"/>
                    <a:pt x="33" y="78"/>
                    <a:pt x="34" y="80"/>
                  </a:cubicBezTo>
                  <a:cubicBezTo>
                    <a:pt x="34" y="82"/>
                    <a:pt x="35" y="84"/>
                    <a:pt x="35" y="84"/>
                  </a:cubicBezTo>
                  <a:cubicBezTo>
                    <a:pt x="35" y="84"/>
                    <a:pt x="34" y="83"/>
                    <a:pt x="33" y="81"/>
                  </a:cubicBezTo>
                  <a:cubicBezTo>
                    <a:pt x="32" y="78"/>
                    <a:pt x="31" y="75"/>
                    <a:pt x="29" y="72"/>
                  </a:cubicBezTo>
                  <a:cubicBezTo>
                    <a:pt x="26" y="64"/>
                    <a:pt x="21" y="54"/>
                    <a:pt x="17" y="42"/>
                  </a:cubicBezTo>
                  <a:cubicBezTo>
                    <a:pt x="12" y="31"/>
                    <a:pt x="8" y="20"/>
                    <a:pt x="5" y="12"/>
                  </a:cubicBezTo>
                  <a:cubicBezTo>
                    <a:pt x="3" y="9"/>
                    <a:pt x="2" y="6"/>
                    <a:pt x="1" y="3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4" name="任意多边形: 形状 543">
              <a:extLst>
                <a:ext uri="{FF2B5EF4-FFF2-40B4-BE49-F238E27FC236}">
                  <a16:creationId xmlns:a16="http://schemas.microsoft.com/office/drawing/2014/main" id="{72C0B54D-FF3E-47F5-847E-339993398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6301" y="4454526"/>
              <a:ext cx="219075" cy="100013"/>
            </a:xfrm>
            <a:custGeom>
              <a:avLst/>
              <a:gdLst>
                <a:gd name="T0" fmla="*/ 0 w 96"/>
                <a:gd name="T1" fmla="*/ 44 h 44"/>
                <a:gd name="T2" fmla="*/ 48 w 96"/>
                <a:gd name="T3" fmla="*/ 21 h 44"/>
                <a:gd name="T4" fmla="*/ 95 w 96"/>
                <a:gd name="T5" fmla="*/ 0 h 44"/>
                <a:gd name="T6" fmla="*/ 48 w 96"/>
                <a:gd name="T7" fmla="*/ 23 h 44"/>
                <a:gd name="T8" fmla="*/ 0 w 96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44">
                  <a:moveTo>
                    <a:pt x="0" y="44"/>
                  </a:moveTo>
                  <a:cubicBezTo>
                    <a:pt x="0" y="43"/>
                    <a:pt x="21" y="33"/>
                    <a:pt x="48" y="21"/>
                  </a:cubicBezTo>
                  <a:cubicBezTo>
                    <a:pt x="74" y="9"/>
                    <a:pt x="95" y="0"/>
                    <a:pt x="95" y="0"/>
                  </a:cubicBezTo>
                  <a:cubicBezTo>
                    <a:pt x="96" y="1"/>
                    <a:pt x="74" y="11"/>
                    <a:pt x="48" y="23"/>
                  </a:cubicBezTo>
                  <a:cubicBezTo>
                    <a:pt x="22" y="35"/>
                    <a:pt x="1" y="44"/>
                    <a:pt x="0" y="44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5" name="任意多边形: 形状 544">
              <a:extLst>
                <a:ext uri="{FF2B5EF4-FFF2-40B4-BE49-F238E27FC236}">
                  <a16:creationId xmlns:a16="http://schemas.microsoft.com/office/drawing/2014/main" id="{C5C38E6C-A943-476E-A381-EBD26BC57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3113" y="4787901"/>
              <a:ext cx="207963" cy="38100"/>
            </a:xfrm>
            <a:custGeom>
              <a:avLst/>
              <a:gdLst>
                <a:gd name="T0" fmla="*/ 0 w 91"/>
                <a:gd name="T1" fmla="*/ 17 h 17"/>
                <a:gd name="T2" fmla="*/ 3 w 91"/>
                <a:gd name="T3" fmla="*/ 17 h 17"/>
                <a:gd name="T4" fmla="*/ 13 w 91"/>
                <a:gd name="T5" fmla="*/ 15 h 17"/>
                <a:gd name="T6" fmla="*/ 45 w 91"/>
                <a:gd name="T7" fmla="*/ 10 h 17"/>
                <a:gd name="T8" fmla="*/ 77 w 91"/>
                <a:gd name="T9" fmla="*/ 3 h 17"/>
                <a:gd name="T10" fmla="*/ 87 w 91"/>
                <a:gd name="T11" fmla="*/ 1 h 17"/>
                <a:gd name="T12" fmla="*/ 90 w 91"/>
                <a:gd name="T13" fmla="*/ 0 h 17"/>
                <a:gd name="T14" fmla="*/ 87 w 91"/>
                <a:gd name="T15" fmla="*/ 1 h 17"/>
                <a:gd name="T16" fmla="*/ 78 w 91"/>
                <a:gd name="T17" fmla="*/ 4 h 17"/>
                <a:gd name="T18" fmla="*/ 46 w 91"/>
                <a:gd name="T19" fmla="*/ 11 h 17"/>
                <a:gd name="T20" fmla="*/ 13 w 91"/>
                <a:gd name="T21" fmla="*/ 16 h 17"/>
                <a:gd name="T22" fmla="*/ 3 w 91"/>
                <a:gd name="T23" fmla="*/ 17 h 17"/>
                <a:gd name="T24" fmla="*/ 0 w 91"/>
                <a:gd name="T2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" h="17">
                  <a:moveTo>
                    <a:pt x="0" y="17"/>
                  </a:moveTo>
                  <a:cubicBezTo>
                    <a:pt x="0" y="17"/>
                    <a:pt x="1" y="17"/>
                    <a:pt x="3" y="17"/>
                  </a:cubicBezTo>
                  <a:cubicBezTo>
                    <a:pt x="6" y="16"/>
                    <a:pt x="9" y="16"/>
                    <a:pt x="13" y="15"/>
                  </a:cubicBezTo>
                  <a:cubicBezTo>
                    <a:pt x="21" y="14"/>
                    <a:pt x="33" y="12"/>
                    <a:pt x="45" y="10"/>
                  </a:cubicBezTo>
                  <a:cubicBezTo>
                    <a:pt x="58" y="7"/>
                    <a:pt x="69" y="5"/>
                    <a:pt x="77" y="3"/>
                  </a:cubicBezTo>
                  <a:cubicBezTo>
                    <a:pt x="81" y="2"/>
                    <a:pt x="84" y="1"/>
                    <a:pt x="87" y="1"/>
                  </a:cubicBezTo>
                  <a:cubicBezTo>
                    <a:pt x="89" y="0"/>
                    <a:pt x="90" y="0"/>
                    <a:pt x="90" y="0"/>
                  </a:cubicBezTo>
                  <a:cubicBezTo>
                    <a:pt x="91" y="0"/>
                    <a:pt x="89" y="1"/>
                    <a:pt x="87" y="1"/>
                  </a:cubicBezTo>
                  <a:cubicBezTo>
                    <a:pt x="85" y="2"/>
                    <a:pt x="82" y="3"/>
                    <a:pt x="78" y="4"/>
                  </a:cubicBezTo>
                  <a:cubicBezTo>
                    <a:pt x="69" y="6"/>
                    <a:pt x="58" y="9"/>
                    <a:pt x="46" y="11"/>
                  </a:cubicBezTo>
                  <a:cubicBezTo>
                    <a:pt x="33" y="14"/>
                    <a:pt x="22" y="15"/>
                    <a:pt x="13" y="16"/>
                  </a:cubicBezTo>
                  <a:cubicBezTo>
                    <a:pt x="9" y="17"/>
                    <a:pt x="6" y="17"/>
                    <a:pt x="3" y="17"/>
                  </a:cubicBezTo>
                  <a:cubicBezTo>
                    <a:pt x="1" y="17"/>
                    <a:pt x="0" y="17"/>
                    <a:pt x="0" y="17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6" name="任意多边形: 形状 545">
              <a:extLst>
                <a:ext uri="{FF2B5EF4-FFF2-40B4-BE49-F238E27FC236}">
                  <a16:creationId xmlns:a16="http://schemas.microsoft.com/office/drawing/2014/main" id="{697B7F31-558E-43DD-AE04-AA25DA09E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463" y="4670426"/>
              <a:ext cx="120650" cy="153988"/>
            </a:xfrm>
            <a:custGeom>
              <a:avLst/>
              <a:gdLst>
                <a:gd name="T0" fmla="*/ 0 w 53"/>
                <a:gd name="T1" fmla="*/ 0 h 67"/>
                <a:gd name="T2" fmla="*/ 3 w 53"/>
                <a:gd name="T3" fmla="*/ 3 h 67"/>
                <a:gd name="T4" fmla="*/ 9 w 53"/>
                <a:gd name="T5" fmla="*/ 10 h 67"/>
                <a:gd name="T6" fmla="*/ 27 w 53"/>
                <a:gd name="T7" fmla="*/ 33 h 67"/>
                <a:gd name="T8" fmla="*/ 46 w 53"/>
                <a:gd name="T9" fmla="*/ 57 h 67"/>
                <a:gd name="T10" fmla="*/ 52 w 53"/>
                <a:gd name="T11" fmla="*/ 65 h 67"/>
                <a:gd name="T12" fmla="*/ 53 w 53"/>
                <a:gd name="T13" fmla="*/ 67 h 67"/>
                <a:gd name="T14" fmla="*/ 51 w 53"/>
                <a:gd name="T15" fmla="*/ 65 h 67"/>
                <a:gd name="T16" fmla="*/ 45 w 53"/>
                <a:gd name="T17" fmla="*/ 58 h 67"/>
                <a:gd name="T18" fmla="*/ 26 w 53"/>
                <a:gd name="T19" fmla="*/ 34 h 67"/>
                <a:gd name="T20" fmla="*/ 8 w 53"/>
                <a:gd name="T21" fmla="*/ 11 h 67"/>
                <a:gd name="T22" fmla="*/ 2 w 53"/>
                <a:gd name="T23" fmla="*/ 3 h 67"/>
                <a:gd name="T24" fmla="*/ 0 w 53"/>
                <a:gd name="T25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67">
                  <a:moveTo>
                    <a:pt x="0" y="0"/>
                  </a:moveTo>
                  <a:cubicBezTo>
                    <a:pt x="0" y="0"/>
                    <a:pt x="1" y="1"/>
                    <a:pt x="3" y="3"/>
                  </a:cubicBezTo>
                  <a:cubicBezTo>
                    <a:pt x="4" y="5"/>
                    <a:pt x="6" y="7"/>
                    <a:pt x="9" y="10"/>
                  </a:cubicBezTo>
                  <a:cubicBezTo>
                    <a:pt x="13" y="16"/>
                    <a:pt x="20" y="24"/>
                    <a:pt x="27" y="33"/>
                  </a:cubicBezTo>
                  <a:cubicBezTo>
                    <a:pt x="35" y="43"/>
                    <a:pt x="41" y="51"/>
                    <a:pt x="46" y="57"/>
                  </a:cubicBezTo>
                  <a:cubicBezTo>
                    <a:pt x="48" y="60"/>
                    <a:pt x="50" y="63"/>
                    <a:pt x="52" y="65"/>
                  </a:cubicBezTo>
                  <a:cubicBezTo>
                    <a:pt x="53" y="66"/>
                    <a:pt x="53" y="67"/>
                    <a:pt x="53" y="67"/>
                  </a:cubicBezTo>
                  <a:cubicBezTo>
                    <a:pt x="53" y="67"/>
                    <a:pt x="52" y="67"/>
                    <a:pt x="51" y="65"/>
                  </a:cubicBezTo>
                  <a:cubicBezTo>
                    <a:pt x="49" y="63"/>
                    <a:pt x="48" y="61"/>
                    <a:pt x="45" y="58"/>
                  </a:cubicBezTo>
                  <a:cubicBezTo>
                    <a:pt x="40" y="52"/>
                    <a:pt x="34" y="44"/>
                    <a:pt x="26" y="34"/>
                  </a:cubicBezTo>
                  <a:cubicBezTo>
                    <a:pt x="19" y="25"/>
                    <a:pt x="12" y="17"/>
                    <a:pt x="8" y="11"/>
                  </a:cubicBezTo>
                  <a:cubicBezTo>
                    <a:pt x="6" y="8"/>
                    <a:pt x="4" y="5"/>
                    <a:pt x="2" y="3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7" name="任意多边形: 形状 546">
              <a:extLst>
                <a:ext uri="{FF2B5EF4-FFF2-40B4-BE49-F238E27FC236}">
                  <a16:creationId xmlns:a16="http://schemas.microsoft.com/office/drawing/2014/main" id="{A1E2683B-CCDF-48B5-8283-3F3EED4A64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0226" y="4902201"/>
              <a:ext cx="158750" cy="193675"/>
            </a:xfrm>
            <a:custGeom>
              <a:avLst/>
              <a:gdLst>
                <a:gd name="T0" fmla="*/ 0 w 69"/>
                <a:gd name="T1" fmla="*/ 0 h 85"/>
                <a:gd name="T2" fmla="*/ 3 w 69"/>
                <a:gd name="T3" fmla="*/ 3 h 85"/>
                <a:gd name="T4" fmla="*/ 10 w 69"/>
                <a:gd name="T5" fmla="*/ 12 h 85"/>
                <a:gd name="T6" fmla="*/ 35 w 69"/>
                <a:gd name="T7" fmla="*/ 42 h 85"/>
                <a:gd name="T8" fmla="*/ 59 w 69"/>
                <a:gd name="T9" fmla="*/ 72 h 85"/>
                <a:gd name="T10" fmla="*/ 66 w 69"/>
                <a:gd name="T11" fmla="*/ 81 h 85"/>
                <a:gd name="T12" fmla="*/ 68 w 69"/>
                <a:gd name="T13" fmla="*/ 85 h 85"/>
                <a:gd name="T14" fmla="*/ 65 w 69"/>
                <a:gd name="T15" fmla="*/ 82 h 85"/>
                <a:gd name="T16" fmla="*/ 58 w 69"/>
                <a:gd name="T17" fmla="*/ 73 h 85"/>
                <a:gd name="T18" fmla="*/ 33 w 69"/>
                <a:gd name="T19" fmla="*/ 43 h 85"/>
                <a:gd name="T20" fmla="*/ 9 w 69"/>
                <a:gd name="T21" fmla="*/ 13 h 85"/>
                <a:gd name="T22" fmla="*/ 2 w 69"/>
                <a:gd name="T23" fmla="*/ 3 h 85"/>
                <a:gd name="T24" fmla="*/ 0 w 69"/>
                <a:gd name="T2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" h="85">
                  <a:moveTo>
                    <a:pt x="0" y="0"/>
                  </a:moveTo>
                  <a:cubicBezTo>
                    <a:pt x="0" y="0"/>
                    <a:pt x="1" y="1"/>
                    <a:pt x="3" y="3"/>
                  </a:cubicBezTo>
                  <a:cubicBezTo>
                    <a:pt x="5" y="5"/>
                    <a:pt x="7" y="8"/>
                    <a:pt x="10" y="12"/>
                  </a:cubicBezTo>
                  <a:cubicBezTo>
                    <a:pt x="16" y="20"/>
                    <a:pt x="25" y="30"/>
                    <a:pt x="35" y="42"/>
                  </a:cubicBezTo>
                  <a:cubicBezTo>
                    <a:pt x="44" y="54"/>
                    <a:pt x="53" y="64"/>
                    <a:pt x="59" y="72"/>
                  </a:cubicBezTo>
                  <a:cubicBezTo>
                    <a:pt x="62" y="76"/>
                    <a:pt x="64" y="79"/>
                    <a:pt x="66" y="81"/>
                  </a:cubicBezTo>
                  <a:cubicBezTo>
                    <a:pt x="68" y="84"/>
                    <a:pt x="69" y="85"/>
                    <a:pt x="68" y="85"/>
                  </a:cubicBezTo>
                  <a:cubicBezTo>
                    <a:pt x="68" y="85"/>
                    <a:pt x="67" y="84"/>
                    <a:pt x="65" y="82"/>
                  </a:cubicBezTo>
                  <a:cubicBezTo>
                    <a:pt x="64" y="79"/>
                    <a:pt x="61" y="76"/>
                    <a:pt x="58" y="73"/>
                  </a:cubicBezTo>
                  <a:cubicBezTo>
                    <a:pt x="52" y="65"/>
                    <a:pt x="43" y="55"/>
                    <a:pt x="33" y="43"/>
                  </a:cubicBezTo>
                  <a:cubicBezTo>
                    <a:pt x="24" y="31"/>
                    <a:pt x="15" y="20"/>
                    <a:pt x="9" y="13"/>
                  </a:cubicBezTo>
                  <a:cubicBezTo>
                    <a:pt x="6" y="9"/>
                    <a:pt x="4" y="6"/>
                    <a:pt x="2" y="3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8" name="任意多边形: 形状 547">
              <a:extLst>
                <a:ext uri="{FF2B5EF4-FFF2-40B4-BE49-F238E27FC236}">
                  <a16:creationId xmlns:a16="http://schemas.microsoft.com/office/drawing/2014/main" id="{1D572138-C0D1-479C-8FBD-6D1C573599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213" y="5032376"/>
              <a:ext cx="263525" cy="57150"/>
            </a:xfrm>
            <a:custGeom>
              <a:avLst/>
              <a:gdLst>
                <a:gd name="T0" fmla="*/ 0 w 115"/>
                <a:gd name="T1" fmla="*/ 25 h 25"/>
                <a:gd name="T2" fmla="*/ 5 w 115"/>
                <a:gd name="T3" fmla="*/ 24 h 25"/>
                <a:gd name="T4" fmla="*/ 17 w 115"/>
                <a:gd name="T5" fmla="*/ 22 h 25"/>
                <a:gd name="T6" fmla="*/ 58 w 115"/>
                <a:gd name="T7" fmla="*/ 14 h 25"/>
                <a:gd name="T8" fmla="*/ 98 w 115"/>
                <a:gd name="T9" fmla="*/ 5 h 25"/>
                <a:gd name="T10" fmla="*/ 110 w 115"/>
                <a:gd name="T11" fmla="*/ 2 h 25"/>
                <a:gd name="T12" fmla="*/ 115 w 115"/>
                <a:gd name="T13" fmla="*/ 1 h 25"/>
                <a:gd name="T14" fmla="*/ 111 w 115"/>
                <a:gd name="T15" fmla="*/ 2 h 25"/>
                <a:gd name="T16" fmla="*/ 98 w 115"/>
                <a:gd name="T17" fmla="*/ 6 h 25"/>
                <a:gd name="T18" fmla="*/ 58 w 115"/>
                <a:gd name="T19" fmla="*/ 16 h 25"/>
                <a:gd name="T20" fmla="*/ 17 w 115"/>
                <a:gd name="T21" fmla="*/ 23 h 25"/>
                <a:gd name="T22" fmla="*/ 5 w 115"/>
                <a:gd name="T23" fmla="*/ 25 h 25"/>
                <a:gd name="T24" fmla="*/ 0 w 115"/>
                <a:gd name="T2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5" h="25">
                  <a:moveTo>
                    <a:pt x="0" y="25"/>
                  </a:moveTo>
                  <a:cubicBezTo>
                    <a:pt x="0" y="25"/>
                    <a:pt x="2" y="25"/>
                    <a:pt x="5" y="24"/>
                  </a:cubicBezTo>
                  <a:cubicBezTo>
                    <a:pt x="8" y="24"/>
                    <a:pt x="12" y="23"/>
                    <a:pt x="17" y="22"/>
                  </a:cubicBezTo>
                  <a:cubicBezTo>
                    <a:pt x="28" y="20"/>
                    <a:pt x="42" y="17"/>
                    <a:pt x="58" y="14"/>
                  </a:cubicBezTo>
                  <a:cubicBezTo>
                    <a:pt x="74" y="11"/>
                    <a:pt x="88" y="7"/>
                    <a:pt x="98" y="5"/>
                  </a:cubicBezTo>
                  <a:cubicBezTo>
                    <a:pt x="103" y="3"/>
                    <a:pt x="107" y="2"/>
                    <a:pt x="110" y="2"/>
                  </a:cubicBezTo>
                  <a:cubicBezTo>
                    <a:pt x="113" y="1"/>
                    <a:pt x="115" y="0"/>
                    <a:pt x="115" y="1"/>
                  </a:cubicBezTo>
                  <a:cubicBezTo>
                    <a:pt x="115" y="1"/>
                    <a:pt x="113" y="1"/>
                    <a:pt x="111" y="2"/>
                  </a:cubicBezTo>
                  <a:cubicBezTo>
                    <a:pt x="108" y="3"/>
                    <a:pt x="104" y="4"/>
                    <a:pt x="98" y="6"/>
                  </a:cubicBezTo>
                  <a:cubicBezTo>
                    <a:pt x="88" y="8"/>
                    <a:pt x="74" y="12"/>
                    <a:pt x="58" y="16"/>
                  </a:cubicBezTo>
                  <a:cubicBezTo>
                    <a:pt x="42" y="19"/>
                    <a:pt x="28" y="22"/>
                    <a:pt x="17" y="23"/>
                  </a:cubicBezTo>
                  <a:cubicBezTo>
                    <a:pt x="12" y="24"/>
                    <a:pt x="8" y="25"/>
                    <a:pt x="5" y="25"/>
                  </a:cubicBezTo>
                  <a:cubicBezTo>
                    <a:pt x="2" y="25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9" name="椭圆 548">
              <a:extLst>
                <a:ext uri="{FF2B5EF4-FFF2-40B4-BE49-F238E27FC236}">
                  <a16:creationId xmlns:a16="http://schemas.microsoft.com/office/drawing/2014/main" id="{01012DB3-2F00-4A44-B160-1414E0357A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8188" y="5245101"/>
              <a:ext cx="5613400" cy="47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0" name="任意多边形: 形状 549">
              <a:extLst>
                <a:ext uri="{FF2B5EF4-FFF2-40B4-BE49-F238E27FC236}">
                  <a16:creationId xmlns:a16="http://schemas.microsoft.com/office/drawing/2014/main" id="{A3806AE5-F5A0-4B61-A932-DDC6311942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251" y="2054226"/>
              <a:ext cx="203200" cy="209550"/>
            </a:xfrm>
            <a:custGeom>
              <a:avLst/>
              <a:gdLst>
                <a:gd name="T0" fmla="*/ 128 w 128"/>
                <a:gd name="T1" fmla="*/ 86 h 132"/>
                <a:gd name="T2" fmla="*/ 74 w 128"/>
                <a:gd name="T3" fmla="*/ 132 h 132"/>
                <a:gd name="T4" fmla="*/ 0 w 128"/>
                <a:gd name="T5" fmla="*/ 47 h 132"/>
                <a:gd name="T6" fmla="*/ 55 w 128"/>
                <a:gd name="T7" fmla="*/ 0 h 132"/>
                <a:gd name="T8" fmla="*/ 128 w 128"/>
                <a:gd name="T9" fmla="*/ 8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32">
                  <a:moveTo>
                    <a:pt x="128" y="86"/>
                  </a:moveTo>
                  <a:lnTo>
                    <a:pt x="74" y="132"/>
                  </a:lnTo>
                  <a:lnTo>
                    <a:pt x="0" y="47"/>
                  </a:lnTo>
                  <a:lnTo>
                    <a:pt x="55" y="0"/>
                  </a:lnTo>
                  <a:lnTo>
                    <a:pt x="128" y="86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1" name="任意多边形: 形状 550">
              <a:extLst>
                <a:ext uri="{FF2B5EF4-FFF2-40B4-BE49-F238E27FC236}">
                  <a16:creationId xmlns:a16="http://schemas.microsoft.com/office/drawing/2014/main" id="{435D19D5-898B-4225-941D-1707FFA34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5313" y="1909763"/>
              <a:ext cx="304800" cy="300038"/>
            </a:xfrm>
            <a:custGeom>
              <a:avLst/>
              <a:gdLst>
                <a:gd name="T0" fmla="*/ 133 w 133"/>
                <a:gd name="T1" fmla="*/ 63 h 131"/>
                <a:gd name="T2" fmla="*/ 55 w 133"/>
                <a:gd name="T3" fmla="*/ 131 h 131"/>
                <a:gd name="T4" fmla="*/ 0 w 133"/>
                <a:gd name="T5" fmla="*/ 67 h 131"/>
                <a:gd name="T6" fmla="*/ 78 w 133"/>
                <a:gd name="T7" fmla="*/ 0 h 131"/>
                <a:gd name="T8" fmla="*/ 133 w 133"/>
                <a:gd name="T9" fmla="*/ 6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131">
                  <a:moveTo>
                    <a:pt x="133" y="63"/>
                  </a:moveTo>
                  <a:cubicBezTo>
                    <a:pt x="55" y="131"/>
                    <a:pt x="55" y="131"/>
                    <a:pt x="55" y="131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1" y="37"/>
                    <a:pt x="47" y="14"/>
                    <a:pt x="78" y="0"/>
                  </a:cubicBezTo>
                  <a:lnTo>
                    <a:pt x="133" y="63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2" name="任意多边形: 形状 551">
              <a:extLst>
                <a:ext uri="{FF2B5EF4-FFF2-40B4-BE49-F238E27FC236}">
                  <a16:creationId xmlns:a16="http://schemas.microsoft.com/office/drawing/2014/main" id="{A3D331D6-D644-4E66-BAAB-55DA3C3FD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126" y="2032001"/>
              <a:ext cx="131763" cy="152400"/>
            </a:xfrm>
            <a:custGeom>
              <a:avLst/>
              <a:gdLst>
                <a:gd name="T0" fmla="*/ 58 w 58"/>
                <a:gd name="T1" fmla="*/ 66 h 67"/>
                <a:gd name="T2" fmla="*/ 28 w 58"/>
                <a:gd name="T3" fmla="*/ 34 h 67"/>
                <a:gd name="T4" fmla="*/ 0 w 58"/>
                <a:gd name="T5" fmla="*/ 0 h 67"/>
                <a:gd name="T6" fmla="*/ 30 w 58"/>
                <a:gd name="T7" fmla="*/ 33 h 67"/>
                <a:gd name="T8" fmla="*/ 58 w 58"/>
                <a:gd name="T9" fmla="*/ 6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67">
                  <a:moveTo>
                    <a:pt x="58" y="66"/>
                  </a:moveTo>
                  <a:cubicBezTo>
                    <a:pt x="57" y="67"/>
                    <a:pt x="44" y="52"/>
                    <a:pt x="28" y="34"/>
                  </a:cubicBezTo>
                  <a:cubicBezTo>
                    <a:pt x="12" y="16"/>
                    <a:pt x="0" y="1"/>
                    <a:pt x="0" y="0"/>
                  </a:cubicBezTo>
                  <a:cubicBezTo>
                    <a:pt x="1" y="0"/>
                    <a:pt x="14" y="14"/>
                    <a:pt x="30" y="33"/>
                  </a:cubicBezTo>
                  <a:cubicBezTo>
                    <a:pt x="46" y="51"/>
                    <a:pt x="58" y="66"/>
                    <a:pt x="58" y="6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3" name="任意多边形: 形状 552">
              <a:extLst>
                <a:ext uri="{FF2B5EF4-FFF2-40B4-BE49-F238E27FC236}">
                  <a16:creationId xmlns:a16="http://schemas.microsoft.com/office/drawing/2014/main" id="{BBDF0C11-6DBE-4615-A765-EA7D729B6B7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2463" y="1993901"/>
              <a:ext cx="133350" cy="160338"/>
            </a:xfrm>
            <a:custGeom>
              <a:avLst/>
              <a:gdLst>
                <a:gd name="T0" fmla="*/ 58 w 58"/>
                <a:gd name="T1" fmla="*/ 70 h 70"/>
                <a:gd name="T2" fmla="*/ 49 w 58"/>
                <a:gd name="T3" fmla="*/ 60 h 70"/>
                <a:gd name="T4" fmla="*/ 28 w 58"/>
                <a:gd name="T5" fmla="*/ 36 h 70"/>
                <a:gd name="T6" fmla="*/ 8 w 58"/>
                <a:gd name="T7" fmla="*/ 11 h 70"/>
                <a:gd name="T8" fmla="*/ 2 w 58"/>
                <a:gd name="T9" fmla="*/ 3 h 70"/>
                <a:gd name="T10" fmla="*/ 0 w 58"/>
                <a:gd name="T11" fmla="*/ 1 h 70"/>
                <a:gd name="T12" fmla="*/ 30 w 58"/>
                <a:gd name="T13" fmla="*/ 34 h 70"/>
                <a:gd name="T14" fmla="*/ 50 w 58"/>
                <a:gd name="T15" fmla="*/ 59 h 70"/>
                <a:gd name="T16" fmla="*/ 58 w 58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70">
                  <a:moveTo>
                    <a:pt x="58" y="70"/>
                  </a:moveTo>
                  <a:cubicBezTo>
                    <a:pt x="57" y="70"/>
                    <a:pt x="54" y="66"/>
                    <a:pt x="49" y="60"/>
                  </a:cubicBezTo>
                  <a:cubicBezTo>
                    <a:pt x="43" y="54"/>
                    <a:pt x="36" y="45"/>
                    <a:pt x="28" y="36"/>
                  </a:cubicBezTo>
                  <a:cubicBezTo>
                    <a:pt x="21" y="26"/>
                    <a:pt x="14" y="18"/>
                    <a:pt x="8" y="11"/>
                  </a:cubicBezTo>
                  <a:cubicBezTo>
                    <a:pt x="6" y="8"/>
                    <a:pt x="4" y="6"/>
                    <a:pt x="2" y="3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1" y="0"/>
                    <a:pt x="14" y="15"/>
                    <a:pt x="30" y="34"/>
                  </a:cubicBezTo>
                  <a:cubicBezTo>
                    <a:pt x="38" y="44"/>
                    <a:pt x="45" y="53"/>
                    <a:pt x="50" y="59"/>
                  </a:cubicBezTo>
                  <a:cubicBezTo>
                    <a:pt x="55" y="65"/>
                    <a:pt x="58" y="69"/>
                    <a:pt x="58" y="7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4" name="任意多边形: 形状 553">
              <a:extLst>
                <a:ext uri="{FF2B5EF4-FFF2-40B4-BE49-F238E27FC236}">
                  <a16:creationId xmlns:a16="http://schemas.microsoft.com/office/drawing/2014/main" id="{74C7E2C9-0A08-4D34-976A-BDE957167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8501" y="1954213"/>
              <a:ext cx="133350" cy="161925"/>
            </a:xfrm>
            <a:custGeom>
              <a:avLst/>
              <a:gdLst>
                <a:gd name="T0" fmla="*/ 58 w 58"/>
                <a:gd name="T1" fmla="*/ 71 h 71"/>
                <a:gd name="T2" fmla="*/ 49 w 58"/>
                <a:gd name="T3" fmla="*/ 61 h 71"/>
                <a:gd name="T4" fmla="*/ 28 w 58"/>
                <a:gd name="T5" fmla="*/ 36 h 71"/>
                <a:gd name="T6" fmla="*/ 8 w 58"/>
                <a:gd name="T7" fmla="*/ 11 h 71"/>
                <a:gd name="T8" fmla="*/ 2 w 58"/>
                <a:gd name="T9" fmla="*/ 3 h 71"/>
                <a:gd name="T10" fmla="*/ 0 w 58"/>
                <a:gd name="T11" fmla="*/ 0 h 71"/>
                <a:gd name="T12" fmla="*/ 9 w 58"/>
                <a:gd name="T13" fmla="*/ 10 h 71"/>
                <a:gd name="T14" fmla="*/ 30 w 58"/>
                <a:gd name="T15" fmla="*/ 35 h 71"/>
                <a:gd name="T16" fmla="*/ 50 w 58"/>
                <a:gd name="T17" fmla="*/ 60 h 71"/>
                <a:gd name="T18" fmla="*/ 58 w 58"/>
                <a:gd name="T19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71">
                  <a:moveTo>
                    <a:pt x="58" y="71"/>
                  </a:moveTo>
                  <a:cubicBezTo>
                    <a:pt x="57" y="71"/>
                    <a:pt x="54" y="67"/>
                    <a:pt x="49" y="61"/>
                  </a:cubicBezTo>
                  <a:cubicBezTo>
                    <a:pt x="43" y="54"/>
                    <a:pt x="36" y="46"/>
                    <a:pt x="28" y="36"/>
                  </a:cubicBezTo>
                  <a:cubicBezTo>
                    <a:pt x="20" y="26"/>
                    <a:pt x="14" y="18"/>
                    <a:pt x="8" y="11"/>
                  </a:cubicBezTo>
                  <a:cubicBezTo>
                    <a:pt x="6" y="8"/>
                    <a:pt x="4" y="5"/>
                    <a:pt x="2" y="3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4" y="4"/>
                    <a:pt x="9" y="10"/>
                  </a:cubicBezTo>
                  <a:cubicBezTo>
                    <a:pt x="15" y="16"/>
                    <a:pt x="22" y="25"/>
                    <a:pt x="30" y="35"/>
                  </a:cubicBezTo>
                  <a:cubicBezTo>
                    <a:pt x="38" y="44"/>
                    <a:pt x="45" y="53"/>
                    <a:pt x="50" y="60"/>
                  </a:cubicBezTo>
                  <a:cubicBezTo>
                    <a:pt x="55" y="66"/>
                    <a:pt x="58" y="70"/>
                    <a:pt x="58" y="7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5" name="任意多边形: 形状 554">
              <a:extLst>
                <a:ext uri="{FF2B5EF4-FFF2-40B4-BE49-F238E27FC236}">
                  <a16:creationId xmlns:a16="http://schemas.microsoft.com/office/drawing/2014/main" id="{0C2A108B-4E83-40AC-967C-2A3AF3ADD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9776" y="1924051"/>
              <a:ext cx="131763" cy="155575"/>
            </a:xfrm>
            <a:custGeom>
              <a:avLst/>
              <a:gdLst>
                <a:gd name="T0" fmla="*/ 58 w 58"/>
                <a:gd name="T1" fmla="*/ 68 h 68"/>
                <a:gd name="T2" fmla="*/ 28 w 58"/>
                <a:gd name="T3" fmla="*/ 35 h 68"/>
                <a:gd name="T4" fmla="*/ 0 w 58"/>
                <a:gd name="T5" fmla="*/ 1 h 68"/>
                <a:gd name="T6" fmla="*/ 30 w 58"/>
                <a:gd name="T7" fmla="*/ 33 h 68"/>
                <a:gd name="T8" fmla="*/ 58 w 58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68">
                  <a:moveTo>
                    <a:pt x="58" y="68"/>
                  </a:moveTo>
                  <a:cubicBezTo>
                    <a:pt x="57" y="68"/>
                    <a:pt x="44" y="53"/>
                    <a:pt x="28" y="35"/>
                  </a:cubicBezTo>
                  <a:cubicBezTo>
                    <a:pt x="12" y="16"/>
                    <a:pt x="0" y="1"/>
                    <a:pt x="0" y="1"/>
                  </a:cubicBezTo>
                  <a:cubicBezTo>
                    <a:pt x="1" y="0"/>
                    <a:pt x="14" y="15"/>
                    <a:pt x="30" y="33"/>
                  </a:cubicBezTo>
                  <a:cubicBezTo>
                    <a:pt x="46" y="52"/>
                    <a:pt x="58" y="67"/>
                    <a:pt x="58" y="6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6" name="任意多边形: 形状 555">
              <a:extLst>
                <a:ext uri="{FF2B5EF4-FFF2-40B4-BE49-F238E27FC236}">
                  <a16:creationId xmlns:a16="http://schemas.microsoft.com/office/drawing/2014/main" id="{8A8E0082-274D-49DB-81E2-5C438B057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7888" y="2074863"/>
              <a:ext cx="207963" cy="207963"/>
            </a:xfrm>
            <a:custGeom>
              <a:avLst/>
              <a:gdLst>
                <a:gd name="T0" fmla="*/ 51 w 131"/>
                <a:gd name="T1" fmla="*/ 131 h 131"/>
                <a:gd name="T2" fmla="*/ 0 w 131"/>
                <a:gd name="T3" fmla="*/ 78 h 131"/>
                <a:gd name="T4" fmla="*/ 82 w 131"/>
                <a:gd name="T5" fmla="*/ 0 h 131"/>
                <a:gd name="T6" fmla="*/ 131 w 131"/>
                <a:gd name="T7" fmla="*/ 53 h 131"/>
                <a:gd name="T8" fmla="*/ 51 w 131"/>
                <a:gd name="T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131">
                  <a:moveTo>
                    <a:pt x="51" y="131"/>
                  </a:moveTo>
                  <a:lnTo>
                    <a:pt x="0" y="78"/>
                  </a:lnTo>
                  <a:lnTo>
                    <a:pt x="82" y="0"/>
                  </a:lnTo>
                  <a:lnTo>
                    <a:pt x="131" y="53"/>
                  </a:lnTo>
                  <a:lnTo>
                    <a:pt x="51" y="131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7" name="任意多边形: 形状 556">
              <a:extLst>
                <a:ext uri="{FF2B5EF4-FFF2-40B4-BE49-F238E27FC236}">
                  <a16:creationId xmlns:a16="http://schemas.microsoft.com/office/drawing/2014/main" id="{95AEF2DC-06CC-40DA-80D5-3BDCD59A2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8688" y="1935163"/>
              <a:ext cx="301625" cy="304800"/>
            </a:xfrm>
            <a:custGeom>
              <a:avLst/>
              <a:gdLst>
                <a:gd name="T0" fmla="*/ 71 w 132"/>
                <a:gd name="T1" fmla="*/ 133 h 133"/>
                <a:gd name="T2" fmla="*/ 0 w 132"/>
                <a:gd name="T3" fmla="*/ 59 h 133"/>
                <a:gd name="T4" fmla="*/ 61 w 132"/>
                <a:gd name="T5" fmla="*/ 0 h 133"/>
                <a:gd name="T6" fmla="*/ 132 w 132"/>
                <a:gd name="T7" fmla="*/ 75 h 133"/>
                <a:gd name="T8" fmla="*/ 71 w 132"/>
                <a:gd name="T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33">
                  <a:moveTo>
                    <a:pt x="71" y="133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92" y="20"/>
                    <a:pt x="116" y="45"/>
                    <a:pt x="132" y="75"/>
                  </a:cubicBezTo>
                  <a:lnTo>
                    <a:pt x="71" y="133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8" name="任意多边形: 形状 557">
              <a:extLst>
                <a:ext uri="{FF2B5EF4-FFF2-40B4-BE49-F238E27FC236}">
                  <a16:creationId xmlns:a16="http://schemas.microsoft.com/office/drawing/2014/main" id="{6749202F-E2E0-4308-8F8F-A81F6194B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4088" y="1957388"/>
              <a:ext cx="146050" cy="139700"/>
            </a:xfrm>
            <a:custGeom>
              <a:avLst/>
              <a:gdLst>
                <a:gd name="T0" fmla="*/ 1 w 64"/>
                <a:gd name="T1" fmla="*/ 61 h 61"/>
                <a:gd name="T2" fmla="*/ 31 w 64"/>
                <a:gd name="T3" fmla="*/ 30 h 61"/>
                <a:gd name="T4" fmla="*/ 64 w 64"/>
                <a:gd name="T5" fmla="*/ 0 h 61"/>
                <a:gd name="T6" fmla="*/ 33 w 64"/>
                <a:gd name="T7" fmla="*/ 31 h 61"/>
                <a:gd name="T8" fmla="*/ 1 w 64"/>
                <a:gd name="T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61">
                  <a:moveTo>
                    <a:pt x="1" y="61"/>
                  </a:moveTo>
                  <a:cubicBezTo>
                    <a:pt x="0" y="61"/>
                    <a:pt x="14" y="47"/>
                    <a:pt x="31" y="30"/>
                  </a:cubicBezTo>
                  <a:cubicBezTo>
                    <a:pt x="49" y="13"/>
                    <a:pt x="63" y="0"/>
                    <a:pt x="64" y="0"/>
                  </a:cubicBezTo>
                  <a:cubicBezTo>
                    <a:pt x="64" y="0"/>
                    <a:pt x="50" y="14"/>
                    <a:pt x="33" y="31"/>
                  </a:cubicBezTo>
                  <a:cubicBezTo>
                    <a:pt x="15" y="48"/>
                    <a:pt x="1" y="61"/>
                    <a:pt x="1" y="6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9" name="任意多边形: 形状 558">
              <a:extLst>
                <a:ext uri="{FF2B5EF4-FFF2-40B4-BE49-F238E27FC236}">
                  <a16:creationId xmlns:a16="http://schemas.microsoft.com/office/drawing/2014/main" id="{507C60C1-189C-41A0-A94A-E65B60A4B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5838" y="1990726"/>
              <a:ext cx="153988" cy="138113"/>
            </a:xfrm>
            <a:custGeom>
              <a:avLst/>
              <a:gdLst>
                <a:gd name="T0" fmla="*/ 0 w 67"/>
                <a:gd name="T1" fmla="*/ 61 h 61"/>
                <a:gd name="T2" fmla="*/ 9 w 67"/>
                <a:gd name="T3" fmla="*/ 52 h 61"/>
                <a:gd name="T4" fmla="*/ 33 w 67"/>
                <a:gd name="T5" fmla="*/ 30 h 61"/>
                <a:gd name="T6" fmla="*/ 56 w 67"/>
                <a:gd name="T7" fmla="*/ 9 h 61"/>
                <a:gd name="T8" fmla="*/ 63 w 67"/>
                <a:gd name="T9" fmla="*/ 3 h 61"/>
                <a:gd name="T10" fmla="*/ 66 w 67"/>
                <a:gd name="T11" fmla="*/ 0 h 61"/>
                <a:gd name="T12" fmla="*/ 34 w 67"/>
                <a:gd name="T13" fmla="*/ 32 h 61"/>
                <a:gd name="T14" fmla="*/ 10 w 67"/>
                <a:gd name="T15" fmla="*/ 53 h 61"/>
                <a:gd name="T16" fmla="*/ 0 w 67"/>
                <a:gd name="T1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61">
                  <a:moveTo>
                    <a:pt x="0" y="61"/>
                  </a:moveTo>
                  <a:cubicBezTo>
                    <a:pt x="0" y="61"/>
                    <a:pt x="3" y="57"/>
                    <a:pt x="9" y="52"/>
                  </a:cubicBezTo>
                  <a:cubicBezTo>
                    <a:pt x="15" y="46"/>
                    <a:pt x="24" y="39"/>
                    <a:pt x="33" y="30"/>
                  </a:cubicBezTo>
                  <a:cubicBezTo>
                    <a:pt x="42" y="22"/>
                    <a:pt x="50" y="15"/>
                    <a:pt x="56" y="9"/>
                  </a:cubicBezTo>
                  <a:cubicBezTo>
                    <a:pt x="59" y="7"/>
                    <a:pt x="61" y="4"/>
                    <a:pt x="63" y="3"/>
                  </a:cubicBezTo>
                  <a:cubicBezTo>
                    <a:pt x="65" y="1"/>
                    <a:pt x="66" y="0"/>
                    <a:pt x="66" y="0"/>
                  </a:cubicBezTo>
                  <a:cubicBezTo>
                    <a:pt x="67" y="1"/>
                    <a:pt x="52" y="15"/>
                    <a:pt x="34" y="32"/>
                  </a:cubicBezTo>
                  <a:cubicBezTo>
                    <a:pt x="25" y="40"/>
                    <a:pt x="17" y="48"/>
                    <a:pt x="10" y="53"/>
                  </a:cubicBezTo>
                  <a:cubicBezTo>
                    <a:pt x="4" y="58"/>
                    <a:pt x="0" y="61"/>
                    <a:pt x="0" y="6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0" name="任意多边形: 形状 559">
              <a:extLst>
                <a:ext uri="{FF2B5EF4-FFF2-40B4-BE49-F238E27FC236}">
                  <a16:creationId xmlns:a16="http://schemas.microsoft.com/office/drawing/2014/main" id="{DA258844-E83B-42C5-9B9C-09E872D2E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7113" y="2033588"/>
              <a:ext cx="155575" cy="139700"/>
            </a:xfrm>
            <a:custGeom>
              <a:avLst/>
              <a:gdLst>
                <a:gd name="T0" fmla="*/ 0 w 68"/>
                <a:gd name="T1" fmla="*/ 61 h 61"/>
                <a:gd name="T2" fmla="*/ 10 w 68"/>
                <a:gd name="T3" fmla="*/ 52 h 61"/>
                <a:gd name="T4" fmla="*/ 33 w 68"/>
                <a:gd name="T5" fmla="*/ 30 h 61"/>
                <a:gd name="T6" fmla="*/ 57 w 68"/>
                <a:gd name="T7" fmla="*/ 9 h 61"/>
                <a:gd name="T8" fmla="*/ 65 w 68"/>
                <a:gd name="T9" fmla="*/ 2 h 61"/>
                <a:gd name="T10" fmla="*/ 67 w 68"/>
                <a:gd name="T11" fmla="*/ 0 h 61"/>
                <a:gd name="T12" fmla="*/ 58 w 68"/>
                <a:gd name="T13" fmla="*/ 10 h 61"/>
                <a:gd name="T14" fmla="*/ 35 w 68"/>
                <a:gd name="T15" fmla="*/ 32 h 61"/>
                <a:gd name="T16" fmla="*/ 11 w 68"/>
                <a:gd name="T17" fmla="*/ 53 h 61"/>
                <a:gd name="T18" fmla="*/ 0 w 68"/>
                <a:gd name="T1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1">
                  <a:moveTo>
                    <a:pt x="0" y="61"/>
                  </a:moveTo>
                  <a:cubicBezTo>
                    <a:pt x="0" y="61"/>
                    <a:pt x="4" y="57"/>
                    <a:pt x="10" y="52"/>
                  </a:cubicBezTo>
                  <a:cubicBezTo>
                    <a:pt x="16" y="46"/>
                    <a:pt x="24" y="38"/>
                    <a:pt x="33" y="30"/>
                  </a:cubicBezTo>
                  <a:cubicBezTo>
                    <a:pt x="42" y="22"/>
                    <a:pt x="51" y="15"/>
                    <a:pt x="57" y="9"/>
                  </a:cubicBezTo>
                  <a:cubicBezTo>
                    <a:pt x="60" y="6"/>
                    <a:pt x="62" y="4"/>
                    <a:pt x="65" y="2"/>
                  </a:cubicBezTo>
                  <a:cubicBezTo>
                    <a:pt x="66" y="1"/>
                    <a:pt x="67" y="0"/>
                    <a:pt x="67" y="0"/>
                  </a:cubicBezTo>
                  <a:cubicBezTo>
                    <a:pt x="68" y="0"/>
                    <a:pt x="64" y="4"/>
                    <a:pt x="58" y="10"/>
                  </a:cubicBezTo>
                  <a:cubicBezTo>
                    <a:pt x="52" y="15"/>
                    <a:pt x="44" y="23"/>
                    <a:pt x="35" y="32"/>
                  </a:cubicBezTo>
                  <a:cubicBezTo>
                    <a:pt x="25" y="40"/>
                    <a:pt x="17" y="47"/>
                    <a:pt x="11" y="53"/>
                  </a:cubicBezTo>
                  <a:cubicBezTo>
                    <a:pt x="4" y="58"/>
                    <a:pt x="0" y="61"/>
                    <a:pt x="0" y="6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1" name="任意多边形: 形状 560">
              <a:extLst>
                <a:ext uri="{FF2B5EF4-FFF2-40B4-BE49-F238E27FC236}">
                  <a16:creationId xmlns:a16="http://schemas.microsoft.com/office/drawing/2014/main" id="{8731E77C-C6EB-42F1-B0C3-EAF60AE8F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5213" y="2071688"/>
              <a:ext cx="147638" cy="142875"/>
            </a:xfrm>
            <a:custGeom>
              <a:avLst/>
              <a:gdLst>
                <a:gd name="T0" fmla="*/ 0 w 64"/>
                <a:gd name="T1" fmla="*/ 61 h 62"/>
                <a:gd name="T2" fmla="*/ 31 w 64"/>
                <a:gd name="T3" fmla="*/ 30 h 62"/>
                <a:gd name="T4" fmla="*/ 64 w 64"/>
                <a:gd name="T5" fmla="*/ 1 h 62"/>
                <a:gd name="T6" fmla="*/ 33 w 64"/>
                <a:gd name="T7" fmla="*/ 32 h 62"/>
                <a:gd name="T8" fmla="*/ 0 w 64"/>
                <a:gd name="T9" fmla="*/ 6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62">
                  <a:moveTo>
                    <a:pt x="0" y="61"/>
                  </a:moveTo>
                  <a:cubicBezTo>
                    <a:pt x="0" y="61"/>
                    <a:pt x="14" y="47"/>
                    <a:pt x="31" y="30"/>
                  </a:cubicBezTo>
                  <a:cubicBezTo>
                    <a:pt x="49" y="14"/>
                    <a:pt x="64" y="0"/>
                    <a:pt x="64" y="1"/>
                  </a:cubicBezTo>
                  <a:cubicBezTo>
                    <a:pt x="64" y="1"/>
                    <a:pt x="50" y="15"/>
                    <a:pt x="33" y="32"/>
                  </a:cubicBezTo>
                  <a:cubicBezTo>
                    <a:pt x="15" y="49"/>
                    <a:pt x="1" y="62"/>
                    <a:pt x="0" y="6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2" name="矩形 561">
              <a:extLst>
                <a:ext uri="{FF2B5EF4-FFF2-40B4-BE49-F238E27FC236}">
                  <a16:creationId xmlns:a16="http://schemas.microsoft.com/office/drawing/2014/main" id="{47748B8D-3076-4C92-9B78-A7005F5237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2251" y="1763713"/>
              <a:ext cx="134938" cy="211138"/>
            </a:xfrm>
            <a:prstGeom prst="rect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3" name="任意多边形: 形状 562">
              <a:extLst>
                <a:ext uri="{FF2B5EF4-FFF2-40B4-BE49-F238E27FC236}">
                  <a16:creationId xmlns:a16="http://schemas.microsoft.com/office/drawing/2014/main" id="{5FED69B0-4A8C-423D-B10E-947E4014F9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0813" y="1571626"/>
              <a:ext cx="279400" cy="254000"/>
            </a:xfrm>
            <a:custGeom>
              <a:avLst/>
              <a:gdLst>
                <a:gd name="T0" fmla="*/ 122 w 122"/>
                <a:gd name="T1" fmla="*/ 111 h 111"/>
                <a:gd name="T2" fmla="*/ 0 w 122"/>
                <a:gd name="T3" fmla="*/ 111 h 111"/>
                <a:gd name="T4" fmla="*/ 0 w 122"/>
                <a:gd name="T5" fmla="*/ 12 h 111"/>
                <a:gd name="T6" fmla="*/ 122 w 122"/>
                <a:gd name="T7" fmla="*/ 12 h 111"/>
                <a:gd name="T8" fmla="*/ 122 w 122"/>
                <a:gd name="T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111">
                  <a:moveTo>
                    <a:pt x="122" y="111"/>
                  </a:moveTo>
                  <a:cubicBezTo>
                    <a:pt x="0" y="111"/>
                    <a:pt x="0" y="111"/>
                    <a:pt x="0" y="1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42" y="1"/>
                    <a:pt x="83" y="0"/>
                    <a:pt x="122" y="12"/>
                  </a:cubicBezTo>
                  <a:lnTo>
                    <a:pt x="122" y="111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4" name="任意多边形: 形状 563">
              <a:extLst>
                <a:ext uri="{FF2B5EF4-FFF2-40B4-BE49-F238E27FC236}">
                  <a16:creationId xmlns:a16="http://schemas.microsoft.com/office/drawing/2014/main" id="{81907DD3-E0C2-4823-B4FC-088A5B4F6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9226" y="1598613"/>
              <a:ext cx="282575" cy="33338"/>
            </a:xfrm>
            <a:custGeom>
              <a:avLst/>
              <a:gdLst>
                <a:gd name="T0" fmla="*/ 124 w 124"/>
                <a:gd name="T1" fmla="*/ 0 h 14"/>
                <a:gd name="T2" fmla="*/ 120 w 124"/>
                <a:gd name="T3" fmla="*/ 2 h 14"/>
                <a:gd name="T4" fmla="*/ 107 w 124"/>
                <a:gd name="T5" fmla="*/ 7 h 14"/>
                <a:gd name="T6" fmla="*/ 87 w 124"/>
                <a:gd name="T7" fmla="*/ 12 h 14"/>
                <a:gd name="T8" fmla="*/ 62 w 124"/>
                <a:gd name="T9" fmla="*/ 14 h 14"/>
                <a:gd name="T10" fmla="*/ 37 w 124"/>
                <a:gd name="T11" fmla="*/ 12 h 14"/>
                <a:gd name="T12" fmla="*/ 17 w 124"/>
                <a:gd name="T13" fmla="*/ 7 h 14"/>
                <a:gd name="T14" fmla="*/ 4 w 124"/>
                <a:gd name="T15" fmla="*/ 3 h 14"/>
                <a:gd name="T16" fmla="*/ 0 w 124"/>
                <a:gd name="T17" fmla="*/ 1 h 14"/>
                <a:gd name="T18" fmla="*/ 18 w 124"/>
                <a:gd name="T19" fmla="*/ 6 h 14"/>
                <a:gd name="T20" fmla="*/ 38 w 124"/>
                <a:gd name="T21" fmla="*/ 10 h 14"/>
                <a:gd name="T22" fmla="*/ 62 w 124"/>
                <a:gd name="T23" fmla="*/ 12 h 14"/>
                <a:gd name="T24" fmla="*/ 87 w 124"/>
                <a:gd name="T25" fmla="*/ 10 h 14"/>
                <a:gd name="T26" fmla="*/ 106 w 124"/>
                <a:gd name="T27" fmla="*/ 6 h 14"/>
                <a:gd name="T28" fmla="*/ 124 w 124"/>
                <a:gd name="T2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4" h="14">
                  <a:moveTo>
                    <a:pt x="124" y="0"/>
                  </a:moveTo>
                  <a:cubicBezTo>
                    <a:pt x="124" y="0"/>
                    <a:pt x="123" y="1"/>
                    <a:pt x="120" y="2"/>
                  </a:cubicBezTo>
                  <a:cubicBezTo>
                    <a:pt x="117" y="4"/>
                    <a:pt x="112" y="5"/>
                    <a:pt x="107" y="7"/>
                  </a:cubicBezTo>
                  <a:cubicBezTo>
                    <a:pt x="101" y="9"/>
                    <a:pt x="94" y="10"/>
                    <a:pt x="87" y="12"/>
                  </a:cubicBezTo>
                  <a:cubicBezTo>
                    <a:pt x="79" y="13"/>
                    <a:pt x="71" y="14"/>
                    <a:pt x="62" y="14"/>
                  </a:cubicBezTo>
                  <a:cubicBezTo>
                    <a:pt x="53" y="14"/>
                    <a:pt x="45" y="13"/>
                    <a:pt x="37" y="12"/>
                  </a:cubicBezTo>
                  <a:cubicBezTo>
                    <a:pt x="30" y="11"/>
                    <a:pt x="23" y="9"/>
                    <a:pt x="17" y="7"/>
                  </a:cubicBezTo>
                  <a:cubicBezTo>
                    <a:pt x="12" y="6"/>
                    <a:pt x="7" y="4"/>
                    <a:pt x="4" y="3"/>
                  </a:cubicBezTo>
                  <a:cubicBezTo>
                    <a:pt x="2" y="2"/>
                    <a:pt x="0" y="1"/>
                    <a:pt x="0" y="1"/>
                  </a:cubicBezTo>
                  <a:cubicBezTo>
                    <a:pt x="0" y="0"/>
                    <a:pt x="7" y="3"/>
                    <a:pt x="18" y="6"/>
                  </a:cubicBezTo>
                  <a:cubicBezTo>
                    <a:pt x="23" y="8"/>
                    <a:pt x="30" y="9"/>
                    <a:pt x="38" y="10"/>
                  </a:cubicBezTo>
                  <a:cubicBezTo>
                    <a:pt x="45" y="11"/>
                    <a:pt x="53" y="12"/>
                    <a:pt x="62" y="12"/>
                  </a:cubicBezTo>
                  <a:cubicBezTo>
                    <a:pt x="71" y="12"/>
                    <a:pt x="79" y="11"/>
                    <a:pt x="87" y="10"/>
                  </a:cubicBezTo>
                  <a:cubicBezTo>
                    <a:pt x="94" y="9"/>
                    <a:pt x="101" y="7"/>
                    <a:pt x="106" y="6"/>
                  </a:cubicBezTo>
                  <a:cubicBezTo>
                    <a:pt x="117" y="2"/>
                    <a:pt x="124" y="0"/>
                    <a:pt x="12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5" name="椭圆 564">
              <a:extLst>
                <a:ext uri="{FF2B5EF4-FFF2-40B4-BE49-F238E27FC236}">
                  <a16:creationId xmlns:a16="http://schemas.microsoft.com/office/drawing/2014/main" id="{6326CDD0-92B5-4E4B-A820-163B9EEEC2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9713" y="1631951"/>
              <a:ext cx="4763" cy="19367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6" name="椭圆 565">
              <a:extLst>
                <a:ext uri="{FF2B5EF4-FFF2-40B4-BE49-F238E27FC236}">
                  <a16:creationId xmlns:a16="http://schemas.microsoft.com/office/drawing/2014/main" id="{883FC17C-AB50-432E-86B7-6A3206AE0E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13688" y="1631951"/>
              <a:ext cx="3175" cy="1952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7" name="椭圆 566">
              <a:extLst>
                <a:ext uri="{FF2B5EF4-FFF2-40B4-BE49-F238E27FC236}">
                  <a16:creationId xmlns:a16="http://schemas.microsoft.com/office/drawing/2014/main" id="{69D1539D-C815-48FA-9812-2601461A82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66076" y="1628776"/>
              <a:ext cx="4763" cy="196850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8" name="椭圆 567">
              <a:extLst>
                <a:ext uri="{FF2B5EF4-FFF2-40B4-BE49-F238E27FC236}">
                  <a16:creationId xmlns:a16="http://schemas.microsoft.com/office/drawing/2014/main" id="{7EBAEED6-C4EF-4936-88FB-32501DEF20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10526" y="1612901"/>
              <a:ext cx="4763" cy="21272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9" name="椭圆 568">
              <a:extLst>
                <a:ext uri="{FF2B5EF4-FFF2-40B4-BE49-F238E27FC236}">
                  <a16:creationId xmlns:a16="http://schemas.microsoft.com/office/drawing/2014/main" id="{BCEB5480-0256-4818-8639-9F9A63A039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0501" y="1612901"/>
              <a:ext cx="4763" cy="21272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0" name="椭圆 569">
              <a:extLst>
                <a:ext uri="{FF2B5EF4-FFF2-40B4-BE49-F238E27FC236}">
                  <a16:creationId xmlns:a16="http://schemas.microsoft.com/office/drawing/2014/main" id="{B9032966-4753-466B-8509-736F52C0C3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7213" y="1909763"/>
              <a:ext cx="1970088" cy="1970088"/>
            </a:xfrm>
            <a:prstGeom prst="ellipse">
              <a:avLst/>
            </a:pr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1" name="椭圆 570">
              <a:extLst>
                <a:ext uri="{FF2B5EF4-FFF2-40B4-BE49-F238E27FC236}">
                  <a16:creationId xmlns:a16="http://schemas.microsoft.com/office/drawing/2014/main" id="{58F9F184-962A-4DF2-82C0-81CA266255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64376" y="2058988"/>
              <a:ext cx="1655763" cy="1657350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2" name="任意多边形: 形状 571">
              <a:extLst>
                <a:ext uri="{FF2B5EF4-FFF2-40B4-BE49-F238E27FC236}">
                  <a16:creationId xmlns:a16="http://schemas.microsoft.com/office/drawing/2014/main" id="{E4B82CF7-3E96-43A2-ACD5-E0247C4B9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2788" y="2054226"/>
              <a:ext cx="1657350" cy="1665288"/>
            </a:xfrm>
            <a:custGeom>
              <a:avLst/>
              <a:gdLst>
                <a:gd name="T0" fmla="*/ 725 w 725"/>
                <a:gd name="T1" fmla="*/ 359 h 729"/>
                <a:gd name="T2" fmla="*/ 714 w 725"/>
                <a:gd name="T3" fmla="*/ 276 h 729"/>
                <a:gd name="T4" fmla="*/ 674 w 725"/>
                <a:gd name="T5" fmla="*/ 180 h 729"/>
                <a:gd name="T6" fmla="*/ 513 w 725"/>
                <a:gd name="T7" fmla="*/ 36 h 729"/>
                <a:gd name="T8" fmla="*/ 337 w 725"/>
                <a:gd name="T9" fmla="*/ 4 h 729"/>
                <a:gd name="T10" fmla="*/ 240 w 725"/>
                <a:gd name="T11" fmla="*/ 25 h 729"/>
                <a:gd name="T12" fmla="*/ 42 w 725"/>
                <a:gd name="T13" fmla="*/ 198 h 729"/>
                <a:gd name="T14" fmla="*/ 20 w 725"/>
                <a:gd name="T15" fmla="*/ 250 h 729"/>
                <a:gd name="T16" fmla="*/ 2 w 725"/>
                <a:gd name="T17" fmla="*/ 364 h 729"/>
                <a:gd name="T18" fmla="*/ 20 w 725"/>
                <a:gd name="T19" fmla="*/ 478 h 729"/>
                <a:gd name="T20" fmla="*/ 42 w 725"/>
                <a:gd name="T21" fmla="*/ 531 h 729"/>
                <a:gd name="T22" fmla="*/ 240 w 725"/>
                <a:gd name="T23" fmla="*/ 704 h 729"/>
                <a:gd name="T24" fmla="*/ 337 w 725"/>
                <a:gd name="T25" fmla="*/ 725 h 729"/>
                <a:gd name="T26" fmla="*/ 513 w 725"/>
                <a:gd name="T27" fmla="*/ 693 h 729"/>
                <a:gd name="T28" fmla="*/ 674 w 725"/>
                <a:gd name="T29" fmla="*/ 549 h 729"/>
                <a:gd name="T30" fmla="*/ 714 w 725"/>
                <a:gd name="T31" fmla="*/ 453 h 729"/>
                <a:gd name="T32" fmla="*/ 725 w 725"/>
                <a:gd name="T33" fmla="*/ 370 h 729"/>
                <a:gd name="T34" fmla="*/ 725 w 725"/>
                <a:gd name="T35" fmla="*/ 370 h 729"/>
                <a:gd name="T36" fmla="*/ 715 w 725"/>
                <a:gd name="T37" fmla="*/ 453 h 729"/>
                <a:gd name="T38" fmla="*/ 675 w 725"/>
                <a:gd name="T39" fmla="*/ 550 h 729"/>
                <a:gd name="T40" fmla="*/ 514 w 725"/>
                <a:gd name="T41" fmla="*/ 695 h 729"/>
                <a:gd name="T42" fmla="*/ 336 w 725"/>
                <a:gd name="T43" fmla="*/ 727 h 729"/>
                <a:gd name="T44" fmla="*/ 239 w 725"/>
                <a:gd name="T45" fmla="*/ 706 h 729"/>
                <a:gd name="T46" fmla="*/ 41 w 725"/>
                <a:gd name="T47" fmla="*/ 532 h 729"/>
                <a:gd name="T48" fmla="*/ 18 w 725"/>
                <a:gd name="T49" fmla="*/ 479 h 729"/>
                <a:gd name="T50" fmla="*/ 0 w 725"/>
                <a:gd name="T51" fmla="*/ 364 h 729"/>
                <a:gd name="T52" fmla="*/ 18 w 725"/>
                <a:gd name="T53" fmla="*/ 250 h 729"/>
                <a:gd name="T54" fmla="*/ 41 w 725"/>
                <a:gd name="T55" fmla="*/ 197 h 729"/>
                <a:gd name="T56" fmla="*/ 239 w 725"/>
                <a:gd name="T57" fmla="*/ 23 h 729"/>
                <a:gd name="T58" fmla="*/ 336 w 725"/>
                <a:gd name="T59" fmla="*/ 2 h 729"/>
                <a:gd name="T60" fmla="*/ 514 w 725"/>
                <a:gd name="T61" fmla="*/ 34 h 729"/>
                <a:gd name="T62" fmla="*/ 675 w 725"/>
                <a:gd name="T63" fmla="*/ 179 h 729"/>
                <a:gd name="T64" fmla="*/ 715 w 725"/>
                <a:gd name="T65" fmla="*/ 276 h 729"/>
                <a:gd name="T66" fmla="*/ 725 w 725"/>
                <a:gd name="T67" fmla="*/ 359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25" h="729">
                  <a:moveTo>
                    <a:pt x="725" y="364"/>
                  </a:moveTo>
                  <a:cubicBezTo>
                    <a:pt x="725" y="364"/>
                    <a:pt x="725" y="362"/>
                    <a:pt x="725" y="359"/>
                  </a:cubicBezTo>
                  <a:cubicBezTo>
                    <a:pt x="725" y="355"/>
                    <a:pt x="725" y="349"/>
                    <a:pt x="724" y="341"/>
                  </a:cubicBezTo>
                  <a:cubicBezTo>
                    <a:pt x="723" y="326"/>
                    <a:pt x="721" y="304"/>
                    <a:pt x="714" y="276"/>
                  </a:cubicBezTo>
                  <a:cubicBezTo>
                    <a:pt x="710" y="262"/>
                    <a:pt x="706" y="247"/>
                    <a:pt x="699" y="231"/>
                  </a:cubicBezTo>
                  <a:cubicBezTo>
                    <a:pt x="693" y="214"/>
                    <a:pt x="685" y="197"/>
                    <a:pt x="674" y="180"/>
                  </a:cubicBezTo>
                  <a:cubicBezTo>
                    <a:pt x="653" y="145"/>
                    <a:pt x="623" y="108"/>
                    <a:pt x="582" y="77"/>
                  </a:cubicBezTo>
                  <a:cubicBezTo>
                    <a:pt x="562" y="61"/>
                    <a:pt x="538" y="47"/>
                    <a:pt x="513" y="36"/>
                  </a:cubicBezTo>
                  <a:cubicBezTo>
                    <a:pt x="487" y="24"/>
                    <a:pt x="460" y="15"/>
                    <a:pt x="430" y="9"/>
                  </a:cubicBezTo>
                  <a:cubicBezTo>
                    <a:pt x="400" y="4"/>
                    <a:pt x="369" y="2"/>
                    <a:pt x="337" y="4"/>
                  </a:cubicBezTo>
                  <a:cubicBezTo>
                    <a:pt x="321" y="5"/>
                    <a:pt x="304" y="8"/>
                    <a:pt x="288" y="11"/>
                  </a:cubicBezTo>
                  <a:cubicBezTo>
                    <a:pt x="272" y="14"/>
                    <a:pt x="256" y="19"/>
                    <a:pt x="240" y="25"/>
                  </a:cubicBezTo>
                  <a:cubicBezTo>
                    <a:pt x="176" y="48"/>
                    <a:pt x="116" y="91"/>
                    <a:pt x="72" y="151"/>
                  </a:cubicBezTo>
                  <a:cubicBezTo>
                    <a:pt x="61" y="166"/>
                    <a:pt x="51" y="182"/>
                    <a:pt x="42" y="198"/>
                  </a:cubicBezTo>
                  <a:cubicBezTo>
                    <a:pt x="38" y="206"/>
                    <a:pt x="34" y="215"/>
                    <a:pt x="30" y="224"/>
                  </a:cubicBezTo>
                  <a:cubicBezTo>
                    <a:pt x="27" y="233"/>
                    <a:pt x="23" y="241"/>
                    <a:pt x="20" y="250"/>
                  </a:cubicBezTo>
                  <a:cubicBezTo>
                    <a:pt x="14" y="269"/>
                    <a:pt x="10" y="287"/>
                    <a:pt x="7" y="306"/>
                  </a:cubicBezTo>
                  <a:cubicBezTo>
                    <a:pt x="4" y="325"/>
                    <a:pt x="2" y="345"/>
                    <a:pt x="2" y="364"/>
                  </a:cubicBezTo>
                  <a:cubicBezTo>
                    <a:pt x="2" y="384"/>
                    <a:pt x="4" y="403"/>
                    <a:pt x="7" y="423"/>
                  </a:cubicBezTo>
                  <a:cubicBezTo>
                    <a:pt x="10" y="442"/>
                    <a:pt x="14" y="460"/>
                    <a:pt x="20" y="478"/>
                  </a:cubicBezTo>
                  <a:cubicBezTo>
                    <a:pt x="23" y="488"/>
                    <a:pt x="27" y="496"/>
                    <a:pt x="30" y="505"/>
                  </a:cubicBezTo>
                  <a:cubicBezTo>
                    <a:pt x="34" y="514"/>
                    <a:pt x="38" y="522"/>
                    <a:pt x="42" y="531"/>
                  </a:cubicBezTo>
                  <a:cubicBezTo>
                    <a:pt x="51" y="547"/>
                    <a:pt x="61" y="563"/>
                    <a:pt x="72" y="578"/>
                  </a:cubicBezTo>
                  <a:cubicBezTo>
                    <a:pt x="116" y="638"/>
                    <a:pt x="176" y="681"/>
                    <a:pt x="240" y="704"/>
                  </a:cubicBezTo>
                  <a:cubicBezTo>
                    <a:pt x="256" y="710"/>
                    <a:pt x="272" y="715"/>
                    <a:pt x="288" y="718"/>
                  </a:cubicBezTo>
                  <a:cubicBezTo>
                    <a:pt x="304" y="721"/>
                    <a:pt x="321" y="724"/>
                    <a:pt x="337" y="725"/>
                  </a:cubicBezTo>
                  <a:cubicBezTo>
                    <a:pt x="369" y="727"/>
                    <a:pt x="400" y="725"/>
                    <a:pt x="430" y="720"/>
                  </a:cubicBezTo>
                  <a:cubicBezTo>
                    <a:pt x="460" y="714"/>
                    <a:pt x="487" y="705"/>
                    <a:pt x="513" y="693"/>
                  </a:cubicBezTo>
                  <a:cubicBezTo>
                    <a:pt x="538" y="682"/>
                    <a:pt x="562" y="668"/>
                    <a:pt x="582" y="652"/>
                  </a:cubicBezTo>
                  <a:cubicBezTo>
                    <a:pt x="623" y="621"/>
                    <a:pt x="653" y="584"/>
                    <a:pt x="674" y="549"/>
                  </a:cubicBezTo>
                  <a:cubicBezTo>
                    <a:pt x="685" y="532"/>
                    <a:pt x="693" y="515"/>
                    <a:pt x="699" y="498"/>
                  </a:cubicBezTo>
                  <a:cubicBezTo>
                    <a:pt x="706" y="482"/>
                    <a:pt x="710" y="467"/>
                    <a:pt x="714" y="453"/>
                  </a:cubicBezTo>
                  <a:cubicBezTo>
                    <a:pt x="721" y="425"/>
                    <a:pt x="723" y="403"/>
                    <a:pt x="724" y="388"/>
                  </a:cubicBezTo>
                  <a:cubicBezTo>
                    <a:pt x="725" y="380"/>
                    <a:pt x="725" y="374"/>
                    <a:pt x="725" y="370"/>
                  </a:cubicBezTo>
                  <a:cubicBezTo>
                    <a:pt x="725" y="366"/>
                    <a:pt x="725" y="364"/>
                    <a:pt x="725" y="364"/>
                  </a:cubicBezTo>
                  <a:cubicBezTo>
                    <a:pt x="725" y="364"/>
                    <a:pt x="725" y="366"/>
                    <a:pt x="725" y="370"/>
                  </a:cubicBezTo>
                  <a:cubicBezTo>
                    <a:pt x="725" y="374"/>
                    <a:pt x="725" y="380"/>
                    <a:pt x="725" y="388"/>
                  </a:cubicBezTo>
                  <a:cubicBezTo>
                    <a:pt x="724" y="403"/>
                    <a:pt x="722" y="425"/>
                    <a:pt x="715" y="453"/>
                  </a:cubicBezTo>
                  <a:cubicBezTo>
                    <a:pt x="711" y="467"/>
                    <a:pt x="707" y="482"/>
                    <a:pt x="700" y="499"/>
                  </a:cubicBezTo>
                  <a:cubicBezTo>
                    <a:pt x="694" y="515"/>
                    <a:pt x="686" y="532"/>
                    <a:pt x="675" y="550"/>
                  </a:cubicBezTo>
                  <a:cubicBezTo>
                    <a:pt x="654" y="585"/>
                    <a:pt x="624" y="622"/>
                    <a:pt x="583" y="653"/>
                  </a:cubicBezTo>
                  <a:cubicBezTo>
                    <a:pt x="562" y="669"/>
                    <a:pt x="539" y="683"/>
                    <a:pt x="514" y="695"/>
                  </a:cubicBezTo>
                  <a:cubicBezTo>
                    <a:pt x="488" y="707"/>
                    <a:pt x="460" y="716"/>
                    <a:pt x="430" y="721"/>
                  </a:cubicBezTo>
                  <a:cubicBezTo>
                    <a:pt x="400" y="727"/>
                    <a:pt x="369" y="729"/>
                    <a:pt x="336" y="727"/>
                  </a:cubicBezTo>
                  <a:cubicBezTo>
                    <a:pt x="320" y="726"/>
                    <a:pt x="304" y="723"/>
                    <a:pt x="288" y="720"/>
                  </a:cubicBezTo>
                  <a:cubicBezTo>
                    <a:pt x="272" y="716"/>
                    <a:pt x="255" y="712"/>
                    <a:pt x="239" y="706"/>
                  </a:cubicBezTo>
                  <a:cubicBezTo>
                    <a:pt x="175" y="683"/>
                    <a:pt x="114" y="640"/>
                    <a:pt x="70" y="579"/>
                  </a:cubicBezTo>
                  <a:cubicBezTo>
                    <a:pt x="59" y="564"/>
                    <a:pt x="49" y="548"/>
                    <a:pt x="41" y="532"/>
                  </a:cubicBezTo>
                  <a:cubicBezTo>
                    <a:pt x="36" y="523"/>
                    <a:pt x="32" y="515"/>
                    <a:pt x="28" y="506"/>
                  </a:cubicBezTo>
                  <a:cubicBezTo>
                    <a:pt x="25" y="497"/>
                    <a:pt x="21" y="488"/>
                    <a:pt x="18" y="479"/>
                  </a:cubicBezTo>
                  <a:cubicBezTo>
                    <a:pt x="12" y="461"/>
                    <a:pt x="7" y="442"/>
                    <a:pt x="5" y="423"/>
                  </a:cubicBezTo>
                  <a:cubicBezTo>
                    <a:pt x="1" y="404"/>
                    <a:pt x="0" y="384"/>
                    <a:pt x="0" y="364"/>
                  </a:cubicBezTo>
                  <a:cubicBezTo>
                    <a:pt x="0" y="345"/>
                    <a:pt x="1" y="325"/>
                    <a:pt x="5" y="306"/>
                  </a:cubicBezTo>
                  <a:cubicBezTo>
                    <a:pt x="7" y="287"/>
                    <a:pt x="12" y="268"/>
                    <a:pt x="18" y="250"/>
                  </a:cubicBezTo>
                  <a:cubicBezTo>
                    <a:pt x="21" y="241"/>
                    <a:pt x="25" y="232"/>
                    <a:pt x="28" y="223"/>
                  </a:cubicBezTo>
                  <a:cubicBezTo>
                    <a:pt x="32" y="214"/>
                    <a:pt x="36" y="206"/>
                    <a:pt x="41" y="197"/>
                  </a:cubicBezTo>
                  <a:cubicBezTo>
                    <a:pt x="49" y="181"/>
                    <a:pt x="59" y="164"/>
                    <a:pt x="70" y="150"/>
                  </a:cubicBezTo>
                  <a:cubicBezTo>
                    <a:pt x="114" y="89"/>
                    <a:pt x="175" y="46"/>
                    <a:pt x="239" y="23"/>
                  </a:cubicBezTo>
                  <a:cubicBezTo>
                    <a:pt x="255" y="17"/>
                    <a:pt x="272" y="13"/>
                    <a:pt x="288" y="9"/>
                  </a:cubicBezTo>
                  <a:cubicBezTo>
                    <a:pt x="304" y="6"/>
                    <a:pt x="320" y="3"/>
                    <a:pt x="336" y="2"/>
                  </a:cubicBezTo>
                  <a:cubicBezTo>
                    <a:pt x="369" y="0"/>
                    <a:pt x="400" y="2"/>
                    <a:pt x="430" y="8"/>
                  </a:cubicBezTo>
                  <a:cubicBezTo>
                    <a:pt x="460" y="13"/>
                    <a:pt x="488" y="22"/>
                    <a:pt x="514" y="34"/>
                  </a:cubicBezTo>
                  <a:cubicBezTo>
                    <a:pt x="539" y="46"/>
                    <a:pt x="562" y="60"/>
                    <a:pt x="583" y="76"/>
                  </a:cubicBezTo>
                  <a:cubicBezTo>
                    <a:pt x="624" y="107"/>
                    <a:pt x="654" y="144"/>
                    <a:pt x="675" y="179"/>
                  </a:cubicBezTo>
                  <a:cubicBezTo>
                    <a:pt x="685" y="197"/>
                    <a:pt x="694" y="214"/>
                    <a:pt x="700" y="230"/>
                  </a:cubicBezTo>
                  <a:cubicBezTo>
                    <a:pt x="707" y="246"/>
                    <a:pt x="711" y="262"/>
                    <a:pt x="715" y="276"/>
                  </a:cubicBezTo>
                  <a:cubicBezTo>
                    <a:pt x="722" y="304"/>
                    <a:pt x="724" y="326"/>
                    <a:pt x="725" y="341"/>
                  </a:cubicBezTo>
                  <a:cubicBezTo>
                    <a:pt x="725" y="349"/>
                    <a:pt x="725" y="355"/>
                    <a:pt x="725" y="359"/>
                  </a:cubicBezTo>
                  <a:cubicBezTo>
                    <a:pt x="725" y="362"/>
                    <a:pt x="725" y="364"/>
                    <a:pt x="725" y="364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3" name="任意多边形: 形状 572">
              <a:extLst>
                <a:ext uri="{FF2B5EF4-FFF2-40B4-BE49-F238E27FC236}">
                  <a16:creationId xmlns:a16="http://schemas.microsoft.com/office/drawing/2014/main" id="{26B6E4BE-4CB9-4FEF-9367-59CC1572D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0276" y="2847976"/>
              <a:ext cx="96838" cy="11113"/>
            </a:xfrm>
            <a:custGeom>
              <a:avLst/>
              <a:gdLst>
                <a:gd name="T0" fmla="*/ 21 w 42"/>
                <a:gd name="T1" fmla="*/ 4 h 5"/>
                <a:gd name="T2" fmla="*/ 0 w 42"/>
                <a:gd name="T3" fmla="*/ 3 h 5"/>
                <a:gd name="T4" fmla="*/ 21 w 42"/>
                <a:gd name="T5" fmla="*/ 0 h 5"/>
                <a:gd name="T6" fmla="*/ 42 w 42"/>
                <a:gd name="T7" fmla="*/ 1 h 5"/>
                <a:gd name="T8" fmla="*/ 21 w 42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5">
                  <a:moveTo>
                    <a:pt x="21" y="4"/>
                  </a:moveTo>
                  <a:cubicBezTo>
                    <a:pt x="10" y="5"/>
                    <a:pt x="0" y="4"/>
                    <a:pt x="0" y="3"/>
                  </a:cubicBezTo>
                  <a:cubicBezTo>
                    <a:pt x="0" y="2"/>
                    <a:pt x="9" y="1"/>
                    <a:pt x="21" y="0"/>
                  </a:cubicBezTo>
                  <a:cubicBezTo>
                    <a:pt x="32" y="0"/>
                    <a:pt x="42" y="0"/>
                    <a:pt x="42" y="1"/>
                  </a:cubicBezTo>
                  <a:cubicBezTo>
                    <a:pt x="42" y="2"/>
                    <a:pt x="33" y="4"/>
                    <a:pt x="21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4" name="任意多边形: 形状 573">
              <a:extLst>
                <a:ext uri="{FF2B5EF4-FFF2-40B4-BE49-F238E27FC236}">
                  <a16:creationId xmlns:a16="http://schemas.microsoft.com/office/drawing/2014/main" id="{54D272DC-B572-45AD-BFB1-F7E631262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4401" y="3030538"/>
              <a:ext cx="93663" cy="26988"/>
            </a:xfrm>
            <a:custGeom>
              <a:avLst/>
              <a:gdLst>
                <a:gd name="T0" fmla="*/ 20 w 41"/>
                <a:gd name="T1" fmla="*/ 8 h 12"/>
                <a:gd name="T2" fmla="*/ 1 w 41"/>
                <a:gd name="T3" fmla="*/ 1 h 12"/>
                <a:gd name="T4" fmla="*/ 21 w 41"/>
                <a:gd name="T5" fmla="*/ 4 h 12"/>
                <a:gd name="T6" fmla="*/ 41 w 41"/>
                <a:gd name="T7" fmla="*/ 10 h 12"/>
                <a:gd name="T8" fmla="*/ 20 w 41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2">
                  <a:moveTo>
                    <a:pt x="20" y="8"/>
                  </a:moveTo>
                  <a:cubicBezTo>
                    <a:pt x="9" y="5"/>
                    <a:pt x="0" y="2"/>
                    <a:pt x="1" y="1"/>
                  </a:cubicBezTo>
                  <a:cubicBezTo>
                    <a:pt x="1" y="0"/>
                    <a:pt x="10" y="1"/>
                    <a:pt x="21" y="4"/>
                  </a:cubicBezTo>
                  <a:cubicBezTo>
                    <a:pt x="33" y="6"/>
                    <a:pt x="41" y="9"/>
                    <a:pt x="41" y="10"/>
                  </a:cubicBezTo>
                  <a:cubicBezTo>
                    <a:pt x="41" y="12"/>
                    <a:pt x="32" y="10"/>
                    <a:pt x="20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5" name="任意多边形: 形状 574">
              <a:extLst>
                <a:ext uri="{FF2B5EF4-FFF2-40B4-BE49-F238E27FC236}">
                  <a16:creationId xmlns:a16="http://schemas.microsoft.com/office/drawing/2014/main" id="{8902F8C7-20F8-476B-BC4D-98CF65E3B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2488" y="3197226"/>
              <a:ext cx="85725" cy="49213"/>
            </a:xfrm>
            <a:custGeom>
              <a:avLst/>
              <a:gdLst>
                <a:gd name="T0" fmla="*/ 18 w 37"/>
                <a:gd name="T1" fmla="*/ 13 h 22"/>
                <a:gd name="T2" fmla="*/ 0 w 37"/>
                <a:gd name="T3" fmla="*/ 1 h 22"/>
                <a:gd name="T4" fmla="*/ 19 w 37"/>
                <a:gd name="T5" fmla="*/ 9 h 22"/>
                <a:gd name="T6" fmla="*/ 37 w 37"/>
                <a:gd name="T7" fmla="*/ 21 h 22"/>
                <a:gd name="T8" fmla="*/ 18 w 37"/>
                <a:gd name="T9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18" y="13"/>
                  </a:moveTo>
                  <a:cubicBezTo>
                    <a:pt x="7" y="7"/>
                    <a:pt x="0" y="2"/>
                    <a:pt x="0" y="1"/>
                  </a:cubicBezTo>
                  <a:cubicBezTo>
                    <a:pt x="1" y="0"/>
                    <a:pt x="9" y="4"/>
                    <a:pt x="19" y="9"/>
                  </a:cubicBezTo>
                  <a:cubicBezTo>
                    <a:pt x="30" y="15"/>
                    <a:pt x="37" y="20"/>
                    <a:pt x="37" y="21"/>
                  </a:cubicBezTo>
                  <a:cubicBezTo>
                    <a:pt x="36" y="22"/>
                    <a:pt x="28" y="18"/>
                    <a:pt x="18" y="1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6" name="任意多边形: 形状 575">
              <a:extLst>
                <a:ext uri="{FF2B5EF4-FFF2-40B4-BE49-F238E27FC236}">
                  <a16:creationId xmlns:a16="http://schemas.microsoft.com/office/drawing/2014/main" id="{013BB5C6-C9BF-498E-A353-D97C705C6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126" y="3343276"/>
              <a:ext cx="73025" cy="68263"/>
            </a:xfrm>
            <a:custGeom>
              <a:avLst/>
              <a:gdLst>
                <a:gd name="T0" fmla="*/ 15 w 32"/>
                <a:gd name="T1" fmla="*/ 16 h 30"/>
                <a:gd name="T2" fmla="*/ 1 w 32"/>
                <a:gd name="T3" fmla="*/ 0 h 30"/>
                <a:gd name="T4" fmla="*/ 18 w 32"/>
                <a:gd name="T5" fmla="*/ 13 h 30"/>
                <a:gd name="T6" fmla="*/ 31 w 32"/>
                <a:gd name="T7" fmla="*/ 29 h 30"/>
                <a:gd name="T8" fmla="*/ 15 w 32"/>
                <a:gd name="T9" fmla="*/ 1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0">
                  <a:moveTo>
                    <a:pt x="15" y="16"/>
                  </a:moveTo>
                  <a:cubicBezTo>
                    <a:pt x="7" y="8"/>
                    <a:pt x="0" y="1"/>
                    <a:pt x="1" y="0"/>
                  </a:cubicBezTo>
                  <a:cubicBezTo>
                    <a:pt x="2" y="0"/>
                    <a:pt x="9" y="6"/>
                    <a:pt x="18" y="13"/>
                  </a:cubicBezTo>
                  <a:cubicBezTo>
                    <a:pt x="26" y="21"/>
                    <a:pt x="32" y="28"/>
                    <a:pt x="31" y="29"/>
                  </a:cubicBezTo>
                  <a:cubicBezTo>
                    <a:pt x="30" y="30"/>
                    <a:pt x="23" y="24"/>
                    <a:pt x="15" y="1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7" name="任意多边形: 形状 576">
              <a:extLst>
                <a:ext uri="{FF2B5EF4-FFF2-40B4-BE49-F238E27FC236}">
                  <a16:creationId xmlns:a16="http://schemas.microsoft.com/office/drawing/2014/main" id="{DF836232-8AA1-4ECB-8310-D34CCEA2E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6426" y="3452813"/>
              <a:ext cx="52388" cy="84138"/>
            </a:xfrm>
            <a:custGeom>
              <a:avLst/>
              <a:gdLst>
                <a:gd name="T0" fmla="*/ 10 w 23"/>
                <a:gd name="T1" fmla="*/ 20 h 37"/>
                <a:gd name="T2" fmla="*/ 1 w 23"/>
                <a:gd name="T3" fmla="*/ 1 h 37"/>
                <a:gd name="T4" fmla="*/ 13 w 23"/>
                <a:gd name="T5" fmla="*/ 18 h 37"/>
                <a:gd name="T6" fmla="*/ 22 w 23"/>
                <a:gd name="T7" fmla="*/ 37 h 37"/>
                <a:gd name="T8" fmla="*/ 10 w 23"/>
                <a:gd name="T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37">
                  <a:moveTo>
                    <a:pt x="10" y="20"/>
                  </a:moveTo>
                  <a:cubicBezTo>
                    <a:pt x="4" y="10"/>
                    <a:pt x="0" y="1"/>
                    <a:pt x="1" y="1"/>
                  </a:cubicBezTo>
                  <a:cubicBezTo>
                    <a:pt x="2" y="0"/>
                    <a:pt x="7" y="8"/>
                    <a:pt x="13" y="18"/>
                  </a:cubicBezTo>
                  <a:cubicBezTo>
                    <a:pt x="19" y="28"/>
                    <a:pt x="23" y="36"/>
                    <a:pt x="22" y="37"/>
                  </a:cubicBezTo>
                  <a:cubicBezTo>
                    <a:pt x="21" y="37"/>
                    <a:pt x="16" y="30"/>
                    <a:pt x="10" y="2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8" name="任意多边形: 形状 577">
              <a:extLst>
                <a:ext uri="{FF2B5EF4-FFF2-40B4-BE49-F238E27FC236}">
                  <a16:creationId xmlns:a16="http://schemas.microsoft.com/office/drawing/2014/main" id="{B01B4EE6-CE04-4592-AFAB-BD3A39381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1326" y="3524251"/>
              <a:ext cx="30163" cy="93663"/>
            </a:xfrm>
            <a:custGeom>
              <a:avLst/>
              <a:gdLst>
                <a:gd name="T0" fmla="*/ 4 w 13"/>
                <a:gd name="T1" fmla="*/ 21 h 41"/>
                <a:gd name="T2" fmla="*/ 1 w 13"/>
                <a:gd name="T3" fmla="*/ 0 h 41"/>
                <a:gd name="T4" fmla="*/ 8 w 13"/>
                <a:gd name="T5" fmla="*/ 20 h 41"/>
                <a:gd name="T6" fmla="*/ 12 w 13"/>
                <a:gd name="T7" fmla="*/ 40 h 41"/>
                <a:gd name="T8" fmla="*/ 4 w 13"/>
                <a:gd name="T9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1">
                  <a:moveTo>
                    <a:pt x="4" y="21"/>
                  </a:moveTo>
                  <a:cubicBezTo>
                    <a:pt x="1" y="10"/>
                    <a:pt x="0" y="0"/>
                    <a:pt x="1" y="0"/>
                  </a:cubicBezTo>
                  <a:cubicBezTo>
                    <a:pt x="2" y="0"/>
                    <a:pt x="5" y="9"/>
                    <a:pt x="8" y="20"/>
                  </a:cubicBezTo>
                  <a:cubicBezTo>
                    <a:pt x="11" y="31"/>
                    <a:pt x="13" y="40"/>
                    <a:pt x="12" y="40"/>
                  </a:cubicBezTo>
                  <a:cubicBezTo>
                    <a:pt x="11" y="41"/>
                    <a:pt x="7" y="32"/>
                    <a:pt x="4" y="2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9" name="椭圆 578">
              <a:extLst>
                <a:ext uri="{FF2B5EF4-FFF2-40B4-BE49-F238E27FC236}">
                  <a16:creationId xmlns:a16="http://schemas.microsoft.com/office/drawing/2014/main" id="{14FAC22C-5D11-4BFB-AC14-E8B3DD874F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80351" y="3546476"/>
              <a:ext cx="9525" cy="96838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0" name="任意多边形: 形状 579">
              <a:extLst>
                <a:ext uri="{FF2B5EF4-FFF2-40B4-BE49-F238E27FC236}">
                  <a16:creationId xmlns:a16="http://schemas.microsoft.com/office/drawing/2014/main" id="{BF1F7D45-1870-4769-9B28-4D005C730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0326" y="3521076"/>
              <a:ext cx="31750" cy="92075"/>
            </a:xfrm>
            <a:custGeom>
              <a:avLst/>
              <a:gdLst>
                <a:gd name="T0" fmla="*/ 5 w 14"/>
                <a:gd name="T1" fmla="*/ 19 h 40"/>
                <a:gd name="T2" fmla="*/ 13 w 14"/>
                <a:gd name="T3" fmla="*/ 0 h 40"/>
                <a:gd name="T4" fmla="*/ 9 w 14"/>
                <a:gd name="T5" fmla="*/ 20 h 40"/>
                <a:gd name="T6" fmla="*/ 2 w 14"/>
                <a:gd name="T7" fmla="*/ 40 h 40"/>
                <a:gd name="T8" fmla="*/ 5 w 14"/>
                <a:gd name="T9" fmla="*/ 1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0">
                  <a:moveTo>
                    <a:pt x="5" y="19"/>
                  </a:moveTo>
                  <a:cubicBezTo>
                    <a:pt x="9" y="8"/>
                    <a:pt x="12" y="0"/>
                    <a:pt x="13" y="0"/>
                  </a:cubicBezTo>
                  <a:cubicBezTo>
                    <a:pt x="14" y="0"/>
                    <a:pt x="12" y="9"/>
                    <a:pt x="9" y="20"/>
                  </a:cubicBezTo>
                  <a:cubicBezTo>
                    <a:pt x="6" y="31"/>
                    <a:pt x="3" y="40"/>
                    <a:pt x="2" y="40"/>
                  </a:cubicBezTo>
                  <a:cubicBezTo>
                    <a:pt x="0" y="40"/>
                    <a:pt x="2" y="30"/>
                    <a:pt x="5" y="1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1" name="任意多边形: 形状 580">
              <a:extLst>
                <a:ext uri="{FF2B5EF4-FFF2-40B4-BE49-F238E27FC236}">
                  <a16:creationId xmlns:a16="http://schemas.microsoft.com/office/drawing/2014/main" id="{EC743B0F-58E9-44C7-8A02-17D6AC743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4588" y="3448051"/>
              <a:ext cx="53975" cy="82550"/>
            </a:xfrm>
            <a:custGeom>
              <a:avLst/>
              <a:gdLst>
                <a:gd name="T0" fmla="*/ 10 w 24"/>
                <a:gd name="T1" fmla="*/ 17 h 36"/>
                <a:gd name="T2" fmla="*/ 23 w 24"/>
                <a:gd name="T3" fmla="*/ 0 h 36"/>
                <a:gd name="T4" fmla="*/ 13 w 24"/>
                <a:gd name="T5" fmla="*/ 19 h 36"/>
                <a:gd name="T6" fmla="*/ 1 w 24"/>
                <a:gd name="T7" fmla="*/ 36 h 36"/>
                <a:gd name="T8" fmla="*/ 10 w 24"/>
                <a:gd name="T9" fmla="*/ 1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6">
                  <a:moveTo>
                    <a:pt x="10" y="17"/>
                  </a:moveTo>
                  <a:cubicBezTo>
                    <a:pt x="16" y="7"/>
                    <a:pt x="22" y="0"/>
                    <a:pt x="23" y="0"/>
                  </a:cubicBezTo>
                  <a:cubicBezTo>
                    <a:pt x="24" y="1"/>
                    <a:pt x="19" y="9"/>
                    <a:pt x="13" y="19"/>
                  </a:cubicBezTo>
                  <a:cubicBezTo>
                    <a:pt x="7" y="29"/>
                    <a:pt x="2" y="36"/>
                    <a:pt x="1" y="36"/>
                  </a:cubicBezTo>
                  <a:cubicBezTo>
                    <a:pt x="0" y="35"/>
                    <a:pt x="4" y="27"/>
                    <a:pt x="10" y="1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2" name="任意多边形: 形状 581">
              <a:extLst>
                <a:ext uri="{FF2B5EF4-FFF2-40B4-BE49-F238E27FC236}">
                  <a16:creationId xmlns:a16="http://schemas.microsoft.com/office/drawing/2014/main" id="{A235153F-D153-4EF1-90DB-5383B168C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7426" y="3333751"/>
              <a:ext cx="73025" cy="68263"/>
            </a:xfrm>
            <a:custGeom>
              <a:avLst/>
              <a:gdLst>
                <a:gd name="T0" fmla="*/ 15 w 32"/>
                <a:gd name="T1" fmla="*/ 13 h 30"/>
                <a:gd name="T2" fmla="*/ 31 w 32"/>
                <a:gd name="T3" fmla="*/ 1 h 30"/>
                <a:gd name="T4" fmla="*/ 17 w 32"/>
                <a:gd name="T5" fmla="*/ 16 h 30"/>
                <a:gd name="T6" fmla="*/ 1 w 32"/>
                <a:gd name="T7" fmla="*/ 29 h 30"/>
                <a:gd name="T8" fmla="*/ 15 w 32"/>
                <a:gd name="T9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0">
                  <a:moveTo>
                    <a:pt x="15" y="13"/>
                  </a:moveTo>
                  <a:cubicBezTo>
                    <a:pt x="23" y="5"/>
                    <a:pt x="31" y="0"/>
                    <a:pt x="31" y="1"/>
                  </a:cubicBezTo>
                  <a:cubicBezTo>
                    <a:pt x="32" y="1"/>
                    <a:pt x="26" y="8"/>
                    <a:pt x="17" y="16"/>
                  </a:cubicBezTo>
                  <a:cubicBezTo>
                    <a:pt x="9" y="24"/>
                    <a:pt x="2" y="30"/>
                    <a:pt x="1" y="29"/>
                  </a:cubicBezTo>
                  <a:cubicBezTo>
                    <a:pt x="0" y="28"/>
                    <a:pt x="6" y="21"/>
                    <a:pt x="15" y="1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3" name="任意多边形: 形状 582">
              <a:extLst>
                <a:ext uri="{FF2B5EF4-FFF2-40B4-BE49-F238E27FC236}">
                  <a16:creationId xmlns:a16="http://schemas.microsoft.com/office/drawing/2014/main" id="{5CD57995-9ED0-402D-AAF8-A709A94403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9951" y="3187701"/>
              <a:ext cx="87313" cy="47625"/>
            </a:xfrm>
            <a:custGeom>
              <a:avLst/>
              <a:gdLst>
                <a:gd name="T0" fmla="*/ 18 w 38"/>
                <a:gd name="T1" fmla="*/ 8 h 21"/>
                <a:gd name="T2" fmla="*/ 37 w 38"/>
                <a:gd name="T3" fmla="*/ 1 h 21"/>
                <a:gd name="T4" fmla="*/ 20 w 38"/>
                <a:gd name="T5" fmla="*/ 12 h 21"/>
                <a:gd name="T6" fmla="*/ 0 w 38"/>
                <a:gd name="T7" fmla="*/ 20 h 21"/>
                <a:gd name="T8" fmla="*/ 18 w 38"/>
                <a:gd name="T9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1">
                  <a:moveTo>
                    <a:pt x="18" y="8"/>
                  </a:moveTo>
                  <a:cubicBezTo>
                    <a:pt x="28" y="3"/>
                    <a:pt x="37" y="0"/>
                    <a:pt x="37" y="1"/>
                  </a:cubicBezTo>
                  <a:cubicBezTo>
                    <a:pt x="38" y="1"/>
                    <a:pt x="30" y="7"/>
                    <a:pt x="20" y="12"/>
                  </a:cubicBezTo>
                  <a:cubicBezTo>
                    <a:pt x="10" y="17"/>
                    <a:pt x="1" y="21"/>
                    <a:pt x="0" y="20"/>
                  </a:cubicBezTo>
                  <a:cubicBezTo>
                    <a:pt x="0" y="19"/>
                    <a:pt x="8" y="14"/>
                    <a:pt x="18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4" name="任意多边形: 形状 583">
              <a:extLst>
                <a:ext uri="{FF2B5EF4-FFF2-40B4-BE49-F238E27FC236}">
                  <a16:creationId xmlns:a16="http://schemas.microsoft.com/office/drawing/2014/main" id="{F4123AF4-8264-493D-AC65-A7DB161CC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688" y="3017838"/>
              <a:ext cx="95250" cy="25400"/>
            </a:xfrm>
            <a:custGeom>
              <a:avLst/>
              <a:gdLst>
                <a:gd name="T0" fmla="*/ 21 w 42"/>
                <a:gd name="T1" fmla="*/ 3 h 11"/>
                <a:gd name="T2" fmla="*/ 41 w 42"/>
                <a:gd name="T3" fmla="*/ 1 h 11"/>
                <a:gd name="T4" fmla="*/ 21 w 42"/>
                <a:gd name="T5" fmla="*/ 7 h 11"/>
                <a:gd name="T6" fmla="*/ 1 w 42"/>
                <a:gd name="T7" fmla="*/ 9 h 11"/>
                <a:gd name="T8" fmla="*/ 21 w 42"/>
                <a:gd name="T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1">
                  <a:moveTo>
                    <a:pt x="21" y="3"/>
                  </a:moveTo>
                  <a:cubicBezTo>
                    <a:pt x="32" y="1"/>
                    <a:pt x="41" y="0"/>
                    <a:pt x="41" y="1"/>
                  </a:cubicBezTo>
                  <a:cubicBezTo>
                    <a:pt x="42" y="2"/>
                    <a:pt x="33" y="5"/>
                    <a:pt x="21" y="7"/>
                  </a:cubicBezTo>
                  <a:cubicBezTo>
                    <a:pt x="10" y="10"/>
                    <a:pt x="1" y="11"/>
                    <a:pt x="1" y="9"/>
                  </a:cubicBezTo>
                  <a:cubicBezTo>
                    <a:pt x="0" y="8"/>
                    <a:pt x="9" y="5"/>
                    <a:pt x="21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5" name="任意多边形: 形状 584">
              <a:extLst>
                <a:ext uri="{FF2B5EF4-FFF2-40B4-BE49-F238E27FC236}">
                  <a16:creationId xmlns:a16="http://schemas.microsoft.com/office/drawing/2014/main" id="{446682FA-AA73-4B62-9135-BD7A01EFAC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401" y="2833688"/>
              <a:ext cx="96838" cy="11113"/>
            </a:xfrm>
            <a:custGeom>
              <a:avLst/>
              <a:gdLst>
                <a:gd name="T0" fmla="*/ 21 w 42"/>
                <a:gd name="T1" fmla="*/ 1 h 5"/>
                <a:gd name="T2" fmla="*/ 42 w 42"/>
                <a:gd name="T3" fmla="*/ 4 h 5"/>
                <a:gd name="T4" fmla="*/ 21 w 42"/>
                <a:gd name="T5" fmla="*/ 5 h 5"/>
                <a:gd name="T6" fmla="*/ 1 w 42"/>
                <a:gd name="T7" fmla="*/ 1 h 5"/>
                <a:gd name="T8" fmla="*/ 21 w 42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5">
                  <a:moveTo>
                    <a:pt x="21" y="1"/>
                  </a:moveTo>
                  <a:cubicBezTo>
                    <a:pt x="33" y="1"/>
                    <a:pt x="42" y="3"/>
                    <a:pt x="42" y="4"/>
                  </a:cubicBezTo>
                  <a:cubicBezTo>
                    <a:pt x="42" y="5"/>
                    <a:pt x="33" y="5"/>
                    <a:pt x="21" y="5"/>
                  </a:cubicBezTo>
                  <a:cubicBezTo>
                    <a:pt x="10" y="4"/>
                    <a:pt x="0" y="2"/>
                    <a:pt x="1" y="1"/>
                  </a:cubicBezTo>
                  <a:cubicBezTo>
                    <a:pt x="1" y="0"/>
                    <a:pt x="10" y="0"/>
                    <a:pt x="2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6" name="任意多边形: 形状 585">
              <a:extLst>
                <a:ext uri="{FF2B5EF4-FFF2-40B4-BE49-F238E27FC236}">
                  <a16:creationId xmlns:a16="http://schemas.microsoft.com/office/drawing/2014/main" id="{E2E615AB-3685-4100-9E8C-05064CF5A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8676" y="2632076"/>
              <a:ext cx="92075" cy="36513"/>
            </a:xfrm>
            <a:custGeom>
              <a:avLst/>
              <a:gdLst>
                <a:gd name="T0" fmla="*/ 21 w 40"/>
                <a:gd name="T1" fmla="*/ 7 h 16"/>
                <a:gd name="T2" fmla="*/ 40 w 40"/>
                <a:gd name="T3" fmla="*/ 15 h 16"/>
                <a:gd name="T4" fmla="*/ 20 w 40"/>
                <a:gd name="T5" fmla="*/ 10 h 16"/>
                <a:gd name="T6" fmla="*/ 1 w 40"/>
                <a:gd name="T7" fmla="*/ 2 h 16"/>
                <a:gd name="T8" fmla="*/ 21 w 40"/>
                <a:gd name="T9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6">
                  <a:moveTo>
                    <a:pt x="21" y="7"/>
                  </a:moveTo>
                  <a:cubicBezTo>
                    <a:pt x="32" y="11"/>
                    <a:pt x="40" y="15"/>
                    <a:pt x="40" y="15"/>
                  </a:cubicBezTo>
                  <a:cubicBezTo>
                    <a:pt x="40" y="16"/>
                    <a:pt x="30" y="14"/>
                    <a:pt x="20" y="10"/>
                  </a:cubicBezTo>
                  <a:cubicBezTo>
                    <a:pt x="9" y="7"/>
                    <a:pt x="0" y="3"/>
                    <a:pt x="1" y="2"/>
                  </a:cubicBezTo>
                  <a:cubicBezTo>
                    <a:pt x="1" y="0"/>
                    <a:pt x="10" y="3"/>
                    <a:pt x="21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7" name="任意多边形: 形状 586">
              <a:extLst>
                <a:ext uri="{FF2B5EF4-FFF2-40B4-BE49-F238E27FC236}">
                  <a16:creationId xmlns:a16="http://schemas.microsoft.com/office/drawing/2014/main" id="{E50EB68E-A500-4CAA-A1EF-AA36A13E4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2338" y="2451101"/>
              <a:ext cx="80963" cy="60325"/>
            </a:xfrm>
            <a:custGeom>
              <a:avLst/>
              <a:gdLst>
                <a:gd name="T0" fmla="*/ 19 w 35"/>
                <a:gd name="T1" fmla="*/ 11 h 26"/>
                <a:gd name="T2" fmla="*/ 35 w 35"/>
                <a:gd name="T3" fmla="*/ 25 h 26"/>
                <a:gd name="T4" fmla="*/ 16 w 35"/>
                <a:gd name="T5" fmla="*/ 15 h 26"/>
                <a:gd name="T6" fmla="*/ 1 w 35"/>
                <a:gd name="T7" fmla="*/ 1 h 26"/>
                <a:gd name="T8" fmla="*/ 19 w 35"/>
                <a:gd name="T9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6">
                  <a:moveTo>
                    <a:pt x="19" y="11"/>
                  </a:moveTo>
                  <a:cubicBezTo>
                    <a:pt x="28" y="18"/>
                    <a:pt x="35" y="24"/>
                    <a:pt x="35" y="25"/>
                  </a:cubicBezTo>
                  <a:cubicBezTo>
                    <a:pt x="34" y="26"/>
                    <a:pt x="26" y="21"/>
                    <a:pt x="16" y="15"/>
                  </a:cubicBezTo>
                  <a:cubicBezTo>
                    <a:pt x="7" y="8"/>
                    <a:pt x="0" y="2"/>
                    <a:pt x="1" y="1"/>
                  </a:cubicBezTo>
                  <a:cubicBezTo>
                    <a:pt x="1" y="0"/>
                    <a:pt x="9" y="5"/>
                    <a:pt x="19" y="1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8" name="任意多边形: 形状 587">
              <a:extLst>
                <a:ext uri="{FF2B5EF4-FFF2-40B4-BE49-F238E27FC236}">
                  <a16:creationId xmlns:a16="http://schemas.microsoft.com/office/drawing/2014/main" id="{66C7B108-7E69-47B7-96A4-37A417788E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0451" y="2303463"/>
              <a:ext cx="63500" cy="74613"/>
            </a:xfrm>
            <a:custGeom>
              <a:avLst/>
              <a:gdLst>
                <a:gd name="T0" fmla="*/ 16 w 28"/>
                <a:gd name="T1" fmla="*/ 15 h 33"/>
                <a:gd name="T2" fmla="*/ 28 w 28"/>
                <a:gd name="T3" fmla="*/ 33 h 33"/>
                <a:gd name="T4" fmla="*/ 13 w 28"/>
                <a:gd name="T5" fmla="*/ 18 h 33"/>
                <a:gd name="T6" fmla="*/ 1 w 28"/>
                <a:gd name="T7" fmla="*/ 1 h 33"/>
                <a:gd name="T8" fmla="*/ 16 w 28"/>
                <a:gd name="T9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3">
                  <a:moveTo>
                    <a:pt x="16" y="15"/>
                  </a:moveTo>
                  <a:cubicBezTo>
                    <a:pt x="23" y="24"/>
                    <a:pt x="28" y="32"/>
                    <a:pt x="28" y="33"/>
                  </a:cubicBezTo>
                  <a:cubicBezTo>
                    <a:pt x="27" y="33"/>
                    <a:pt x="20" y="27"/>
                    <a:pt x="13" y="18"/>
                  </a:cubicBezTo>
                  <a:cubicBezTo>
                    <a:pt x="5" y="9"/>
                    <a:pt x="0" y="1"/>
                    <a:pt x="1" y="1"/>
                  </a:cubicBezTo>
                  <a:cubicBezTo>
                    <a:pt x="2" y="0"/>
                    <a:pt x="9" y="6"/>
                    <a:pt x="16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9" name="任意多边形: 形状 588">
              <a:extLst>
                <a:ext uri="{FF2B5EF4-FFF2-40B4-BE49-F238E27FC236}">
                  <a16:creationId xmlns:a16="http://schemas.microsoft.com/office/drawing/2014/main" id="{03F89B83-AD2A-4D1B-BF0D-5C26385E1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3488" y="2195513"/>
              <a:ext cx="42863" cy="88900"/>
            </a:xfrm>
            <a:custGeom>
              <a:avLst/>
              <a:gdLst>
                <a:gd name="T0" fmla="*/ 11 w 19"/>
                <a:gd name="T1" fmla="*/ 19 h 39"/>
                <a:gd name="T2" fmla="*/ 18 w 19"/>
                <a:gd name="T3" fmla="*/ 39 h 39"/>
                <a:gd name="T4" fmla="*/ 8 w 19"/>
                <a:gd name="T5" fmla="*/ 20 h 39"/>
                <a:gd name="T6" fmla="*/ 1 w 19"/>
                <a:gd name="T7" fmla="*/ 1 h 39"/>
                <a:gd name="T8" fmla="*/ 11 w 19"/>
                <a:gd name="T9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39">
                  <a:moveTo>
                    <a:pt x="11" y="19"/>
                  </a:moveTo>
                  <a:cubicBezTo>
                    <a:pt x="16" y="29"/>
                    <a:pt x="19" y="38"/>
                    <a:pt x="18" y="39"/>
                  </a:cubicBezTo>
                  <a:cubicBezTo>
                    <a:pt x="17" y="39"/>
                    <a:pt x="13" y="31"/>
                    <a:pt x="8" y="20"/>
                  </a:cubicBezTo>
                  <a:cubicBezTo>
                    <a:pt x="3" y="10"/>
                    <a:pt x="0" y="1"/>
                    <a:pt x="1" y="1"/>
                  </a:cubicBezTo>
                  <a:cubicBezTo>
                    <a:pt x="2" y="0"/>
                    <a:pt x="7" y="8"/>
                    <a:pt x="11" y="1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0" name="任意多边形: 形状 589">
              <a:extLst>
                <a:ext uri="{FF2B5EF4-FFF2-40B4-BE49-F238E27FC236}">
                  <a16:creationId xmlns:a16="http://schemas.microsoft.com/office/drawing/2014/main" id="{4551CB99-6F4E-42AF-85A7-7F875AF63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0338" y="2141538"/>
              <a:ext cx="17463" cy="93663"/>
            </a:xfrm>
            <a:custGeom>
              <a:avLst/>
              <a:gdLst>
                <a:gd name="T0" fmla="*/ 6 w 8"/>
                <a:gd name="T1" fmla="*/ 20 h 41"/>
                <a:gd name="T2" fmla="*/ 7 w 8"/>
                <a:gd name="T3" fmla="*/ 41 h 41"/>
                <a:gd name="T4" fmla="*/ 2 w 8"/>
                <a:gd name="T5" fmla="*/ 21 h 41"/>
                <a:gd name="T6" fmla="*/ 1 w 8"/>
                <a:gd name="T7" fmla="*/ 0 h 41"/>
                <a:gd name="T8" fmla="*/ 6 w 8"/>
                <a:gd name="T9" fmla="*/ 2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1">
                  <a:moveTo>
                    <a:pt x="6" y="20"/>
                  </a:moveTo>
                  <a:cubicBezTo>
                    <a:pt x="8" y="31"/>
                    <a:pt x="8" y="41"/>
                    <a:pt x="7" y="41"/>
                  </a:cubicBezTo>
                  <a:cubicBezTo>
                    <a:pt x="6" y="41"/>
                    <a:pt x="4" y="32"/>
                    <a:pt x="2" y="21"/>
                  </a:cubicBezTo>
                  <a:cubicBezTo>
                    <a:pt x="0" y="9"/>
                    <a:pt x="0" y="0"/>
                    <a:pt x="1" y="0"/>
                  </a:cubicBezTo>
                  <a:cubicBezTo>
                    <a:pt x="2" y="0"/>
                    <a:pt x="5" y="9"/>
                    <a:pt x="6" y="2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1" name="任意多边形: 形状 590">
              <a:extLst>
                <a:ext uri="{FF2B5EF4-FFF2-40B4-BE49-F238E27FC236}">
                  <a16:creationId xmlns:a16="http://schemas.microsoft.com/office/drawing/2014/main" id="{F4529ACD-7520-4057-8D66-C8141CD3B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2426" y="2138363"/>
              <a:ext cx="17463" cy="93663"/>
            </a:xfrm>
            <a:custGeom>
              <a:avLst/>
              <a:gdLst>
                <a:gd name="T0" fmla="*/ 6 w 8"/>
                <a:gd name="T1" fmla="*/ 21 h 41"/>
                <a:gd name="T2" fmla="*/ 1 w 8"/>
                <a:gd name="T3" fmla="*/ 41 h 41"/>
                <a:gd name="T4" fmla="*/ 2 w 8"/>
                <a:gd name="T5" fmla="*/ 20 h 41"/>
                <a:gd name="T6" fmla="*/ 6 w 8"/>
                <a:gd name="T7" fmla="*/ 0 h 41"/>
                <a:gd name="T8" fmla="*/ 6 w 8"/>
                <a:gd name="T9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1">
                  <a:moveTo>
                    <a:pt x="6" y="21"/>
                  </a:moveTo>
                  <a:cubicBezTo>
                    <a:pt x="4" y="32"/>
                    <a:pt x="2" y="41"/>
                    <a:pt x="1" y="41"/>
                  </a:cubicBezTo>
                  <a:cubicBezTo>
                    <a:pt x="0" y="41"/>
                    <a:pt x="1" y="32"/>
                    <a:pt x="2" y="20"/>
                  </a:cubicBezTo>
                  <a:cubicBezTo>
                    <a:pt x="3" y="9"/>
                    <a:pt x="5" y="0"/>
                    <a:pt x="6" y="0"/>
                  </a:cubicBezTo>
                  <a:cubicBezTo>
                    <a:pt x="8" y="0"/>
                    <a:pt x="7" y="9"/>
                    <a:pt x="6" y="2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2" name="任意多边形: 形状 591">
              <a:extLst>
                <a:ext uri="{FF2B5EF4-FFF2-40B4-BE49-F238E27FC236}">
                  <a16:creationId xmlns:a16="http://schemas.microsoft.com/office/drawing/2014/main" id="{CB814AB8-6267-4C7F-8B0D-51088B145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463" y="2189163"/>
              <a:ext cx="41275" cy="90488"/>
            </a:xfrm>
            <a:custGeom>
              <a:avLst/>
              <a:gdLst>
                <a:gd name="T0" fmla="*/ 11 w 18"/>
                <a:gd name="T1" fmla="*/ 21 h 40"/>
                <a:gd name="T2" fmla="*/ 1 w 18"/>
                <a:gd name="T3" fmla="*/ 39 h 40"/>
                <a:gd name="T4" fmla="*/ 7 w 18"/>
                <a:gd name="T5" fmla="*/ 19 h 40"/>
                <a:gd name="T6" fmla="*/ 17 w 18"/>
                <a:gd name="T7" fmla="*/ 1 h 40"/>
                <a:gd name="T8" fmla="*/ 11 w 18"/>
                <a:gd name="T9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40">
                  <a:moveTo>
                    <a:pt x="11" y="21"/>
                  </a:moveTo>
                  <a:cubicBezTo>
                    <a:pt x="6" y="31"/>
                    <a:pt x="2" y="40"/>
                    <a:pt x="1" y="39"/>
                  </a:cubicBezTo>
                  <a:cubicBezTo>
                    <a:pt x="0" y="39"/>
                    <a:pt x="3" y="30"/>
                    <a:pt x="7" y="19"/>
                  </a:cubicBezTo>
                  <a:cubicBezTo>
                    <a:pt x="11" y="9"/>
                    <a:pt x="16" y="0"/>
                    <a:pt x="17" y="1"/>
                  </a:cubicBezTo>
                  <a:cubicBezTo>
                    <a:pt x="18" y="1"/>
                    <a:pt x="15" y="10"/>
                    <a:pt x="11" y="2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3" name="任意多边形: 形状 592">
              <a:extLst>
                <a:ext uri="{FF2B5EF4-FFF2-40B4-BE49-F238E27FC236}">
                  <a16:creationId xmlns:a16="http://schemas.microsoft.com/office/drawing/2014/main" id="{39A6C089-8B96-41F2-972E-41C2988D4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9451" y="2293938"/>
              <a:ext cx="63500" cy="77788"/>
            </a:xfrm>
            <a:custGeom>
              <a:avLst/>
              <a:gdLst>
                <a:gd name="T0" fmla="*/ 15 w 28"/>
                <a:gd name="T1" fmla="*/ 18 h 34"/>
                <a:gd name="T2" fmla="*/ 1 w 28"/>
                <a:gd name="T3" fmla="*/ 33 h 34"/>
                <a:gd name="T4" fmla="*/ 12 w 28"/>
                <a:gd name="T5" fmla="*/ 16 h 34"/>
                <a:gd name="T6" fmla="*/ 27 w 28"/>
                <a:gd name="T7" fmla="*/ 0 h 34"/>
                <a:gd name="T8" fmla="*/ 15 w 28"/>
                <a:gd name="T9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4">
                  <a:moveTo>
                    <a:pt x="15" y="18"/>
                  </a:moveTo>
                  <a:cubicBezTo>
                    <a:pt x="8" y="27"/>
                    <a:pt x="2" y="34"/>
                    <a:pt x="1" y="33"/>
                  </a:cubicBezTo>
                  <a:cubicBezTo>
                    <a:pt x="0" y="32"/>
                    <a:pt x="5" y="25"/>
                    <a:pt x="12" y="16"/>
                  </a:cubicBezTo>
                  <a:cubicBezTo>
                    <a:pt x="19" y="6"/>
                    <a:pt x="26" y="0"/>
                    <a:pt x="27" y="0"/>
                  </a:cubicBezTo>
                  <a:cubicBezTo>
                    <a:pt x="28" y="1"/>
                    <a:pt x="23" y="9"/>
                    <a:pt x="15" y="1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4" name="任意多边形: 形状 593">
              <a:extLst>
                <a:ext uri="{FF2B5EF4-FFF2-40B4-BE49-F238E27FC236}">
                  <a16:creationId xmlns:a16="http://schemas.microsoft.com/office/drawing/2014/main" id="{DDEFFC1F-5225-40A3-9281-6DDB20F23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4863" y="2439988"/>
              <a:ext cx="80963" cy="60325"/>
            </a:xfrm>
            <a:custGeom>
              <a:avLst/>
              <a:gdLst>
                <a:gd name="T0" fmla="*/ 18 w 35"/>
                <a:gd name="T1" fmla="*/ 15 h 26"/>
                <a:gd name="T2" fmla="*/ 0 w 35"/>
                <a:gd name="T3" fmla="*/ 25 h 26"/>
                <a:gd name="T4" fmla="*/ 16 w 35"/>
                <a:gd name="T5" fmla="*/ 11 h 26"/>
                <a:gd name="T6" fmla="*/ 34 w 35"/>
                <a:gd name="T7" fmla="*/ 1 h 26"/>
                <a:gd name="T8" fmla="*/ 18 w 35"/>
                <a:gd name="T9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6">
                  <a:moveTo>
                    <a:pt x="18" y="15"/>
                  </a:moveTo>
                  <a:cubicBezTo>
                    <a:pt x="9" y="21"/>
                    <a:pt x="1" y="26"/>
                    <a:pt x="0" y="25"/>
                  </a:cubicBezTo>
                  <a:cubicBezTo>
                    <a:pt x="0" y="25"/>
                    <a:pt x="7" y="18"/>
                    <a:pt x="16" y="11"/>
                  </a:cubicBezTo>
                  <a:cubicBezTo>
                    <a:pt x="25" y="5"/>
                    <a:pt x="33" y="0"/>
                    <a:pt x="34" y="1"/>
                  </a:cubicBezTo>
                  <a:cubicBezTo>
                    <a:pt x="35" y="2"/>
                    <a:pt x="28" y="8"/>
                    <a:pt x="18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5" name="任意多边形: 形状 594">
              <a:extLst>
                <a:ext uri="{FF2B5EF4-FFF2-40B4-BE49-F238E27FC236}">
                  <a16:creationId xmlns:a16="http://schemas.microsoft.com/office/drawing/2014/main" id="{124B3770-14F8-48F5-A230-A3A1BC2B9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9001" y="2619376"/>
              <a:ext cx="92075" cy="38100"/>
            </a:xfrm>
            <a:custGeom>
              <a:avLst/>
              <a:gdLst>
                <a:gd name="T0" fmla="*/ 21 w 40"/>
                <a:gd name="T1" fmla="*/ 11 h 17"/>
                <a:gd name="T2" fmla="*/ 0 w 40"/>
                <a:gd name="T3" fmla="*/ 16 h 17"/>
                <a:gd name="T4" fmla="*/ 19 w 40"/>
                <a:gd name="T5" fmla="*/ 7 h 17"/>
                <a:gd name="T6" fmla="*/ 39 w 40"/>
                <a:gd name="T7" fmla="*/ 1 h 17"/>
                <a:gd name="T8" fmla="*/ 21 w 40"/>
                <a:gd name="T9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7">
                  <a:moveTo>
                    <a:pt x="21" y="11"/>
                  </a:moveTo>
                  <a:cubicBezTo>
                    <a:pt x="10" y="15"/>
                    <a:pt x="1" y="17"/>
                    <a:pt x="0" y="16"/>
                  </a:cubicBezTo>
                  <a:cubicBezTo>
                    <a:pt x="0" y="15"/>
                    <a:pt x="8" y="11"/>
                    <a:pt x="19" y="7"/>
                  </a:cubicBezTo>
                  <a:cubicBezTo>
                    <a:pt x="30" y="3"/>
                    <a:pt x="39" y="0"/>
                    <a:pt x="39" y="1"/>
                  </a:cubicBezTo>
                  <a:cubicBezTo>
                    <a:pt x="40" y="3"/>
                    <a:pt x="31" y="7"/>
                    <a:pt x="21" y="1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6" name="任意多边形: 形状 595">
              <a:extLst>
                <a:ext uri="{FF2B5EF4-FFF2-40B4-BE49-F238E27FC236}">
                  <a16:creationId xmlns:a16="http://schemas.microsoft.com/office/drawing/2014/main" id="{AE0F61E4-0E04-4CA6-ABB0-B806274F124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8688" y="2817813"/>
              <a:ext cx="95250" cy="12700"/>
            </a:xfrm>
            <a:custGeom>
              <a:avLst/>
              <a:gdLst>
                <a:gd name="T0" fmla="*/ 21 w 42"/>
                <a:gd name="T1" fmla="*/ 5 h 6"/>
                <a:gd name="T2" fmla="*/ 1 w 42"/>
                <a:gd name="T3" fmla="*/ 5 h 6"/>
                <a:gd name="T4" fmla="*/ 21 w 42"/>
                <a:gd name="T5" fmla="*/ 1 h 6"/>
                <a:gd name="T6" fmla="*/ 42 w 42"/>
                <a:gd name="T7" fmla="*/ 2 h 6"/>
                <a:gd name="T8" fmla="*/ 21 w 42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6">
                  <a:moveTo>
                    <a:pt x="21" y="5"/>
                  </a:moveTo>
                  <a:cubicBezTo>
                    <a:pt x="10" y="6"/>
                    <a:pt x="1" y="6"/>
                    <a:pt x="1" y="5"/>
                  </a:cubicBezTo>
                  <a:cubicBezTo>
                    <a:pt x="0" y="4"/>
                    <a:pt x="10" y="3"/>
                    <a:pt x="21" y="1"/>
                  </a:cubicBezTo>
                  <a:cubicBezTo>
                    <a:pt x="33" y="0"/>
                    <a:pt x="42" y="0"/>
                    <a:pt x="42" y="2"/>
                  </a:cubicBezTo>
                  <a:cubicBezTo>
                    <a:pt x="42" y="3"/>
                    <a:pt x="33" y="5"/>
                    <a:pt x="21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7" name="任意多边形: 形状 596">
              <a:extLst>
                <a:ext uri="{FF2B5EF4-FFF2-40B4-BE49-F238E27FC236}">
                  <a16:creationId xmlns:a16="http://schemas.microsoft.com/office/drawing/2014/main" id="{38B8C1B0-1136-4975-B543-B0BF59E0E2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8963" y="1992313"/>
              <a:ext cx="630238" cy="923925"/>
            </a:xfrm>
            <a:custGeom>
              <a:avLst/>
              <a:gdLst>
                <a:gd name="T0" fmla="*/ 276 w 276"/>
                <a:gd name="T1" fmla="*/ 0 h 404"/>
                <a:gd name="T2" fmla="*/ 275 w 276"/>
                <a:gd name="T3" fmla="*/ 0 h 404"/>
                <a:gd name="T4" fmla="*/ 271 w 276"/>
                <a:gd name="T5" fmla="*/ 2 h 404"/>
                <a:gd name="T6" fmla="*/ 257 w 276"/>
                <a:gd name="T7" fmla="*/ 7 h 404"/>
                <a:gd name="T8" fmla="*/ 207 w 276"/>
                <a:gd name="T9" fmla="*/ 32 h 404"/>
                <a:gd name="T10" fmla="*/ 175 w 276"/>
                <a:gd name="T11" fmla="*/ 53 h 404"/>
                <a:gd name="T12" fmla="*/ 140 w 276"/>
                <a:gd name="T13" fmla="*/ 81 h 404"/>
                <a:gd name="T14" fmla="*/ 73 w 276"/>
                <a:gd name="T15" fmla="*/ 157 h 404"/>
                <a:gd name="T16" fmla="*/ 27 w 276"/>
                <a:gd name="T17" fmla="*/ 247 h 404"/>
                <a:gd name="T18" fmla="*/ 13 w 276"/>
                <a:gd name="T19" fmla="*/ 289 h 404"/>
                <a:gd name="T20" fmla="*/ 6 w 276"/>
                <a:gd name="T21" fmla="*/ 327 h 404"/>
                <a:gd name="T22" fmla="*/ 1 w 276"/>
                <a:gd name="T23" fmla="*/ 383 h 404"/>
                <a:gd name="T24" fmla="*/ 0 w 276"/>
                <a:gd name="T25" fmla="*/ 398 h 404"/>
                <a:gd name="T26" fmla="*/ 0 w 276"/>
                <a:gd name="T27" fmla="*/ 402 h 404"/>
                <a:gd name="T28" fmla="*/ 0 w 276"/>
                <a:gd name="T29" fmla="*/ 404 h 404"/>
                <a:gd name="T30" fmla="*/ 0 w 276"/>
                <a:gd name="T31" fmla="*/ 402 h 404"/>
                <a:gd name="T32" fmla="*/ 0 w 276"/>
                <a:gd name="T33" fmla="*/ 398 h 404"/>
                <a:gd name="T34" fmla="*/ 0 w 276"/>
                <a:gd name="T35" fmla="*/ 383 h 404"/>
                <a:gd name="T36" fmla="*/ 4 w 276"/>
                <a:gd name="T37" fmla="*/ 327 h 404"/>
                <a:gd name="T38" fmla="*/ 12 w 276"/>
                <a:gd name="T39" fmla="*/ 289 h 404"/>
                <a:gd name="T40" fmla="*/ 25 w 276"/>
                <a:gd name="T41" fmla="*/ 246 h 404"/>
                <a:gd name="T42" fmla="*/ 71 w 276"/>
                <a:gd name="T43" fmla="*/ 156 h 404"/>
                <a:gd name="T44" fmla="*/ 139 w 276"/>
                <a:gd name="T45" fmla="*/ 79 h 404"/>
                <a:gd name="T46" fmla="*/ 174 w 276"/>
                <a:gd name="T47" fmla="*/ 52 h 404"/>
                <a:gd name="T48" fmla="*/ 207 w 276"/>
                <a:gd name="T49" fmla="*/ 31 h 404"/>
                <a:gd name="T50" fmla="*/ 257 w 276"/>
                <a:gd name="T51" fmla="*/ 7 h 404"/>
                <a:gd name="T52" fmla="*/ 271 w 276"/>
                <a:gd name="T53" fmla="*/ 1 h 404"/>
                <a:gd name="T54" fmla="*/ 275 w 276"/>
                <a:gd name="T55" fmla="*/ 0 h 404"/>
                <a:gd name="T56" fmla="*/ 276 w 276"/>
                <a:gd name="T57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6" h="404">
                  <a:moveTo>
                    <a:pt x="276" y="0"/>
                  </a:moveTo>
                  <a:cubicBezTo>
                    <a:pt x="276" y="0"/>
                    <a:pt x="276" y="0"/>
                    <a:pt x="275" y="0"/>
                  </a:cubicBezTo>
                  <a:cubicBezTo>
                    <a:pt x="274" y="1"/>
                    <a:pt x="273" y="1"/>
                    <a:pt x="271" y="2"/>
                  </a:cubicBezTo>
                  <a:cubicBezTo>
                    <a:pt x="268" y="3"/>
                    <a:pt x="263" y="5"/>
                    <a:pt x="257" y="7"/>
                  </a:cubicBezTo>
                  <a:cubicBezTo>
                    <a:pt x="245" y="12"/>
                    <a:pt x="228" y="20"/>
                    <a:pt x="207" y="32"/>
                  </a:cubicBezTo>
                  <a:cubicBezTo>
                    <a:pt x="197" y="38"/>
                    <a:pt x="186" y="45"/>
                    <a:pt x="175" y="53"/>
                  </a:cubicBezTo>
                  <a:cubicBezTo>
                    <a:pt x="164" y="61"/>
                    <a:pt x="152" y="70"/>
                    <a:pt x="140" y="81"/>
                  </a:cubicBezTo>
                  <a:cubicBezTo>
                    <a:pt x="117" y="102"/>
                    <a:pt x="93" y="127"/>
                    <a:pt x="73" y="157"/>
                  </a:cubicBezTo>
                  <a:cubicBezTo>
                    <a:pt x="53" y="187"/>
                    <a:pt x="37" y="218"/>
                    <a:pt x="27" y="247"/>
                  </a:cubicBezTo>
                  <a:cubicBezTo>
                    <a:pt x="21" y="262"/>
                    <a:pt x="17" y="276"/>
                    <a:pt x="13" y="289"/>
                  </a:cubicBezTo>
                  <a:cubicBezTo>
                    <a:pt x="10" y="303"/>
                    <a:pt x="7" y="316"/>
                    <a:pt x="6" y="327"/>
                  </a:cubicBezTo>
                  <a:cubicBezTo>
                    <a:pt x="2" y="351"/>
                    <a:pt x="1" y="370"/>
                    <a:pt x="1" y="383"/>
                  </a:cubicBezTo>
                  <a:cubicBezTo>
                    <a:pt x="0" y="390"/>
                    <a:pt x="0" y="395"/>
                    <a:pt x="0" y="398"/>
                  </a:cubicBezTo>
                  <a:cubicBezTo>
                    <a:pt x="0" y="400"/>
                    <a:pt x="0" y="401"/>
                    <a:pt x="0" y="402"/>
                  </a:cubicBezTo>
                  <a:cubicBezTo>
                    <a:pt x="0" y="403"/>
                    <a:pt x="0" y="404"/>
                    <a:pt x="0" y="404"/>
                  </a:cubicBezTo>
                  <a:cubicBezTo>
                    <a:pt x="0" y="404"/>
                    <a:pt x="0" y="403"/>
                    <a:pt x="0" y="402"/>
                  </a:cubicBezTo>
                  <a:cubicBezTo>
                    <a:pt x="0" y="401"/>
                    <a:pt x="0" y="400"/>
                    <a:pt x="0" y="398"/>
                  </a:cubicBezTo>
                  <a:cubicBezTo>
                    <a:pt x="0" y="395"/>
                    <a:pt x="0" y="390"/>
                    <a:pt x="0" y="383"/>
                  </a:cubicBezTo>
                  <a:cubicBezTo>
                    <a:pt x="0" y="370"/>
                    <a:pt x="1" y="351"/>
                    <a:pt x="4" y="327"/>
                  </a:cubicBezTo>
                  <a:cubicBezTo>
                    <a:pt x="6" y="315"/>
                    <a:pt x="8" y="303"/>
                    <a:pt x="12" y="289"/>
                  </a:cubicBezTo>
                  <a:cubicBezTo>
                    <a:pt x="15" y="276"/>
                    <a:pt x="19" y="261"/>
                    <a:pt x="25" y="246"/>
                  </a:cubicBezTo>
                  <a:cubicBezTo>
                    <a:pt x="35" y="217"/>
                    <a:pt x="51" y="186"/>
                    <a:pt x="71" y="156"/>
                  </a:cubicBezTo>
                  <a:cubicBezTo>
                    <a:pt x="92" y="126"/>
                    <a:pt x="115" y="100"/>
                    <a:pt x="139" y="79"/>
                  </a:cubicBezTo>
                  <a:cubicBezTo>
                    <a:pt x="151" y="69"/>
                    <a:pt x="162" y="60"/>
                    <a:pt x="174" y="52"/>
                  </a:cubicBezTo>
                  <a:cubicBezTo>
                    <a:pt x="185" y="44"/>
                    <a:pt x="196" y="37"/>
                    <a:pt x="207" y="31"/>
                  </a:cubicBezTo>
                  <a:cubicBezTo>
                    <a:pt x="227" y="19"/>
                    <a:pt x="245" y="11"/>
                    <a:pt x="257" y="7"/>
                  </a:cubicBezTo>
                  <a:cubicBezTo>
                    <a:pt x="263" y="4"/>
                    <a:pt x="268" y="2"/>
                    <a:pt x="271" y="1"/>
                  </a:cubicBezTo>
                  <a:cubicBezTo>
                    <a:pt x="273" y="1"/>
                    <a:pt x="274" y="0"/>
                    <a:pt x="275" y="0"/>
                  </a:cubicBezTo>
                  <a:cubicBezTo>
                    <a:pt x="276" y="0"/>
                    <a:pt x="276" y="0"/>
                    <a:pt x="27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8" name="任意多边形: 形状 597">
              <a:extLst>
                <a:ext uri="{FF2B5EF4-FFF2-40B4-BE49-F238E27FC236}">
                  <a16:creationId xmlns:a16="http://schemas.microsoft.com/office/drawing/2014/main" id="{BF3B8D38-E620-45AC-B67C-0114C487E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1751" y="1936751"/>
              <a:ext cx="195263" cy="28575"/>
            </a:xfrm>
            <a:custGeom>
              <a:avLst/>
              <a:gdLst>
                <a:gd name="T0" fmla="*/ 85 w 85"/>
                <a:gd name="T1" fmla="*/ 0 h 12"/>
                <a:gd name="T2" fmla="*/ 72 w 85"/>
                <a:gd name="T3" fmla="*/ 2 h 12"/>
                <a:gd name="T4" fmla="*/ 42 w 85"/>
                <a:gd name="T5" fmla="*/ 5 h 12"/>
                <a:gd name="T6" fmla="*/ 12 w 85"/>
                <a:gd name="T7" fmla="*/ 10 h 12"/>
                <a:gd name="T8" fmla="*/ 0 w 85"/>
                <a:gd name="T9" fmla="*/ 11 h 12"/>
                <a:gd name="T10" fmla="*/ 12 w 85"/>
                <a:gd name="T11" fmla="*/ 8 h 12"/>
                <a:gd name="T12" fmla="*/ 42 w 85"/>
                <a:gd name="T13" fmla="*/ 3 h 12"/>
                <a:gd name="T14" fmla="*/ 72 w 85"/>
                <a:gd name="T15" fmla="*/ 0 h 12"/>
                <a:gd name="T16" fmla="*/ 85 w 85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12">
                  <a:moveTo>
                    <a:pt x="85" y="0"/>
                  </a:moveTo>
                  <a:cubicBezTo>
                    <a:pt x="85" y="1"/>
                    <a:pt x="80" y="1"/>
                    <a:pt x="72" y="2"/>
                  </a:cubicBezTo>
                  <a:cubicBezTo>
                    <a:pt x="65" y="3"/>
                    <a:pt x="54" y="4"/>
                    <a:pt x="42" y="5"/>
                  </a:cubicBezTo>
                  <a:cubicBezTo>
                    <a:pt x="30" y="7"/>
                    <a:pt x="20" y="8"/>
                    <a:pt x="12" y="10"/>
                  </a:cubicBezTo>
                  <a:cubicBezTo>
                    <a:pt x="4" y="11"/>
                    <a:pt x="0" y="12"/>
                    <a:pt x="0" y="11"/>
                  </a:cubicBezTo>
                  <a:cubicBezTo>
                    <a:pt x="0" y="11"/>
                    <a:pt x="4" y="10"/>
                    <a:pt x="12" y="8"/>
                  </a:cubicBezTo>
                  <a:cubicBezTo>
                    <a:pt x="20" y="7"/>
                    <a:pt x="30" y="5"/>
                    <a:pt x="42" y="3"/>
                  </a:cubicBezTo>
                  <a:cubicBezTo>
                    <a:pt x="54" y="2"/>
                    <a:pt x="64" y="1"/>
                    <a:pt x="72" y="0"/>
                  </a:cubicBezTo>
                  <a:cubicBezTo>
                    <a:pt x="80" y="0"/>
                    <a:pt x="85" y="0"/>
                    <a:pt x="8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9" name="任意多边形: 形状 598">
              <a:extLst>
                <a:ext uri="{FF2B5EF4-FFF2-40B4-BE49-F238E27FC236}">
                  <a16:creationId xmlns:a16="http://schemas.microsoft.com/office/drawing/2014/main" id="{CC2738F9-C861-45A7-A7B2-F55E7A104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1876" y="2557463"/>
              <a:ext cx="15875" cy="44450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1 w 7"/>
                <a:gd name="T5" fmla="*/ 4 h 20"/>
                <a:gd name="T6" fmla="*/ 0 w 7"/>
                <a:gd name="T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2" y="5"/>
                    <a:pt x="4" y="12"/>
                    <a:pt x="7" y="20"/>
                  </a:cubicBezTo>
                  <a:cubicBezTo>
                    <a:pt x="5" y="14"/>
                    <a:pt x="3" y="9"/>
                    <a:pt x="1" y="4"/>
                  </a:cubicBezTo>
                  <a:cubicBezTo>
                    <a:pt x="1" y="3"/>
                    <a:pt x="0" y="1"/>
                    <a:pt x="0" y="0"/>
                  </a:cubicBezTo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0" name="任意多边形: 形状 599">
              <a:extLst>
                <a:ext uri="{FF2B5EF4-FFF2-40B4-BE49-F238E27FC236}">
                  <a16:creationId xmlns:a16="http://schemas.microsoft.com/office/drawing/2014/main" id="{3BB3C00C-D05A-4B2C-80E2-B9BCA92E6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7588" y="2522538"/>
              <a:ext cx="15875" cy="42863"/>
            </a:xfrm>
            <a:custGeom>
              <a:avLst/>
              <a:gdLst>
                <a:gd name="T0" fmla="*/ 0 w 7"/>
                <a:gd name="T1" fmla="*/ 0 h 19"/>
                <a:gd name="T2" fmla="*/ 6 w 7"/>
                <a:gd name="T3" fmla="*/ 15 h 19"/>
                <a:gd name="T4" fmla="*/ 7 w 7"/>
                <a:gd name="T5" fmla="*/ 19 h 19"/>
                <a:gd name="T6" fmla="*/ 0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cubicBezTo>
                    <a:pt x="0" y="0"/>
                    <a:pt x="2" y="5"/>
                    <a:pt x="6" y="15"/>
                  </a:cubicBezTo>
                  <a:cubicBezTo>
                    <a:pt x="6" y="16"/>
                    <a:pt x="7" y="18"/>
                    <a:pt x="7" y="19"/>
                  </a:cubicBezTo>
                  <a:cubicBezTo>
                    <a:pt x="3" y="7"/>
                    <a:pt x="0" y="0"/>
                    <a:pt x="0" y="0"/>
                  </a:cubicBezTo>
                </a:path>
              </a:pathLst>
            </a:custGeom>
            <a:solidFill>
              <a:srgbClr val="171E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1" name="任意多边形: 形状 600">
              <a:extLst>
                <a:ext uri="{FF2B5EF4-FFF2-40B4-BE49-F238E27FC236}">
                  <a16:creationId xmlns:a16="http://schemas.microsoft.com/office/drawing/2014/main" id="{42BF86F0-D416-4312-9FAB-267B5C586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4413" y="2751138"/>
              <a:ext cx="1427163" cy="1063625"/>
            </a:xfrm>
            <a:custGeom>
              <a:avLst/>
              <a:gdLst>
                <a:gd name="T0" fmla="*/ 589 w 624"/>
                <a:gd name="T1" fmla="*/ 0 h 465"/>
                <a:gd name="T2" fmla="*/ 593 w 624"/>
                <a:gd name="T3" fmla="*/ 36 h 465"/>
                <a:gd name="T4" fmla="*/ 593 w 624"/>
                <a:gd name="T5" fmla="*/ 51 h 465"/>
                <a:gd name="T6" fmla="*/ 593 w 624"/>
                <a:gd name="T7" fmla="*/ 53 h 465"/>
                <a:gd name="T8" fmla="*/ 593 w 624"/>
                <a:gd name="T9" fmla="*/ 54 h 465"/>
                <a:gd name="T10" fmla="*/ 593 w 624"/>
                <a:gd name="T11" fmla="*/ 59 h 465"/>
                <a:gd name="T12" fmla="*/ 593 w 624"/>
                <a:gd name="T13" fmla="*/ 59 h 465"/>
                <a:gd name="T14" fmla="*/ 593 w 624"/>
                <a:gd name="T15" fmla="*/ 65 h 465"/>
                <a:gd name="T16" fmla="*/ 593 w 624"/>
                <a:gd name="T17" fmla="*/ 66 h 465"/>
                <a:gd name="T18" fmla="*/ 593 w 624"/>
                <a:gd name="T19" fmla="*/ 68 h 465"/>
                <a:gd name="T20" fmla="*/ 593 w 624"/>
                <a:gd name="T21" fmla="*/ 83 h 465"/>
                <a:gd name="T22" fmla="*/ 583 w 624"/>
                <a:gd name="T23" fmla="*/ 148 h 465"/>
                <a:gd name="T24" fmla="*/ 568 w 624"/>
                <a:gd name="T25" fmla="*/ 194 h 465"/>
                <a:gd name="T26" fmla="*/ 543 w 624"/>
                <a:gd name="T27" fmla="*/ 245 h 465"/>
                <a:gd name="T28" fmla="*/ 451 w 624"/>
                <a:gd name="T29" fmla="*/ 348 h 465"/>
                <a:gd name="T30" fmla="*/ 394 w 624"/>
                <a:gd name="T31" fmla="*/ 384 h 465"/>
                <a:gd name="T32" fmla="*/ 257 w 624"/>
                <a:gd name="T33" fmla="*/ 422 h 465"/>
                <a:gd name="T34" fmla="*/ 231 w 624"/>
                <a:gd name="T35" fmla="*/ 423 h 465"/>
                <a:gd name="T36" fmla="*/ 204 w 624"/>
                <a:gd name="T37" fmla="*/ 422 h 465"/>
                <a:gd name="T38" fmla="*/ 156 w 624"/>
                <a:gd name="T39" fmla="*/ 415 h 465"/>
                <a:gd name="T40" fmla="*/ 107 w 624"/>
                <a:gd name="T41" fmla="*/ 401 h 465"/>
                <a:gd name="T42" fmla="*/ 1 w 624"/>
                <a:gd name="T43" fmla="*/ 341 h 465"/>
                <a:gd name="T44" fmla="*/ 0 w 624"/>
                <a:gd name="T45" fmla="*/ 348 h 465"/>
                <a:gd name="T46" fmla="*/ 256 w 624"/>
                <a:gd name="T47" fmla="*/ 465 h 465"/>
                <a:gd name="T48" fmla="*/ 420 w 624"/>
                <a:gd name="T49" fmla="*/ 422 h 465"/>
                <a:gd name="T50" fmla="*/ 589 w 624"/>
                <a:gd name="T51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4" h="465">
                  <a:moveTo>
                    <a:pt x="589" y="0"/>
                  </a:moveTo>
                  <a:cubicBezTo>
                    <a:pt x="591" y="14"/>
                    <a:pt x="592" y="27"/>
                    <a:pt x="593" y="36"/>
                  </a:cubicBezTo>
                  <a:cubicBezTo>
                    <a:pt x="593" y="42"/>
                    <a:pt x="593" y="47"/>
                    <a:pt x="593" y="51"/>
                  </a:cubicBezTo>
                  <a:cubicBezTo>
                    <a:pt x="593" y="51"/>
                    <a:pt x="593" y="52"/>
                    <a:pt x="593" y="53"/>
                  </a:cubicBezTo>
                  <a:cubicBezTo>
                    <a:pt x="593" y="53"/>
                    <a:pt x="593" y="53"/>
                    <a:pt x="593" y="54"/>
                  </a:cubicBezTo>
                  <a:cubicBezTo>
                    <a:pt x="593" y="57"/>
                    <a:pt x="593" y="59"/>
                    <a:pt x="593" y="59"/>
                  </a:cubicBezTo>
                  <a:cubicBezTo>
                    <a:pt x="593" y="59"/>
                    <a:pt x="593" y="59"/>
                    <a:pt x="593" y="59"/>
                  </a:cubicBezTo>
                  <a:cubicBezTo>
                    <a:pt x="593" y="59"/>
                    <a:pt x="593" y="61"/>
                    <a:pt x="593" y="65"/>
                  </a:cubicBezTo>
                  <a:cubicBezTo>
                    <a:pt x="593" y="65"/>
                    <a:pt x="593" y="66"/>
                    <a:pt x="593" y="66"/>
                  </a:cubicBezTo>
                  <a:cubicBezTo>
                    <a:pt x="593" y="67"/>
                    <a:pt x="593" y="67"/>
                    <a:pt x="593" y="68"/>
                  </a:cubicBezTo>
                  <a:cubicBezTo>
                    <a:pt x="593" y="72"/>
                    <a:pt x="593" y="77"/>
                    <a:pt x="593" y="83"/>
                  </a:cubicBezTo>
                  <a:cubicBezTo>
                    <a:pt x="592" y="98"/>
                    <a:pt x="590" y="120"/>
                    <a:pt x="583" y="148"/>
                  </a:cubicBezTo>
                  <a:cubicBezTo>
                    <a:pt x="579" y="162"/>
                    <a:pt x="575" y="177"/>
                    <a:pt x="568" y="194"/>
                  </a:cubicBezTo>
                  <a:cubicBezTo>
                    <a:pt x="562" y="210"/>
                    <a:pt x="554" y="227"/>
                    <a:pt x="543" y="245"/>
                  </a:cubicBezTo>
                  <a:cubicBezTo>
                    <a:pt x="522" y="280"/>
                    <a:pt x="492" y="317"/>
                    <a:pt x="451" y="348"/>
                  </a:cubicBezTo>
                  <a:cubicBezTo>
                    <a:pt x="434" y="361"/>
                    <a:pt x="415" y="374"/>
                    <a:pt x="394" y="384"/>
                  </a:cubicBezTo>
                  <a:cubicBezTo>
                    <a:pt x="348" y="410"/>
                    <a:pt x="301" y="420"/>
                    <a:pt x="257" y="422"/>
                  </a:cubicBezTo>
                  <a:cubicBezTo>
                    <a:pt x="248" y="422"/>
                    <a:pt x="240" y="423"/>
                    <a:pt x="231" y="423"/>
                  </a:cubicBezTo>
                  <a:cubicBezTo>
                    <a:pt x="222" y="423"/>
                    <a:pt x="213" y="422"/>
                    <a:pt x="204" y="422"/>
                  </a:cubicBezTo>
                  <a:cubicBezTo>
                    <a:pt x="188" y="421"/>
                    <a:pt x="172" y="418"/>
                    <a:pt x="156" y="415"/>
                  </a:cubicBezTo>
                  <a:cubicBezTo>
                    <a:pt x="140" y="411"/>
                    <a:pt x="123" y="407"/>
                    <a:pt x="107" y="401"/>
                  </a:cubicBezTo>
                  <a:cubicBezTo>
                    <a:pt x="70" y="388"/>
                    <a:pt x="34" y="367"/>
                    <a:pt x="1" y="341"/>
                  </a:cubicBezTo>
                  <a:cubicBezTo>
                    <a:pt x="1" y="343"/>
                    <a:pt x="1" y="345"/>
                    <a:pt x="0" y="348"/>
                  </a:cubicBezTo>
                  <a:cubicBezTo>
                    <a:pt x="54" y="401"/>
                    <a:pt x="142" y="465"/>
                    <a:pt x="256" y="465"/>
                  </a:cubicBezTo>
                  <a:cubicBezTo>
                    <a:pt x="306" y="465"/>
                    <a:pt x="361" y="453"/>
                    <a:pt x="420" y="422"/>
                  </a:cubicBezTo>
                  <a:cubicBezTo>
                    <a:pt x="624" y="316"/>
                    <a:pt x="616" y="119"/>
                    <a:pt x="589" y="0"/>
                  </a:cubicBezTo>
                </a:path>
              </a:pathLst>
            </a:custGeom>
            <a:solidFill>
              <a:srgbClr val="092E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2" name="任意多边形: 形状 601">
              <a:extLst>
                <a:ext uri="{FF2B5EF4-FFF2-40B4-BE49-F238E27FC236}">
                  <a16:creationId xmlns:a16="http://schemas.microsoft.com/office/drawing/2014/main" id="{9B077B95-8F8B-4BEB-B8F1-581ED57F69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10563" y="2601913"/>
              <a:ext cx="508000" cy="996950"/>
            </a:xfrm>
            <a:custGeom>
              <a:avLst/>
              <a:gdLst>
                <a:gd name="T0" fmla="*/ 179 w 222"/>
                <a:gd name="T1" fmla="*/ 131 h 436"/>
                <a:gd name="T2" fmla="*/ 179 w 222"/>
                <a:gd name="T3" fmla="*/ 133 h 436"/>
                <a:gd name="T4" fmla="*/ 179 w 222"/>
                <a:gd name="T5" fmla="*/ 131 h 436"/>
                <a:gd name="T6" fmla="*/ 179 w 222"/>
                <a:gd name="T7" fmla="*/ 116 h 436"/>
                <a:gd name="T8" fmla="*/ 179 w 222"/>
                <a:gd name="T9" fmla="*/ 118 h 436"/>
                <a:gd name="T10" fmla="*/ 179 w 222"/>
                <a:gd name="T11" fmla="*/ 116 h 436"/>
                <a:gd name="T12" fmla="*/ 156 w 222"/>
                <a:gd name="T13" fmla="*/ 0 h 436"/>
                <a:gd name="T14" fmla="*/ 0 w 222"/>
                <a:gd name="T15" fmla="*/ 436 h 436"/>
                <a:gd name="T16" fmla="*/ 36 w 222"/>
                <a:gd name="T17" fmla="*/ 412 h 436"/>
                <a:gd name="T18" fmla="*/ 128 w 222"/>
                <a:gd name="T19" fmla="*/ 309 h 436"/>
                <a:gd name="T20" fmla="*/ 153 w 222"/>
                <a:gd name="T21" fmla="*/ 258 h 436"/>
                <a:gd name="T22" fmla="*/ 168 w 222"/>
                <a:gd name="T23" fmla="*/ 213 h 436"/>
                <a:gd name="T24" fmla="*/ 178 w 222"/>
                <a:gd name="T25" fmla="*/ 148 h 436"/>
                <a:gd name="T26" fmla="*/ 179 w 222"/>
                <a:gd name="T27" fmla="*/ 130 h 436"/>
                <a:gd name="T28" fmla="*/ 179 w 222"/>
                <a:gd name="T29" fmla="*/ 124 h 436"/>
                <a:gd name="T30" fmla="*/ 179 w 222"/>
                <a:gd name="T31" fmla="*/ 119 h 436"/>
                <a:gd name="T32" fmla="*/ 178 w 222"/>
                <a:gd name="T33" fmla="*/ 101 h 436"/>
                <a:gd name="T34" fmla="*/ 171 w 222"/>
                <a:gd name="T35" fmla="*/ 51 h 436"/>
                <a:gd name="T36" fmla="*/ 156 w 222"/>
                <a:gd name="T37" fmla="*/ 0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2" h="436">
                  <a:moveTo>
                    <a:pt x="179" y="131"/>
                  </a:moveTo>
                  <a:cubicBezTo>
                    <a:pt x="179" y="132"/>
                    <a:pt x="179" y="132"/>
                    <a:pt x="179" y="133"/>
                  </a:cubicBezTo>
                  <a:cubicBezTo>
                    <a:pt x="179" y="132"/>
                    <a:pt x="179" y="132"/>
                    <a:pt x="179" y="131"/>
                  </a:cubicBezTo>
                  <a:moveTo>
                    <a:pt x="179" y="116"/>
                  </a:moveTo>
                  <a:cubicBezTo>
                    <a:pt x="179" y="117"/>
                    <a:pt x="179" y="117"/>
                    <a:pt x="179" y="118"/>
                  </a:cubicBezTo>
                  <a:cubicBezTo>
                    <a:pt x="179" y="117"/>
                    <a:pt x="179" y="116"/>
                    <a:pt x="179" y="116"/>
                  </a:cubicBezTo>
                  <a:moveTo>
                    <a:pt x="156" y="0"/>
                  </a:moveTo>
                  <a:cubicBezTo>
                    <a:pt x="183" y="81"/>
                    <a:pt x="222" y="288"/>
                    <a:pt x="0" y="436"/>
                  </a:cubicBezTo>
                  <a:cubicBezTo>
                    <a:pt x="13" y="429"/>
                    <a:pt x="25" y="421"/>
                    <a:pt x="36" y="412"/>
                  </a:cubicBezTo>
                  <a:cubicBezTo>
                    <a:pt x="77" y="381"/>
                    <a:pt x="107" y="344"/>
                    <a:pt x="128" y="309"/>
                  </a:cubicBezTo>
                  <a:cubicBezTo>
                    <a:pt x="139" y="292"/>
                    <a:pt x="147" y="275"/>
                    <a:pt x="153" y="258"/>
                  </a:cubicBezTo>
                  <a:cubicBezTo>
                    <a:pt x="160" y="242"/>
                    <a:pt x="164" y="227"/>
                    <a:pt x="168" y="213"/>
                  </a:cubicBezTo>
                  <a:cubicBezTo>
                    <a:pt x="175" y="185"/>
                    <a:pt x="177" y="163"/>
                    <a:pt x="178" y="148"/>
                  </a:cubicBezTo>
                  <a:cubicBezTo>
                    <a:pt x="179" y="140"/>
                    <a:pt x="179" y="134"/>
                    <a:pt x="179" y="130"/>
                  </a:cubicBezTo>
                  <a:cubicBezTo>
                    <a:pt x="179" y="126"/>
                    <a:pt x="179" y="124"/>
                    <a:pt x="179" y="124"/>
                  </a:cubicBezTo>
                  <a:cubicBezTo>
                    <a:pt x="179" y="124"/>
                    <a:pt x="179" y="122"/>
                    <a:pt x="179" y="119"/>
                  </a:cubicBezTo>
                  <a:cubicBezTo>
                    <a:pt x="179" y="115"/>
                    <a:pt x="179" y="109"/>
                    <a:pt x="178" y="101"/>
                  </a:cubicBezTo>
                  <a:cubicBezTo>
                    <a:pt x="178" y="89"/>
                    <a:pt x="176" y="72"/>
                    <a:pt x="171" y="51"/>
                  </a:cubicBezTo>
                  <a:cubicBezTo>
                    <a:pt x="166" y="31"/>
                    <a:pt x="161" y="14"/>
                    <a:pt x="156" y="0"/>
                  </a:cubicBezTo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3" name="任意多边形: 形状 602">
              <a:extLst>
                <a:ext uri="{FF2B5EF4-FFF2-40B4-BE49-F238E27FC236}">
                  <a16:creationId xmlns:a16="http://schemas.microsoft.com/office/drawing/2014/main" id="{D0B5BBC0-1477-43B3-A7ED-9B24141A75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6001" y="2719388"/>
              <a:ext cx="1354138" cy="998538"/>
            </a:xfrm>
            <a:custGeom>
              <a:avLst/>
              <a:gdLst>
                <a:gd name="T0" fmla="*/ 0 w 592"/>
                <a:gd name="T1" fmla="*/ 353 h 437"/>
                <a:gd name="T2" fmla="*/ 0 w 592"/>
                <a:gd name="T3" fmla="*/ 355 h 437"/>
                <a:gd name="T4" fmla="*/ 106 w 592"/>
                <a:gd name="T5" fmla="*/ 415 h 437"/>
                <a:gd name="T6" fmla="*/ 155 w 592"/>
                <a:gd name="T7" fmla="*/ 429 h 437"/>
                <a:gd name="T8" fmla="*/ 203 w 592"/>
                <a:gd name="T9" fmla="*/ 436 h 437"/>
                <a:gd name="T10" fmla="*/ 230 w 592"/>
                <a:gd name="T11" fmla="*/ 437 h 437"/>
                <a:gd name="T12" fmla="*/ 256 w 592"/>
                <a:gd name="T13" fmla="*/ 436 h 437"/>
                <a:gd name="T14" fmla="*/ 239 w 592"/>
                <a:gd name="T15" fmla="*/ 436 h 437"/>
                <a:gd name="T16" fmla="*/ 187 w 592"/>
                <a:gd name="T17" fmla="*/ 433 h 437"/>
                <a:gd name="T18" fmla="*/ 0 w 592"/>
                <a:gd name="T19" fmla="*/ 353 h 437"/>
                <a:gd name="T20" fmla="*/ 584 w 592"/>
                <a:gd name="T21" fmla="*/ 0 h 437"/>
                <a:gd name="T22" fmla="*/ 591 w 592"/>
                <a:gd name="T23" fmla="*/ 50 h 437"/>
                <a:gd name="T24" fmla="*/ 592 w 592"/>
                <a:gd name="T25" fmla="*/ 68 h 437"/>
                <a:gd name="T26" fmla="*/ 592 w 592"/>
                <a:gd name="T27" fmla="*/ 73 h 437"/>
                <a:gd name="T28" fmla="*/ 592 w 592"/>
                <a:gd name="T29" fmla="*/ 79 h 437"/>
                <a:gd name="T30" fmla="*/ 591 w 592"/>
                <a:gd name="T31" fmla="*/ 97 h 437"/>
                <a:gd name="T32" fmla="*/ 581 w 592"/>
                <a:gd name="T33" fmla="*/ 162 h 437"/>
                <a:gd name="T34" fmla="*/ 566 w 592"/>
                <a:gd name="T35" fmla="*/ 207 h 437"/>
                <a:gd name="T36" fmla="*/ 541 w 592"/>
                <a:gd name="T37" fmla="*/ 258 h 437"/>
                <a:gd name="T38" fmla="*/ 449 w 592"/>
                <a:gd name="T39" fmla="*/ 361 h 437"/>
                <a:gd name="T40" fmla="*/ 413 w 592"/>
                <a:gd name="T41" fmla="*/ 385 h 437"/>
                <a:gd name="T42" fmla="*/ 402 w 592"/>
                <a:gd name="T43" fmla="*/ 392 h 437"/>
                <a:gd name="T44" fmla="*/ 393 w 592"/>
                <a:gd name="T45" fmla="*/ 398 h 437"/>
                <a:gd name="T46" fmla="*/ 450 w 592"/>
                <a:gd name="T47" fmla="*/ 362 h 437"/>
                <a:gd name="T48" fmla="*/ 542 w 592"/>
                <a:gd name="T49" fmla="*/ 259 h 437"/>
                <a:gd name="T50" fmla="*/ 567 w 592"/>
                <a:gd name="T51" fmla="*/ 208 h 437"/>
                <a:gd name="T52" fmla="*/ 582 w 592"/>
                <a:gd name="T53" fmla="*/ 162 h 437"/>
                <a:gd name="T54" fmla="*/ 592 w 592"/>
                <a:gd name="T55" fmla="*/ 97 h 437"/>
                <a:gd name="T56" fmla="*/ 592 w 592"/>
                <a:gd name="T57" fmla="*/ 82 h 437"/>
                <a:gd name="T58" fmla="*/ 592 w 592"/>
                <a:gd name="T59" fmla="*/ 80 h 437"/>
                <a:gd name="T60" fmla="*/ 592 w 592"/>
                <a:gd name="T61" fmla="*/ 79 h 437"/>
                <a:gd name="T62" fmla="*/ 592 w 592"/>
                <a:gd name="T63" fmla="*/ 73 h 437"/>
                <a:gd name="T64" fmla="*/ 592 w 592"/>
                <a:gd name="T65" fmla="*/ 73 h 437"/>
                <a:gd name="T66" fmla="*/ 592 w 592"/>
                <a:gd name="T67" fmla="*/ 68 h 437"/>
                <a:gd name="T68" fmla="*/ 592 w 592"/>
                <a:gd name="T69" fmla="*/ 67 h 437"/>
                <a:gd name="T70" fmla="*/ 592 w 592"/>
                <a:gd name="T71" fmla="*/ 65 h 437"/>
                <a:gd name="T72" fmla="*/ 592 w 592"/>
                <a:gd name="T73" fmla="*/ 50 h 437"/>
                <a:gd name="T74" fmla="*/ 588 w 592"/>
                <a:gd name="T75" fmla="*/ 14 h 437"/>
                <a:gd name="T76" fmla="*/ 584 w 592"/>
                <a:gd name="T77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92" h="437">
                  <a:moveTo>
                    <a:pt x="0" y="353"/>
                  </a:moveTo>
                  <a:cubicBezTo>
                    <a:pt x="0" y="353"/>
                    <a:pt x="0" y="354"/>
                    <a:pt x="0" y="355"/>
                  </a:cubicBezTo>
                  <a:cubicBezTo>
                    <a:pt x="33" y="381"/>
                    <a:pt x="69" y="402"/>
                    <a:pt x="106" y="415"/>
                  </a:cubicBezTo>
                  <a:cubicBezTo>
                    <a:pt x="122" y="421"/>
                    <a:pt x="139" y="425"/>
                    <a:pt x="155" y="429"/>
                  </a:cubicBezTo>
                  <a:cubicBezTo>
                    <a:pt x="171" y="432"/>
                    <a:pt x="187" y="435"/>
                    <a:pt x="203" y="436"/>
                  </a:cubicBezTo>
                  <a:cubicBezTo>
                    <a:pt x="212" y="436"/>
                    <a:pt x="221" y="437"/>
                    <a:pt x="230" y="437"/>
                  </a:cubicBezTo>
                  <a:cubicBezTo>
                    <a:pt x="239" y="437"/>
                    <a:pt x="247" y="436"/>
                    <a:pt x="256" y="436"/>
                  </a:cubicBezTo>
                  <a:cubicBezTo>
                    <a:pt x="250" y="436"/>
                    <a:pt x="245" y="436"/>
                    <a:pt x="239" y="436"/>
                  </a:cubicBezTo>
                  <a:cubicBezTo>
                    <a:pt x="221" y="436"/>
                    <a:pt x="203" y="435"/>
                    <a:pt x="187" y="433"/>
                  </a:cubicBezTo>
                  <a:cubicBezTo>
                    <a:pt x="106" y="425"/>
                    <a:pt x="42" y="387"/>
                    <a:pt x="0" y="353"/>
                  </a:cubicBezTo>
                  <a:moveTo>
                    <a:pt x="584" y="0"/>
                  </a:moveTo>
                  <a:cubicBezTo>
                    <a:pt x="589" y="21"/>
                    <a:pt x="591" y="38"/>
                    <a:pt x="591" y="50"/>
                  </a:cubicBezTo>
                  <a:cubicBezTo>
                    <a:pt x="592" y="58"/>
                    <a:pt x="592" y="64"/>
                    <a:pt x="592" y="68"/>
                  </a:cubicBezTo>
                  <a:cubicBezTo>
                    <a:pt x="592" y="71"/>
                    <a:pt x="592" y="73"/>
                    <a:pt x="592" y="73"/>
                  </a:cubicBezTo>
                  <a:cubicBezTo>
                    <a:pt x="592" y="73"/>
                    <a:pt x="592" y="75"/>
                    <a:pt x="592" y="79"/>
                  </a:cubicBezTo>
                  <a:cubicBezTo>
                    <a:pt x="592" y="83"/>
                    <a:pt x="592" y="89"/>
                    <a:pt x="591" y="97"/>
                  </a:cubicBezTo>
                  <a:cubicBezTo>
                    <a:pt x="590" y="112"/>
                    <a:pt x="588" y="134"/>
                    <a:pt x="581" y="162"/>
                  </a:cubicBezTo>
                  <a:cubicBezTo>
                    <a:pt x="577" y="176"/>
                    <a:pt x="573" y="191"/>
                    <a:pt x="566" y="207"/>
                  </a:cubicBezTo>
                  <a:cubicBezTo>
                    <a:pt x="560" y="224"/>
                    <a:pt x="552" y="241"/>
                    <a:pt x="541" y="258"/>
                  </a:cubicBezTo>
                  <a:cubicBezTo>
                    <a:pt x="520" y="293"/>
                    <a:pt x="490" y="330"/>
                    <a:pt x="449" y="361"/>
                  </a:cubicBezTo>
                  <a:cubicBezTo>
                    <a:pt x="438" y="370"/>
                    <a:pt x="426" y="378"/>
                    <a:pt x="413" y="385"/>
                  </a:cubicBezTo>
                  <a:cubicBezTo>
                    <a:pt x="409" y="388"/>
                    <a:pt x="406" y="390"/>
                    <a:pt x="402" y="392"/>
                  </a:cubicBezTo>
                  <a:cubicBezTo>
                    <a:pt x="399" y="394"/>
                    <a:pt x="396" y="396"/>
                    <a:pt x="393" y="398"/>
                  </a:cubicBezTo>
                  <a:cubicBezTo>
                    <a:pt x="414" y="388"/>
                    <a:pt x="433" y="375"/>
                    <a:pt x="450" y="362"/>
                  </a:cubicBezTo>
                  <a:cubicBezTo>
                    <a:pt x="491" y="331"/>
                    <a:pt x="521" y="294"/>
                    <a:pt x="542" y="259"/>
                  </a:cubicBezTo>
                  <a:cubicBezTo>
                    <a:pt x="553" y="241"/>
                    <a:pt x="561" y="224"/>
                    <a:pt x="567" y="208"/>
                  </a:cubicBezTo>
                  <a:cubicBezTo>
                    <a:pt x="574" y="191"/>
                    <a:pt x="578" y="176"/>
                    <a:pt x="582" y="162"/>
                  </a:cubicBezTo>
                  <a:cubicBezTo>
                    <a:pt x="589" y="134"/>
                    <a:pt x="591" y="112"/>
                    <a:pt x="592" y="97"/>
                  </a:cubicBezTo>
                  <a:cubicBezTo>
                    <a:pt x="592" y="91"/>
                    <a:pt x="592" y="86"/>
                    <a:pt x="592" y="82"/>
                  </a:cubicBezTo>
                  <a:cubicBezTo>
                    <a:pt x="592" y="81"/>
                    <a:pt x="592" y="81"/>
                    <a:pt x="592" y="80"/>
                  </a:cubicBezTo>
                  <a:cubicBezTo>
                    <a:pt x="592" y="80"/>
                    <a:pt x="592" y="79"/>
                    <a:pt x="592" y="79"/>
                  </a:cubicBezTo>
                  <a:cubicBezTo>
                    <a:pt x="592" y="75"/>
                    <a:pt x="592" y="73"/>
                    <a:pt x="592" y="73"/>
                  </a:cubicBezTo>
                  <a:cubicBezTo>
                    <a:pt x="592" y="73"/>
                    <a:pt x="592" y="73"/>
                    <a:pt x="592" y="73"/>
                  </a:cubicBezTo>
                  <a:cubicBezTo>
                    <a:pt x="592" y="73"/>
                    <a:pt x="592" y="71"/>
                    <a:pt x="592" y="68"/>
                  </a:cubicBezTo>
                  <a:cubicBezTo>
                    <a:pt x="592" y="67"/>
                    <a:pt x="592" y="67"/>
                    <a:pt x="592" y="67"/>
                  </a:cubicBezTo>
                  <a:cubicBezTo>
                    <a:pt x="592" y="66"/>
                    <a:pt x="592" y="66"/>
                    <a:pt x="592" y="65"/>
                  </a:cubicBezTo>
                  <a:cubicBezTo>
                    <a:pt x="592" y="61"/>
                    <a:pt x="592" y="56"/>
                    <a:pt x="592" y="50"/>
                  </a:cubicBezTo>
                  <a:cubicBezTo>
                    <a:pt x="591" y="41"/>
                    <a:pt x="590" y="28"/>
                    <a:pt x="588" y="14"/>
                  </a:cubicBezTo>
                  <a:cubicBezTo>
                    <a:pt x="587" y="9"/>
                    <a:pt x="586" y="5"/>
                    <a:pt x="584" y="0"/>
                  </a:cubicBezTo>
                </a:path>
              </a:pathLst>
            </a:custGeom>
            <a:solidFill>
              <a:srgbClr val="171E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4" name="任意多边形: 形状 603">
              <a:extLst>
                <a:ext uri="{FF2B5EF4-FFF2-40B4-BE49-F238E27FC236}">
                  <a16:creationId xmlns:a16="http://schemas.microsoft.com/office/drawing/2014/main" id="{444D4CDD-9EED-411B-9910-7A6A65467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8763" y="2447926"/>
              <a:ext cx="249238" cy="604838"/>
            </a:xfrm>
            <a:custGeom>
              <a:avLst/>
              <a:gdLst>
                <a:gd name="T0" fmla="*/ 107 w 109"/>
                <a:gd name="T1" fmla="*/ 0 h 265"/>
                <a:gd name="T2" fmla="*/ 102 w 109"/>
                <a:gd name="T3" fmla="*/ 159 h 265"/>
                <a:gd name="T4" fmla="*/ 91 w 109"/>
                <a:gd name="T5" fmla="*/ 215 h 265"/>
                <a:gd name="T6" fmla="*/ 53 w 109"/>
                <a:gd name="T7" fmla="*/ 257 h 265"/>
                <a:gd name="T8" fmla="*/ 0 w 109"/>
                <a:gd name="T9" fmla="*/ 247 h 265"/>
                <a:gd name="T10" fmla="*/ 107 w 109"/>
                <a:gd name="T11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9" h="265">
                  <a:moveTo>
                    <a:pt x="107" y="0"/>
                  </a:moveTo>
                  <a:cubicBezTo>
                    <a:pt x="109" y="53"/>
                    <a:pt x="107" y="106"/>
                    <a:pt x="102" y="159"/>
                  </a:cubicBezTo>
                  <a:cubicBezTo>
                    <a:pt x="100" y="178"/>
                    <a:pt x="98" y="198"/>
                    <a:pt x="91" y="215"/>
                  </a:cubicBezTo>
                  <a:cubicBezTo>
                    <a:pt x="84" y="233"/>
                    <a:pt x="71" y="250"/>
                    <a:pt x="53" y="257"/>
                  </a:cubicBezTo>
                  <a:cubicBezTo>
                    <a:pt x="35" y="265"/>
                    <a:pt x="13" y="262"/>
                    <a:pt x="0" y="247"/>
                  </a:cubicBezTo>
                  <a:cubicBezTo>
                    <a:pt x="107" y="0"/>
                    <a:pt x="107" y="0"/>
                    <a:pt x="107" y="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5" name="任意多边形: 形状 604">
              <a:extLst>
                <a:ext uri="{FF2B5EF4-FFF2-40B4-BE49-F238E27FC236}">
                  <a16:creationId xmlns:a16="http://schemas.microsoft.com/office/drawing/2014/main" id="{4475E7CC-A0C1-4EBE-B6F6-6948563CB5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001" y="2314576"/>
              <a:ext cx="301625" cy="601663"/>
            </a:xfrm>
            <a:custGeom>
              <a:avLst/>
              <a:gdLst>
                <a:gd name="T0" fmla="*/ 0 w 190"/>
                <a:gd name="T1" fmla="*/ 320 h 379"/>
                <a:gd name="T2" fmla="*/ 190 w 190"/>
                <a:gd name="T3" fmla="*/ 0 h 379"/>
                <a:gd name="T4" fmla="*/ 75 w 190"/>
                <a:gd name="T5" fmla="*/ 360 h 379"/>
                <a:gd name="T6" fmla="*/ 17 w 190"/>
                <a:gd name="T7" fmla="*/ 379 h 379"/>
                <a:gd name="T8" fmla="*/ 0 w 190"/>
                <a:gd name="T9" fmla="*/ 32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379">
                  <a:moveTo>
                    <a:pt x="0" y="320"/>
                  </a:moveTo>
                  <a:lnTo>
                    <a:pt x="190" y="0"/>
                  </a:lnTo>
                  <a:lnTo>
                    <a:pt x="75" y="360"/>
                  </a:lnTo>
                  <a:lnTo>
                    <a:pt x="17" y="379"/>
                  </a:lnTo>
                  <a:lnTo>
                    <a:pt x="0" y="320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6" name="任意多边形: 形状 605">
              <a:extLst>
                <a:ext uri="{FF2B5EF4-FFF2-40B4-BE49-F238E27FC236}">
                  <a16:creationId xmlns:a16="http://schemas.microsoft.com/office/drawing/2014/main" id="{F7DF7D78-A506-4C4D-8211-280A58EA6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001" y="2314576"/>
              <a:ext cx="301625" cy="601663"/>
            </a:xfrm>
            <a:custGeom>
              <a:avLst/>
              <a:gdLst>
                <a:gd name="T0" fmla="*/ 0 w 190"/>
                <a:gd name="T1" fmla="*/ 320 h 379"/>
                <a:gd name="T2" fmla="*/ 190 w 190"/>
                <a:gd name="T3" fmla="*/ 0 h 379"/>
                <a:gd name="T4" fmla="*/ 75 w 190"/>
                <a:gd name="T5" fmla="*/ 360 h 379"/>
                <a:gd name="T6" fmla="*/ 17 w 190"/>
                <a:gd name="T7" fmla="*/ 379 h 379"/>
                <a:gd name="T8" fmla="*/ 0 w 190"/>
                <a:gd name="T9" fmla="*/ 32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379">
                  <a:moveTo>
                    <a:pt x="0" y="320"/>
                  </a:moveTo>
                  <a:lnTo>
                    <a:pt x="190" y="0"/>
                  </a:lnTo>
                  <a:lnTo>
                    <a:pt x="75" y="360"/>
                  </a:lnTo>
                  <a:lnTo>
                    <a:pt x="17" y="379"/>
                  </a:lnTo>
                  <a:lnTo>
                    <a:pt x="0" y="320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7" name="任意多边形: 形状 606">
              <a:extLst>
                <a:ext uri="{FF2B5EF4-FFF2-40B4-BE49-F238E27FC236}">
                  <a16:creationId xmlns:a16="http://schemas.microsoft.com/office/drawing/2014/main" id="{4F9EC405-7612-4FDC-A1F7-12F283EF56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51788" y="2314576"/>
              <a:ext cx="223838" cy="571500"/>
            </a:xfrm>
            <a:custGeom>
              <a:avLst/>
              <a:gdLst>
                <a:gd name="T0" fmla="*/ 141 w 141"/>
                <a:gd name="T1" fmla="*/ 0 h 360"/>
                <a:gd name="T2" fmla="*/ 0 w 141"/>
                <a:gd name="T3" fmla="*/ 327 h 360"/>
                <a:gd name="T4" fmla="*/ 26 w 141"/>
                <a:gd name="T5" fmla="*/ 360 h 360"/>
                <a:gd name="T6" fmla="*/ 141 w 141"/>
                <a:gd name="T7" fmla="*/ 0 h 360"/>
                <a:gd name="T8" fmla="*/ 141 w 141"/>
                <a:gd name="T9" fmla="*/ 0 h 360"/>
                <a:gd name="T10" fmla="*/ 141 w 141"/>
                <a:gd name="T11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1" h="360">
                  <a:moveTo>
                    <a:pt x="141" y="0"/>
                  </a:moveTo>
                  <a:lnTo>
                    <a:pt x="0" y="327"/>
                  </a:lnTo>
                  <a:lnTo>
                    <a:pt x="26" y="360"/>
                  </a:lnTo>
                  <a:lnTo>
                    <a:pt x="141" y="0"/>
                  </a:lnTo>
                  <a:close/>
                  <a:moveTo>
                    <a:pt x="141" y="0"/>
                  </a:moveTo>
                  <a:lnTo>
                    <a:pt x="141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8" name="任意多边形: 形状 607">
              <a:extLst>
                <a:ext uri="{FF2B5EF4-FFF2-40B4-BE49-F238E27FC236}">
                  <a16:creationId xmlns:a16="http://schemas.microsoft.com/office/drawing/2014/main" id="{91D30124-49B9-4ABD-B048-78AB54B8D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51788" y="2314576"/>
              <a:ext cx="223838" cy="571500"/>
            </a:xfrm>
            <a:custGeom>
              <a:avLst/>
              <a:gdLst>
                <a:gd name="T0" fmla="*/ 141 w 141"/>
                <a:gd name="T1" fmla="*/ 0 h 360"/>
                <a:gd name="T2" fmla="*/ 0 w 141"/>
                <a:gd name="T3" fmla="*/ 327 h 360"/>
                <a:gd name="T4" fmla="*/ 26 w 141"/>
                <a:gd name="T5" fmla="*/ 360 h 360"/>
                <a:gd name="T6" fmla="*/ 141 w 141"/>
                <a:gd name="T7" fmla="*/ 0 h 360"/>
                <a:gd name="T8" fmla="*/ 141 w 141"/>
                <a:gd name="T9" fmla="*/ 0 h 360"/>
                <a:gd name="T10" fmla="*/ 141 w 141"/>
                <a:gd name="T11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1" h="360">
                  <a:moveTo>
                    <a:pt x="141" y="0"/>
                  </a:moveTo>
                  <a:lnTo>
                    <a:pt x="0" y="327"/>
                  </a:lnTo>
                  <a:lnTo>
                    <a:pt x="26" y="360"/>
                  </a:lnTo>
                  <a:lnTo>
                    <a:pt x="141" y="0"/>
                  </a:lnTo>
                  <a:moveTo>
                    <a:pt x="141" y="0"/>
                  </a:moveTo>
                  <a:lnTo>
                    <a:pt x="14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9" name="椭圆 608">
              <a:extLst>
                <a:ext uri="{FF2B5EF4-FFF2-40B4-BE49-F238E27FC236}">
                  <a16:creationId xmlns:a16="http://schemas.microsoft.com/office/drawing/2014/main" id="{F6DADF92-7B2E-4513-9BAF-35EDA62B88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02563" y="2817813"/>
              <a:ext cx="195263" cy="193675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0" name="任意多边形: 形状 609">
              <a:extLst>
                <a:ext uri="{FF2B5EF4-FFF2-40B4-BE49-F238E27FC236}">
                  <a16:creationId xmlns:a16="http://schemas.microsoft.com/office/drawing/2014/main" id="{7BE97F75-9631-43F5-8076-0E4DF3008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0976" y="2814638"/>
              <a:ext cx="198438" cy="200025"/>
            </a:xfrm>
            <a:custGeom>
              <a:avLst/>
              <a:gdLst>
                <a:gd name="T0" fmla="*/ 86 w 87"/>
                <a:gd name="T1" fmla="*/ 44 h 87"/>
                <a:gd name="T2" fmla="*/ 84 w 87"/>
                <a:gd name="T3" fmla="*/ 33 h 87"/>
                <a:gd name="T4" fmla="*/ 69 w 87"/>
                <a:gd name="T5" fmla="*/ 11 h 87"/>
                <a:gd name="T6" fmla="*/ 51 w 87"/>
                <a:gd name="T7" fmla="*/ 3 h 87"/>
                <a:gd name="T8" fmla="*/ 30 w 87"/>
                <a:gd name="T9" fmla="*/ 5 h 87"/>
                <a:gd name="T10" fmla="*/ 19 w 87"/>
                <a:gd name="T11" fmla="*/ 10 h 87"/>
                <a:gd name="T12" fmla="*/ 10 w 87"/>
                <a:gd name="T13" fmla="*/ 19 h 87"/>
                <a:gd name="T14" fmla="*/ 2 w 87"/>
                <a:gd name="T15" fmla="*/ 44 h 87"/>
                <a:gd name="T16" fmla="*/ 10 w 87"/>
                <a:gd name="T17" fmla="*/ 68 h 87"/>
                <a:gd name="T18" fmla="*/ 19 w 87"/>
                <a:gd name="T19" fmla="*/ 77 h 87"/>
                <a:gd name="T20" fmla="*/ 30 w 87"/>
                <a:gd name="T21" fmla="*/ 83 h 87"/>
                <a:gd name="T22" fmla="*/ 51 w 87"/>
                <a:gd name="T23" fmla="*/ 84 h 87"/>
                <a:gd name="T24" fmla="*/ 69 w 87"/>
                <a:gd name="T25" fmla="*/ 77 h 87"/>
                <a:gd name="T26" fmla="*/ 84 w 87"/>
                <a:gd name="T27" fmla="*/ 54 h 87"/>
                <a:gd name="T28" fmla="*/ 86 w 87"/>
                <a:gd name="T29" fmla="*/ 44 h 87"/>
                <a:gd name="T30" fmla="*/ 85 w 87"/>
                <a:gd name="T31" fmla="*/ 54 h 87"/>
                <a:gd name="T32" fmla="*/ 70 w 87"/>
                <a:gd name="T33" fmla="*/ 78 h 87"/>
                <a:gd name="T34" fmla="*/ 52 w 87"/>
                <a:gd name="T35" fmla="*/ 86 h 87"/>
                <a:gd name="T36" fmla="*/ 29 w 87"/>
                <a:gd name="T37" fmla="*/ 84 h 87"/>
                <a:gd name="T38" fmla="*/ 18 w 87"/>
                <a:gd name="T39" fmla="*/ 78 h 87"/>
                <a:gd name="T40" fmla="*/ 9 w 87"/>
                <a:gd name="T41" fmla="*/ 69 h 87"/>
                <a:gd name="T42" fmla="*/ 0 w 87"/>
                <a:gd name="T43" fmla="*/ 44 h 87"/>
                <a:gd name="T44" fmla="*/ 9 w 87"/>
                <a:gd name="T45" fmla="*/ 18 h 87"/>
                <a:gd name="T46" fmla="*/ 18 w 87"/>
                <a:gd name="T47" fmla="*/ 9 h 87"/>
                <a:gd name="T48" fmla="*/ 29 w 87"/>
                <a:gd name="T49" fmla="*/ 3 h 87"/>
                <a:gd name="T50" fmla="*/ 52 w 87"/>
                <a:gd name="T51" fmla="*/ 1 h 87"/>
                <a:gd name="T52" fmla="*/ 70 w 87"/>
                <a:gd name="T53" fmla="*/ 9 h 87"/>
                <a:gd name="T54" fmla="*/ 85 w 87"/>
                <a:gd name="T55" fmla="*/ 33 h 87"/>
                <a:gd name="T56" fmla="*/ 86 w 87"/>
                <a:gd name="T57" fmla="*/ 4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7" h="87">
                  <a:moveTo>
                    <a:pt x="86" y="44"/>
                  </a:moveTo>
                  <a:cubicBezTo>
                    <a:pt x="86" y="44"/>
                    <a:pt x="86" y="40"/>
                    <a:pt x="84" y="33"/>
                  </a:cubicBezTo>
                  <a:cubicBezTo>
                    <a:pt x="83" y="27"/>
                    <a:pt x="79" y="18"/>
                    <a:pt x="69" y="11"/>
                  </a:cubicBezTo>
                  <a:cubicBezTo>
                    <a:pt x="64" y="7"/>
                    <a:pt x="58" y="4"/>
                    <a:pt x="51" y="3"/>
                  </a:cubicBezTo>
                  <a:cubicBezTo>
                    <a:pt x="45" y="2"/>
                    <a:pt x="37" y="2"/>
                    <a:pt x="30" y="5"/>
                  </a:cubicBezTo>
                  <a:cubicBezTo>
                    <a:pt x="26" y="6"/>
                    <a:pt x="22" y="8"/>
                    <a:pt x="19" y="10"/>
                  </a:cubicBezTo>
                  <a:cubicBezTo>
                    <a:pt x="16" y="13"/>
                    <a:pt x="13" y="16"/>
                    <a:pt x="10" y="19"/>
                  </a:cubicBezTo>
                  <a:cubicBezTo>
                    <a:pt x="5" y="26"/>
                    <a:pt x="3" y="35"/>
                    <a:pt x="2" y="44"/>
                  </a:cubicBezTo>
                  <a:cubicBezTo>
                    <a:pt x="3" y="53"/>
                    <a:pt x="5" y="61"/>
                    <a:pt x="10" y="68"/>
                  </a:cubicBezTo>
                  <a:cubicBezTo>
                    <a:pt x="13" y="72"/>
                    <a:pt x="16" y="74"/>
                    <a:pt x="19" y="77"/>
                  </a:cubicBezTo>
                  <a:cubicBezTo>
                    <a:pt x="22" y="79"/>
                    <a:pt x="26" y="81"/>
                    <a:pt x="30" y="83"/>
                  </a:cubicBezTo>
                  <a:cubicBezTo>
                    <a:pt x="37" y="85"/>
                    <a:pt x="45" y="86"/>
                    <a:pt x="51" y="84"/>
                  </a:cubicBezTo>
                  <a:cubicBezTo>
                    <a:pt x="58" y="83"/>
                    <a:pt x="64" y="80"/>
                    <a:pt x="69" y="77"/>
                  </a:cubicBezTo>
                  <a:cubicBezTo>
                    <a:pt x="79" y="70"/>
                    <a:pt x="83" y="60"/>
                    <a:pt x="84" y="54"/>
                  </a:cubicBezTo>
                  <a:cubicBezTo>
                    <a:pt x="86" y="47"/>
                    <a:pt x="86" y="44"/>
                    <a:pt x="86" y="44"/>
                  </a:cubicBezTo>
                  <a:cubicBezTo>
                    <a:pt x="86" y="44"/>
                    <a:pt x="87" y="47"/>
                    <a:pt x="85" y="54"/>
                  </a:cubicBezTo>
                  <a:cubicBezTo>
                    <a:pt x="84" y="61"/>
                    <a:pt x="80" y="70"/>
                    <a:pt x="70" y="78"/>
                  </a:cubicBezTo>
                  <a:cubicBezTo>
                    <a:pt x="65" y="82"/>
                    <a:pt x="59" y="85"/>
                    <a:pt x="52" y="86"/>
                  </a:cubicBezTo>
                  <a:cubicBezTo>
                    <a:pt x="45" y="87"/>
                    <a:pt x="37" y="87"/>
                    <a:pt x="29" y="84"/>
                  </a:cubicBezTo>
                  <a:cubicBezTo>
                    <a:pt x="25" y="83"/>
                    <a:pt x="21" y="81"/>
                    <a:pt x="18" y="78"/>
                  </a:cubicBezTo>
                  <a:cubicBezTo>
                    <a:pt x="15" y="76"/>
                    <a:pt x="11" y="73"/>
                    <a:pt x="9" y="69"/>
                  </a:cubicBezTo>
                  <a:cubicBezTo>
                    <a:pt x="3" y="62"/>
                    <a:pt x="0" y="53"/>
                    <a:pt x="0" y="44"/>
                  </a:cubicBezTo>
                  <a:cubicBezTo>
                    <a:pt x="0" y="34"/>
                    <a:pt x="3" y="25"/>
                    <a:pt x="9" y="18"/>
                  </a:cubicBezTo>
                  <a:cubicBezTo>
                    <a:pt x="11" y="14"/>
                    <a:pt x="15" y="11"/>
                    <a:pt x="18" y="9"/>
                  </a:cubicBezTo>
                  <a:cubicBezTo>
                    <a:pt x="21" y="6"/>
                    <a:pt x="25" y="4"/>
                    <a:pt x="29" y="3"/>
                  </a:cubicBezTo>
                  <a:cubicBezTo>
                    <a:pt x="37" y="0"/>
                    <a:pt x="45" y="0"/>
                    <a:pt x="52" y="1"/>
                  </a:cubicBezTo>
                  <a:cubicBezTo>
                    <a:pt x="59" y="2"/>
                    <a:pt x="65" y="6"/>
                    <a:pt x="70" y="9"/>
                  </a:cubicBezTo>
                  <a:cubicBezTo>
                    <a:pt x="80" y="17"/>
                    <a:pt x="84" y="27"/>
                    <a:pt x="85" y="33"/>
                  </a:cubicBezTo>
                  <a:cubicBezTo>
                    <a:pt x="87" y="40"/>
                    <a:pt x="86" y="44"/>
                    <a:pt x="86" y="4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1" name="椭圆 610">
              <a:extLst>
                <a:ext uri="{FF2B5EF4-FFF2-40B4-BE49-F238E27FC236}">
                  <a16:creationId xmlns:a16="http://schemas.microsoft.com/office/drawing/2014/main" id="{2E7E08E2-41BC-41E8-A8EB-CD16C3BDA7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27963" y="2843213"/>
              <a:ext cx="144463" cy="1428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2" name="任意多边形: 形状 611">
              <a:extLst>
                <a:ext uri="{FF2B5EF4-FFF2-40B4-BE49-F238E27FC236}">
                  <a16:creationId xmlns:a16="http://schemas.microsoft.com/office/drawing/2014/main" id="{2E9484F0-7741-428E-9673-A4753DAAE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401" y="3324226"/>
              <a:ext cx="476250" cy="1914525"/>
            </a:xfrm>
            <a:custGeom>
              <a:avLst/>
              <a:gdLst>
                <a:gd name="T0" fmla="*/ 0 w 300"/>
                <a:gd name="T1" fmla="*/ 1206 h 1206"/>
                <a:gd name="T2" fmla="*/ 300 w 300"/>
                <a:gd name="T3" fmla="*/ 1206 h 1206"/>
                <a:gd name="T4" fmla="*/ 160 w 300"/>
                <a:gd name="T5" fmla="*/ 0 h 1206"/>
                <a:gd name="T6" fmla="*/ 0 w 300"/>
                <a:gd name="T7" fmla="*/ 1206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0" h="1206">
                  <a:moveTo>
                    <a:pt x="0" y="1206"/>
                  </a:moveTo>
                  <a:lnTo>
                    <a:pt x="300" y="1206"/>
                  </a:lnTo>
                  <a:lnTo>
                    <a:pt x="160" y="0"/>
                  </a:lnTo>
                  <a:lnTo>
                    <a:pt x="0" y="1206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3" name="任意多边形: 形状 612">
              <a:extLst>
                <a:ext uri="{FF2B5EF4-FFF2-40B4-BE49-F238E27FC236}">
                  <a16:creationId xmlns:a16="http://schemas.microsoft.com/office/drawing/2014/main" id="{609C74DF-DF59-41D5-8CC1-7F0465867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1" y="3324226"/>
              <a:ext cx="2908300" cy="1971675"/>
            </a:xfrm>
            <a:custGeom>
              <a:avLst/>
              <a:gdLst>
                <a:gd name="T0" fmla="*/ 194 w 1832"/>
                <a:gd name="T1" fmla="*/ 0 h 1242"/>
                <a:gd name="T2" fmla="*/ 0 w 1832"/>
                <a:gd name="T3" fmla="*/ 1220 h 1242"/>
                <a:gd name="T4" fmla="*/ 1668 w 1832"/>
                <a:gd name="T5" fmla="*/ 1242 h 1242"/>
                <a:gd name="T6" fmla="*/ 1832 w 1832"/>
                <a:gd name="T7" fmla="*/ 0 h 1242"/>
                <a:gd name="T8" fmla="*/ 194 w 1832"/>
                <a:gd name="T9" fmla="*/ 0 h 1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2" h="1242">
                  <a:moveTo>
                    <a:pt x="194" y="0"/>
                  </a:moveTo>
                  <a:lnTo>
                    <a:pt x="0" y="1220"/>
                  </a:lnTo>
                  <a:lnTo>
                    <a:pt x="1668" y="1242"/>
                  </a:lnTo>
                  <a:lnTo>
                    <a:pt x="1832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4" name="任意多边形: 形状 613">
              <a:extLst>
                <a:ext uri="{FF2B5EF4-FFF2-40B4-BE49-F238E27FC236}">
                  <a16:creationId xmlns:a16="http://schemas.microsoft.com/office/drawing/2014/main" id="{4DFAB3CB-BB29-4DEC-AC90-1FAEC139E8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1" y="3324226"/>
              <a:ext cx="2908300" cy="1971675"/>
            </a:xfrm>
            <a:custGeom>
              <a:avLst/>
              <a:gdLst>
                <a:gd name="T0" fmla="*/ 194 w 1832"/>
                <a:gd name="T1" fmla="*/ 0 h 1242"/>
                <a:gd name="T2" fmla="*/ 0 w 1832"/>
                <a:gd name="T3" fmla="*/ 1220 h 1242"/>
                <a:gd name="T4" fmla="*/ 1668 w 1832"/>
                <a:gd name="T5" fmla="*/ 1242 h 1242"/>
                <a:gd name="T6" fmla="*/ 1832 w 1832"/>
                <a:gd name="T7" fmla="*/ 0 h 1242"/>
                <a:gd name="T8" fmla="*/ 194 w 1832"/>
                <a:gd name="T9" fmla="*/ 0 h 1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2" h="1242">
                  <a:moveTo>
                    <a:pt x="194" y="0"/>
                  </a:moveTo>
                  <a:lnTo>
                    <a:pt x="0" y="1220"/>
                  </a:lnTo>
                  <a:lnTo>
                    <a:pt x="1668" y="1242"/>
                  </a:lnTo>
                  <a:lnTo>
                    <a:pt x="1832" y="0"/>
                  </a:lnTo>
                  <a:lnTo>
                    <a:pt x="19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5" name="任意多边形: 形状 614">
              <a:extLst>
                <a:ext uri="{FF2B5EF4-FFF2-40B4-BE49-F238E27FC236}">
                  <a16:creationId xmlns:a16="http://schemas.microsoft.com/office/drawing/2014/main" id="{0FB6E21D-16D8-401F-99EE-06381E6FF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9788" y="3854451"/>
              <a:ext cx="2670175" cy="357188"/>
            </a:xfrm>
            <a:custGeom>
              <a:avLst/>
              <a:gdLst>
                <a:gd name="T0" fmla="*/ 1654 w 1682"/>
                <a:gd name="T1" fmla="*/ 225 h 225"/>
                <a:gd name="T2" fmla="*/ 0 w 1682"/>
                <a:gd name="T3" fmla="*/ 225 h 225"/>
                <a:gd name="T4" fmla="*/ 36 w 1682"/>
                <a:gd name="T5" fmla="*/ 0 h 225"/>
                <a:gd name="T6" fmla="*/ 1682 w 1682"/>
                <a:gd name="T7" fmla="*/ 0 h 225"/>
                <a:gd name="T8" fmla="*/ 1654 w 1682"/>
                <a:gd name="T9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2" h="225">
                  <a:moveTo>
                    <a:pt x="1654" y="225"/>
                  </a:moveTo>
                  <a:lnTo>
                    <a:pt x="0" y="225"/>
                  </a:lnTo>
                  <a:lnTo>
                    <a:pt x="36" y="0"/>
                  </a:lnTo>
                  <a:lnTo>
                    <a:pt x="1682" y="0"/>
                  </a:lnTo>
                  <a:lnTo>
                    <a:pt x="1654" y="225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6" name="任意多边形: 形状 615">
              <a:extLst>
                <a:ext uri="{FF2B5EF4-FFF2-40B4-BE49-F238E27FC236}">
                  <a16:creationId xmlns:a16="http://schemas.microsoft.com/office/drawing/2014/main" id="{3FA8032A-95CD-4785-855C-5AF7E0B700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9788" y="3854451"/>
              <a:ext cx="2670175" cy="357188"/>
            </a:xfrm>
            <a:custGeom>
              <a:avLst/>
              <a:gdLst>
                <a:gd name="T0" fmla="*/ 1654 w 1682"/>
                <a:gd name="T1" fmla="*/ 225 h 225"/>
                <a:gd name="T2" fmla="*/ 0 w 1682"/>
                <a:gd name="T3" fmla="*/ 225 h 225"/>
                <a:gd name="T4" fmla="*/ 36 w 1682"/>
                <a:gd name="T5" fmla="*/ 0 h 225"/>
                <a:gd name="T6" fmla="*/ 1682 w 1682"/>
                <a:gd name="T7" fmla="*/ 0 h 225"/>
                <a:gd name="T8" fmla="*/ 1654 w 1682"/>
                <a:gd name="T9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2" h="225">
                  <a:moveTo>
                    <a:pt x="1654" y="225"/>
                  </a:moveTo>
                  <a:lnTo>
                    <a:pt x="0" y="225"/>
                  </a:lnTo>
                  <a:lnTo>
                    <a:pt x="36" y="0"/>
                  </a:lnTo>
                  <a:lnTo>
                    <a:pt x="1682" y="0"/>
                  </a:lnTo>
                  <a:lnTo>
                    <a:pt x="1654" y="2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7" name="任意多边形: 形状 616">
              <a:extLst>
                <a:ext uri="{FF2B5EF4-FFF2-40B4-BE49-F238E27FC236}">
                  <a16:creationId xmlns:a16="http://schemas.microsoft.com/office/drawing/2014/main" id="{81D1A526-8F64-4EA6-96BB-203757BC0F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9788" y="3854451"/>
              <a:ext cx="2670175" cy="357188"/>
            </a:xfrm>
            <a:custGeom>
              <a:avLst/>
              <a:gdLst>
                <a:gd name="T0" fmla="*/ 1654 w 1682"/>
                <a:gd name="T1" fmla="*/ 225 h 225"/>
                <a:gd name="T2" fmla="*/ 0 w 1682"/>
                <a:gd name="T3" fmla="*/ 225 h 225"/>
                <a:gd name="T4" fmla="*/ 0 w 1682"/>
                <a:gd name="T5" fmla="*/ 225 h 225"/>
                <a:gd name="T6" fmla="*/ 36 w 1682"/>
                <a:gd name="T7" fmla="*/ 0 h 225"/>
                <a:gd name="T8" fmla="*/ 1682 w 1682"/>
                <a:gd name="T9" fmla="*/ 0 h 225"/>
                <a:gd name="T10" fmla="*/ 1682 w 1682"/>
                <a:gd name="T11" fmla="*/ 0 h 225"/>
                <a:gd name="T12" fmla="*/ 1654 w 1682"/>
                <a:gd name="T13" fmla="*/ 225 h 225"/>
                <a:gd name="T14" fmla="*/ 0 w 1682"/>
                <a:gd name="T15" fmla="*/ 225 h 225"/>
                <a:gd name="T16" fmla="*/ 1652 w 1682"/>
                <a:gd name="T17" fmla="*/ 225 h 225"/>
                <a:gd name="T18" fmla="*/ 1682 w 1682"/>
                <a:gd name="T19" fmla="*/ 0 h 225"/>
                <a:gd name="T20" fmla="*/ 36 w 1682"/>
                <a:gd name="T21" fmla="*/ 0 h 225"/>
                <a:gd name="T22" fmla="*/ 0 w 1682"/>
                <a:gd name="T23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82" h="225">
                  <a:moveTo>
                    <a:pt x="1654" y="225"/>
                  </a:moveTo>
                  <a:lnTo>
                    <a:pt x="0" y="225"/>
                  </a:lnTo>
                  <a:lnTo>
                    <a:pt x="0" y="225"/>
                  </a:lnTo>
                  <a:lnTo>
                    <a:pt x="36" y="0"/>
                  </a:lnTo>
                  <a:lnTo>
                    <a:pt x="1682" y="0"/>
                  </a:lnTo>
                  <a:lnTo>
                    <a:pt x="1682" y="0"/>
                  </a:lnTo>
                  <a:lnTo>
                    <a:pt x="1654" y="225"/>
                  </a:lnTo>
                  <a:close/>
                  <a:moveTo>
                    <a:pt x="0" y="225"/>
                  </a:moveTo>
                  <a:lnTo>
                    <a:pt x="1652" y="225"/>
                  </a:lnTo>
                  <a:lnTo>
                    <a:pt x="1682" y="0"/>
                  </a:lnTo>
                  <a:lnTo>
                    <a:pt x="36" y="0"/>
                  </a:lnTo>
                  <a:lnTo>
                    <a:pt x="0" y="225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8" name="任意多边形: 形状 617">
              <a:extLst>
                <a:ext uri="{FF2B5EF4-FFF2-40B4-BE49-F238E27FC236}">
                  <a16:creationId xmlns:a16="http://schemas.microsoft.com/office/drawing/2014/main" id="{19C0E651-A830-4438-9D34-91ECA1DD88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9788" y="3854451"/>
              <a:ext cx="2670175" cy="357188"/>
            </a:xfrm>
            <a:custGeom>
              <a:avLst/>
              <a:gdLst>
                <a:gd name="T0" fmla="*/ 1654 w 1682"/>
                <a:gd name="T1" fmla="*/ 225 h 225"/>
                <a:gd name="T2" fmla="*/ 0 w 1682"/>
                <a:gd name="T3" fmla="*/ 225 h 225"/>
                <a:gd name="T4" fmla="*/ 0 w 1682"/>
                <a:gd name="T5" fmla="*/ 225 h 225"/>
                <a:gd name="T6" fmla="*/ 36 w 1682"/>
                <a:gd name="T7" fmla="*/ 0 h 225"/>
                <a:gd name="T8" fmla="*/ 1682 w 1682"/>
                <a:gd name="T9" fmla="*/ 0 h 225"/>
                <a:gd name="T10" fmla="*/ 1682 w 1682"/>
                <a:gd name="T11" fmla="*/ 0 h 225"/>
                <a:gd name="T12" fmla="*/ 1654 w 1682"/>
                <a:gd name="T13" fmla="*/ 225 h 225"/>
                <a:gd name="T14" fmla="*/ 0 w 1682"/>
                <a:gd name="T15" fmla="*/ 225 h 225"/>
                <a:gd name="T16" fmla="*/ 1652 w 1682"/>
                <a:gd name="T17" fmla="*/ 225 h 225"/>
                <a:gd name="T18" fmla="*/ 1682 w 1682"/>
                <a:gd name="T19" fmla="*/ 0 h 225"/>
                <a:gd name="T20" fmla="*/ 36 w 1682"/>
                <a:gd name="T21" fmla="*/ 0 h 225"/>
                <a:gd name="T22" fmla="*/ 0 w 1682"/>
                <a:gd name="T23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82" h="225">
                  <a:moveTo>
                    <a:pt x="1654" y="225"/>
                  </a:moveTo>
                  <a:lnTo>
                    <a:pt x="0" y="225"/>
                  </a:lnTo>
                  <a:lnTo>
                    <a:pt x="0" y="225"/>
                  </a:lnTo>
                  <a:lnTo>
                    <a:pt x="36" y="0"/>
                  </a:lnTo>
                  <a:lnTo>
                    <a:pt x="1682" y="0"/>
                  </a:lnTo>
                  <a:lnTo>
                    <a:pt x="1682" y="0"/>
                  </a:lnTo>
                  <a:lnTo>
                    <a:pt x="1654" y="225"/>
                  </a:lnTo>
                  <a:moveTo>
                    <a:pt x="0" y="225"/>
                  </a:moveTo>
                  <a:lnTo>
                    <a:pt x="1652" y="225"/>
                  </a:lnTo>
                  <a:lnTo>
                    <a:pt x="1682" y="0"/>
                  </a:lnTo>
                  <a:lnTo>
                    <a:pt x="36" y="0"/>
                  </a:lnTo>
                  <a:lnTo>
                    <a:pt x="0" y="2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9" name="任意多边形: 形状 618">
              <a:extLst>
                <a:ext uri="{FF2B5EF4-FFF2-40B4-BE49-F238E27FC236}">
                  <a16:creationId xmlns:a16="http://schemas.microsoft.com/office/drawing/2014/main" id="{21FF3648-5F0E-4271-A5C2-468561F7D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6938" y="3324226"/>
              <a:ext cx="2684463" cy="530225"/>
            </a:xfrm>
            <a:custGeom>
              <a:avLst/>
              <a:gdLst>
                <a:gd name="T0" fmla="*/ 53 w 1691"/>
                <a:gd name="T1" fmla="*/ 0 h 334"/>
                <a:gd name="T2" fmla="*/ 0 w 1691"/>
                <a:gd name="T3" fmla="*/ 334 h 334"/>
                <a:gd name="T4" fmla="*/ 1646 w 1691"/>
                <a:gd name="T5" fmla="*/ 334 h 334"/>
                <a:gd name="T6" fmla="*/ 1691 w 1691"/>
                <a:gd name="T7" fmla="*/ 0 h 334"/>
                <a:gd name="T8" fmla="*/ 53 w 1691"/>
                <a:gd name="T9" fmla="*/ 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1" h="334">
                  <a:moveTo>
                    <a:pt x="53" y="0"/>
                  </a:moveTo>
                  <a:lnTo>
                    <a:pt x="0" y="334"/>
                  </a:lnTo>
                  <a:lnTo>
                    <a:pt x="1646" y="334"/>
                  </a:lnTo>
                  <a:lnTo>
                    <a:pt x="1691" y="0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0" name="任意多边形: 形状 619">
              <a:extLst>
                <a:ext uri="{FF2B5EF4-FFF2-40B4-BE49-F238E27FC236}">
                  <a16:creationId xmlns:a16="http://schemas.microsoft.com/office/drawing/2014/main" id="{B63B6813-9066-4AAE-8422-85EA0F0326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6938" y="3324226"/>
              <a:ext cx="2684463" cy="530225"/>
            </a:xfrm>
            <a:custGeom>
              <a:avLst/>
              <a:gdLst>
                <a:gd name="T0" fmla="*/ 53 w 1691"/>
                <a:gd name="T1" fmla="*/ 0 h 334"/>
                <a:gd name="T2" fmla="*/ 0 w 1691"/>
                <a:gd name="T3" fmla="*/ 334 h 334"/>
                <a:gd name="T4" fmla="*/ 1646 w 1691"/>
                <a:gd name="T5" fmla="*/ 334 h 334"/>
                <a:gd name="T6" fmla="*/ 1691 w 1691"/>
                <a:gd name="T7" fmla="*/ 0 h 334"/>
                <a:gd name="T8" fmla="*/ 53 w 1691"/>
                <a:gd name="T9" fmla="*/ 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1" h="334">
                  <a:moveTo>
                    <a:pt x="53" y="0"/>
                  </a:moveTo>
                  <a:lnTo>
                    <a:pt x="0" y="334"/>
                  </a:lnTo>
                  <a:lnTo>
                    <a:pt x="1646" y="334"/>
                  </a:lnTo>
                  <a:lnTo>
                    <a:pt x="1691" y="0"/>
                  </a:lnTo>
                  <a:lnTo>
                    <a:pt x="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1" name="任意多边形: 形状 620">
              <a:extLst>
                <a:ext uri="{FF2B5EF4-FFF2-40B4-BE49-F238E27FC236}">
                  <a16:creationId xmlns:a16="http://schemas.microsoft.com/office/drawing/2014/main" id="{1EE0A9B6-5C3D-4FCE-AFCE-6B4502E5D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1" y="3322638"/>
              <a:ext cx="2911475" cy="1927225"/>
            </a:xfrm>
            <a:custGeom>
              <a:avLst/>
              <a:gdLst>
                <a:gd name="T0" fmla="*/ 135 w 1273"/>
                <a:gd name="T1" fmla="*/ 1 h 843"/>
                <a:gd name="T2" fmla="*/ 1272 w 1273"/>
                <a:gd name="T3" fmla="*/ 0 h 843"/>
                <a:gd name="T4" fmla="*/ 1273 w 1273"/>
                <a:gd name="T5" fmla="*/ 0 h 843"/>
                <a:gd name="T6" fmla="*/ 1273 w 1273"/>
                <a:gd name="T7" fmla="*/ 1 h 843"/>
                <a:gd name="T8" fmla="*/ 1161 w 1273"/>
                <a:gd name="T9" fmla="*/ 842 h 843"/>
                <a:gd name="T10" fmla="*/ 1161 w 1273"/>
                <a:gd name="T11" fmla="*/ 843 h 843"/>
                <a:gd name="T12" fmla="*/ 1160 w 1273"/>
                <a:gd name="T13" fmla="*/ 843 h 843"/>
                <a:gd name="T14" fmla="*/ 1147 w 1273"/>
                <a:gd name="T15" fmla="*/ 843 h 843"/>
                <a:gd name="T16" fmla="*/ 1 w 1273"/>
                <a:gd name="T17" fmla="*/ 843 h 843"/>
                <a:gd name="T18" fmla="*/ 0 w 1273"/>
                <a:gd name="T19" fmla="*/ 843 h 843"/>
                <a:gd name="T20" fmla="*/ 0 w 1273"/>
                <a:gd name="T21" fmla="*/ 842 h 843"/>
                <a:gd name="T22" fmla="*/ 135 w 1273"/>
                <a:gd name="T23" fmla="*/ 1 h 843"/>
                <a:gd name="T24" fmla="*/ 2 w 1273"/>
                <a:gd name="T25" fmla="*/ 842 h 843"/>
                <a:gd name="T26" fmla="*/ 1 w 1273"/>
                <a:gd name="T27" fmla="*/ 841 h 843"/>
                <a:gd name="T28" fmla="*/ 1147 w 1273"/>
                <a:gd name="T29" fmla="*/ 841 h 843"/>
                <a:gd name="T30" fmla="*/ 1160 w 1273"/>
                <a:gd name="T31" fmla="*/ 841 h 843"/>
                <a:gd name="T32" fmla="*/ 1159 w 1273"/>
                <a:gd name="T33" fmla="*/ 842 h 843"/>
                <a:gd name="T34" fmla="*/ 1271 w 1273"/>
                <a:gd name="T35" fmla="*/ 1 h 843"/>
                <a:gd name="T36" fmla="*/ 1272 w 1273"/>
                <a:gd name="T37" fmla="*/ 2 h 843"/>
                <a:gd name="T38" fmla="*/ 135 w 1273"/>
                <a:gd name="T39" fmla="*/ 1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73" h="843">
                  <a:moveTo>
                    <a:pt x="135" y="1"/>
                  </a:moveTo>
                  <a:cubicBezTo>
                    <a:pt x="144" y="1"/>
                    <a:pt x="598" y="1"/>
                    <a:pt x="1272" y="0"/>
                  </a:cubicBezTo>
                  <a:cubicBezTo>
                    <a:pt x="1273" y="0"/>
                    <a:pt x="1273" y="0"/>
                    <a:pt x="1273" y="0"/>
                  </a:cubicBezTo>
                  <a:cubicBezTo>
                    <a:pt x="1273" y="1"/>
                    <a:pt x="1273" y="1"/>
                    <a:pt x="1273" y="1"/>
                  </a:cubicBezTo>
                  <a:cubicBezTo>
                    <a:pt x="1240" y="254"/>
                    <a:pt x="1202" y="540"/>
                    <a:pt x="1161" y="842"/>
                  </a:cubicBezTo>
                  <a:cubicBezTo>
                    <a:pt x="1161" y="843"/>
                    <a:pt x="1161" y="843"/>
                    <a:pt x="1161" y="843"/>
                  </a:cubicBezTo>
                  <a:cubicBezTo>
                    <a:pt x="1160" y="843"/>
                    <a:pt x="1160" y="843"/>
                    <a:pt x="1160" y="843"/>
                  </a:cubicBezTo>
                  <a:cubicBezTo>
                    <a:pt x="1156" y="843"/>
                    <a:pt x="1152" y="843"/>
                    <a:pt x="1147" y="843"/>
                  </a:cubicBezTo>
                  <a:cubicBezTo>
                    <a:pt x="720" y="843"/>
                    <a:pt x="324" y="843"/>
                    <a:pt x="1" y="843"/>
                  </a:cubicBezTo>
                  <a:cubicBezTo>
                    <a:pt x="0" y="843"/>
                    <a:pt x="0" y="843"/>
                    <a:pt x="0" y="843"/>
                  </a:cubicBezTo>
                  <a:cubicBezTo>
                    <a:pt x="0" y="842"/>
                    <a:pt x="0" y="842"/>
                    <a:pt x="0" y="842"/>
                  </a:cubicBezTo>
                  <a:cubicBezTo>
                    <a:pt x="82" y="333"/>
                    <a:pt x="134" y="8"/>
                    <a:pt x="135" y="1"/>
                  </a:cubicBezTo>
                  <a:cubicBezTo>
                    <a:pt x="134" y="8"/>
                    <a:pt x="83" y="333"/>
                    <a:pt x="2" y="842"/>
                  </a:cubicBezTo>
                  <a:cubicBezTo>
                    <a:pt x="1" y="841"/>
                    <a:pt x="1" y="841"/>
                    <a:pt x="1" y="841"/>
                  </a:cubicBezTo>
                  <a:cubicBezTo>
                    <a:pt x="324" y="841"/>
                    <a:pt x="720" y="841"/>
                    <a:pt x="1147" y="841"/>
                  </a:cubicBezTo>
                  <a:cubicBezTo>
                    <a:pt x="1152" y="841"/>
                    <a:pt x="1156" y="841"/>
                    <a:pt x="1160" y="841"/>
                  </a:cubicBezTo>
                  <a:cubicBezTo>
                    <a:pt x="1159" y="842"/>
                    <a:pt x="1159" y="842"/>
                    <a:pt x="1159" y="842"/>
                  </a:cubicBezTo>
                  <a:cubicBezTo>
                    <a:pt x="1200" y="540"/>
                    <a:pt x="1238" y="253"/>
                    <a:pt x="1271" y="1"/>
                  </a:cubicBezTo>
                  <a:cubicBezTo>
                    <a:pt x="1272" y="2"/>
                    <a:pt x="1272" y="2"/>
                    <a:pt x="1272" y="2"/>
                  </a:cubicBezTo>
                  <a:cubicBezTo>
                    <a:pt x="598" y="1"/>
                    <a:pt x="144" y="1"/>
                    <a:pt x="135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2" name="椭圆 621">
              <a:extLst>
                <a:ext uri="{FF2B5EF4-FFF2-40B4-BE49-F238E27FC236}">
                  <a16:creationId xmlns:a16="http://schemas.microsoft.com/office/drawing/2014/main" id="{0DC32BBD-9209-4CB3-AD50-45699C29D4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6938" y="3852863"/>
              <a:ext cx="2613025" cy="47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3" name="椭圆 622">
              <a:extLst>
                <a:ext uri="{FF2B5EF4-FFF2-40B4-BE49-F238E27FC236}">
                  <a16:creationId xmlns:a16="http://schemas.microsoft.com/office/drawing/2014/main" id="{DF0021D1-BFE2-4880-9A2A-2236B8CD20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5026" y="4210051"/>
              <a:ext cx="2630488" cy="317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4" name="椭圆 623">
              <a:extLst>
                <a:ext uri="{FF2B5EF4-FFF2-40B4-BE49-F238E27FC236}">
                  <a16:creationId xmlns:a16="http://schemas.microsoft.com/office/drawing/2014/main" id="{FA84499B-91E2-40A5-99E1-CA44D0C4DF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2638" y="4538663"/>
              <a:ext cx="2627313" cy="47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5" name="椭圆 624">
              <a:extLst>
                <a:ext uri="{FF2B5EF4-FFF2-40B4-BE49-F238E27FC236}">
                  <a16:creationId xmlns:a16="http://schemas.microsoft.com/office/drawing/2014/main" id="{DD6080DF-AE45-4895-A1DC-D384BEF075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7076" y="4865688"/>
              <a:ext cx="2630488" cy="47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6" name="任意多边形: 形状 625">
              <a:extLst>
                <a:ext uri="{FF2B5EF4-FFF2-40B4-BE49-F238E27FC236}">
                  <a16:creationId xmlns:a16="http://schemas.microsoft.com/office/drawing/2014/main" id="{2C8DDE66-C4D1-4827-A058-4965BE642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2988" y="3854451"/>
              <a:ext cx="222250" cy="1395413"/>
            </a:xfrm>
            <a:custGeom>
              <a:avLst/>
              <a:gdLst>
                <a:gd name="T0" fmla="*/ 0 w 97"/>
                <a:gd name="T1" fmla="*/ 610 h 610"/>
                <a:gd name="T2" fmla="*/ 47 w 97"/>
                <a:gd name="T3" fmla="*/ 305 h 610"/>
                <a:gd name="T4" fmla="*/ 96 w 97"/>
                <a:gd name="T5" fmla="*/ 0 h 610"/>
                <a:gd name="T6" fmla="*/ 49 w 97"/>
                <a:gd name="T7" fmla="*/ 305 h 610"/>
                <a:gd name="T8" fmla="*/ 0 w 97"/>
                <a:gd name="T9" fmla="*/ 610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10">
                  <a:moveTo>
                    <a:pt x="0" y="610"/>
                  </a:moveTo>
                  <a:cubicBezTo>
                    <a:pt x="0" y="610"/>
                    <a:pt x="21" y="474"/>
                    <a:pt x="47" y="305"/>
                  </a:cubicBezTo>
                  <a:cubicBezTo>
                    <a:pt x="74" y="137"/>
                    <a:pt x="96" y="0"/>
                    <a:pt x="96" y="0"/>
                  </a:cubicBezTo>
                  <a:cubicBezTo>
                    <a:pt x="97" y="0"/>
                    <a:pt x="76" y="137"/>
                    <a:pt x="49" y="305"/>
                  </a:cubicBezTo>
                  <a:cubicBezTo>
                    <a:pt x="23" y="474"/>
                    <a:pt x="1" y="610"/>
                    <a:pt x="0" y="61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7" name="任意多边形: 形状 626">
              <a:extLst>
                <a:ext uri="{FF2B5EF4-FFF2-40B4-BE49-F238E27FC236}">
                  <a16:creationId xmlns:a16="http://schemas.microsoft.com/office/drawing/2014/main" id="{C3FE9C1C-CAEA-445A-8885-4443645046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7801" y="3854451"/>
              <a:ext cx="222250" cy="1395413"/>
            </a:xfrm>
            <a:custGeom>
              <a:avLst/>
              <a:gdLst>
                <a:gd name="T0" fmla="*/ 0 w 97"/>
                <a:gd name="T1" fmla="*/ 610 h 610"/>
                <a:gd name="T2" fmla="*/ 47 w 97"/>
                <a:gd name="T3" fmla="*/ 305 h 610"/>
                <a:gd name="T4" fmla="*/ 96 w 97"/>
                <a:gd name="T5" fmla="*/ 0 h 610"/>
                <a:gd name="T6" fmla="*/ 49 w 97"/>
                <a:gd name="T7" fmla="*/ 305 h 610"/>
                <a:gd name="T8" fmla="*/ 0 w 97"/>
                <a:gd name="T9" fmla="*/ 610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10">
                  <a:moveTo>
                    <a:pt x="0" y="610"/>
                  </a:moveTo>
                  <a:cubicBezTo>
                    <a:pt x="0" y="610"/>
                    <a:pt x="21" y="474"/>
                    <a:pt x="47" y="305"/>
                  </a:cubicBezTo>
                  <a:cubicBezTo>
                    <a:pt x="74" y="137"/>
                    <a:pt x="95" y="0"/>
                    <a:pt x="96" y="0"/>
                  </a:cubicBezTo>
                  <a:cubicBezTo>
                    <a:pt x="97" y="0"/>
                    <a:pt x="76" y="137"/>
                    <a:pt x="49" y="305"/>
                  </a:cubicBezTo>
                  <a:cubicBezTo>
                    <a:pt x="23" y="474"/>
                    <a:pt x="1" y="610"/>
                    <a:pt x="0" y="61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8" name="任意多边形: 形状 627">
              <a:extLst>
                <a:ext uri="{FF2B5EF4-FFF2-40B4-BE49-F238E27FC236}">
                  <a16:creationId xmlns:a16="http://schemas.microsoft.com/office/drawing/2014/main" id="{E615A4CD-961B-4336-932A-3DBA65FC3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2451" y="3854451"/>
              <a:ext cx="220663" cy="1381125"/>
            </a:xfrm>
            <a:custGeom>
              <a:avLst/>
              <a:gdLst>
                <a:gd name="T0" fmla="*/ 1 w 96"/>
                <a:gd name="T1" fmla="*/ 604 h 604"/>
                <a:gd name="T2" fmla="*/ 47 w 96"/>
                <a:gd name="T3" fmla="*/ 302 h 604"/>
                <a:gd name="T4" fmla="*/ 95 w 96"/>
                <a:gd name="T5" fmla="*/ 0 h 604"/>
                <a:gd name="T6" fmla="*/ 49 w 96"/>
                <a:gd name="T7" fmla="*/ 302 h 604"/>
                <a:gd name="T8" fmla="*/ 1 w 96"/>
                <a:gd name="T9" fmla="*/ 6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604">
                  <a:moveTo>
                    <a:pt x="1" y="604"/>
                  </a:moveTo>
                  <a:cubicBezTo>
                    <a:pt x="0" y="604"/>
                    <a:pt x="21" y="469"/>
                    <a:pt x="47" y="302"/>
                  </a:cubicBezTo>
                  <a:cubicBezTo>
                    <a:pt x="73" y="135"/>
                    <a:pt x="95" y="0"/>
                    <a:pt x="95" y="0"/>
                  </a:cubicBezTo>
                  <a:cubicBezTo>
                    <a:pt x="96" y="0"/>
                    <a:pt x="75" y="135"/>
                    <a:pt x="49" y="302"/>
                  </a:cubicBezTo>
                  <a:cubicBezTo>
                    <a:pt x="23" y="469"/>
                    <a:pt x="1" y="604"/>
                    <a:pt x="1" y="60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9" name="任意多边形: 形状 628">
              <a:extLst>
                <a:ext uri="{FF2B5EF4-FFF2-40B4-BE49-F238E27FC236}">
                  <a16:creationId xmlns:a16="http://schemas.microsoft.com/office/drawing/2014/main" id="{F62A6823-3699-4CD5-BDFA-14D4760EB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5513" y="3854451"/>
              <a:ext cx="219075" cy="1392238"/>
            </a:xfrm>
            <a:custGeom>
              <a:avLst/>
              <a:gdLst>
                <a:gd name="T0" fmla="*/ 0 w 96"/>
                <a:gd name="T1" fmla="*/ 609 h 609"/>
                <a:gd name="T2" fmla="*/ 47 w 96"/>
                <a:gd name="T3" fmla="*/ 304 h 609"/>
                <a:gd name="T4" fmla="*/ 96 w 96"/>
                <a:gd name="T5" fmla="*/ 0 h 609"/>
                <a:gd name="T6" fmla="*/ 49 w 96"/>
                <a:gd name="T7" fmla="*/ 305 h 609"/>
                <a:gd name="T8" fmla="*/ 0 w 96"/>
                <a:gd name="T9" fmla="*/ 609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609">
                  <a:moveTo>
                    <a:pt x="0" y="609"/>
                  </a:moveTo>
                  <a:cubicBezTo>
                    <a:pt x="0" y="609"/>
                    <a:pt x="21" y="473"/>
                    <a:pt x="47" y="304"/>
                  </a:cubicBezTo>
                  <a:cubicBezTo>
                    <a:pt x="73" y="136"/>
                    <a:pt x="95" y="0"/>
                    <a:pt x="96" y="0"/>
                  </a:cubicBezTo>
                  <a:cubicBezTo>
                    <a:pt x="96" y="0"/>
                    <a:pt x="75" y="137"/>
                    <a:pt x="49" y="305"/>
                  </a:cubicBezTo>
                  <a:cubicBezTo>
                    <a:pt x="23" y="473"/>
                    <a:pt x="1" y="609"/>
                    <a:pt x="0" y="60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0" name="任意多边形: 形状 629">
              <a:extLst>
                <a:ext uri="{FF2B5EF4-FFF2-40B4-BE49-F238E27FC236}">
                  <a16:creationId xmlns:a16="http://schemas.microsoft.com/office/drawing/2014/main" id="{9C7814EE-DEFF-42A4-94D4-07791A7455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8576" y="3854451"/>
              <a:ext cx="222250" cy="1392238"/>
            </a:xfrm>
            <a:custGeom>
              <a:avLst/>
              <a:gdLst>
                <a:gd name="T0" fmla="*/ 1 w 97"/>
                <a:gd name="T1" fmla="*/ 609 h 609"/>
                <a:gd name="T2" fmla="*/ 47 w 97"/>
                <a:gd name="T3" fmla="*/ 304 h 609"/>
                <a:gd name="T4" fmla="*/ 96 w 97"/>
                <a:gd name="T5" fmla="*/ 0 h 609"/>
                <a:gd name="T6" fmla="*/ 49 w 97"/>
                <a:gd name="T7" fmla="*/ 305 h 609"/>
                <a:gd name="T8" fmla="*/ 1 w 97"/>
                <a:gd name="T9" fmla="*/ 609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09">
                  <a:moveTo>
                    <a:pt x="1" y="609"/>
                  </a:moveTo>
                  <a:cubicBezTo>
                    <a:pt x="0" y="609"/>
                    <a:pt x="21" y="473"/>
                    <a:pt x="47" y="304"/>
                  </a:cubicBezTo>
                  <a:cubicBezTo>
                    <a:pt x="74" y="136"/>
                    <a:pt x="96" y="0"/>
                    <a:pt x="96" y="0"/>
                  </a:cubicBezTo>
                  <a:cubicBezTo>
                    <a:pt x="97" y="0"/>
                    <a:pt x="76" y="137"/>
                    <a:pt x="49" y="305"/>
                  </a:cubicBezTo>
                  <a:cubicBezTo>
                    <a:pt x="23" y="473"/>
                    <a:pt x="1" y="609"/>
                    <a:pt x="1" y="60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1" name="任意多边形: 形状 630">
              <a:extLst>
                <a:ext uri="{FF2B5EF4-FFF2-40B4-BE49-F238E27FC236}">
                  <a16:creationId xmlns:a16="http://schemas.microsoft.com/office/drawing/2014/main" id="{466866DD-92CF-4139-8C95-2ABE934CA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1638" y="3854451"/>
              <a:ext cx="220663" cy="1395413"/>
            </a:xfrm>
            <a:custGeom>
              <a:avLst/>
              <a:gdLst>
                <a:gd name="T0" fmla="*/ 1 w 97"/>
                <a:gd name="T1" fmla="*/ 610 h 610"/>
                <a:gd name="T2" fmla="*/ 48 w 97"/>
                <a:gd name="T3" fmla="*/ 305 h 610"/>
                <a:gd name="T4" fmla="*/ 97 w 97"/>
                <a:gd name="T5" fmla="*/ 0 h 610"/>
                <a:gd name="T6" fmla="*/ 50 w 97"/>
                <a:gd name="T7" fmla="*/ 305 h 610"/>
                <a:gd name="T8" fmla="*/ 1 w 97"/>
                <a:gd name="T9" fmla="*/ 610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10">
                  <a:moveTo>
                    <a:pt x="1" y="610"/>
                  </a:moveTo>
                  <a:cubicBezTo>
                    <a:pt x="0" y="610"/>
                    <a:pt x="21" y="473"/>
                    <a:pt x="48" y="305"/>
                  </a:cubicBezTo>
                  <a:cubicBezTo>
                    <a:pt x="74" y="136"/>
                    <a:pt x="96" y="0"/>
                    <a:pt x="97" y="0"/>
                  </a:cubicBezTo>
                  <a:cubicBezTo>
                    <a:pt x="97" y="0"/>
                    <a:pt x="76" y="137"/>
                    <a:pt x="50" y="305"/>
                  </a:cubicBezTo>
                  <a:cubicBezTo>
                    <a:pt x="23" y="474"/>
                    <a:pt x="1" y="610"/>
                    <a:pt x="1" y="61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2" name="矩形 631">
              <a:extLst>
                <a:ext uri="{FF2B5EF4-FFF2-40B4-BE49-F238E27FC236}">
                  <a16:creationId xmlns:a16="http://schemas.microsoft.com/office/drawing/2014/main" id="{9B4CDC47-9C80-4815-B7AA-E734C82A2C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0488" y="3327401"/>
              <a:ext cx="287338" cy="525463"/>
            </a:xfrm>
            <a:prstGeom prst="rect">
              <a:avLst/>
            </a:prstGeom>
            <a:solidFill>
              <a:srgbClr val="0C3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3" name="任意多边形: 形状 632">
              <a:extLst>
                <a:ext uri="{FF2B5EF4-FFF2-40B4-BE49-F238E27FC236}">
                  <a16:creationId xmlns:a16="http://schemas.microsoft.com/office/drawing/2014/main" id="{98D55362-7F93-49FF-A314-4065B8061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5251" y="3324226"/>
              <a:ext cx="276225" cy="3175"/>
            </a:xfrm>
            <a:custGeom>
              <a:avLst/>
              <a:gdLst>
                <a:gd name="T0" fmla="*/ 121 w 121"/>
                <a:gd name="T1" fmla="*/ 0 h 1"/>
                <a:gd name="T2" fmla="*/ 0 w 121"/>
                <a:gd name="T3" fmla="*/ 1 h 1"/>
                <a:gd name="T4" fmla="*/ 121 w 121"/>
                <a:gd name="T5" fmla="*/ 1 h 1"/>
                <a:gd name="T6" fmla="*/ 121 w 12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1" h="1">
                  <a:moveTo>
                    <a:pt x="12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9" y="1"/>
                    <a:pt x="80" y="1"/>
                    <a:pt x="121" y="1"/>
                  </a:cubicBezTo>
                  <a:cubicBezTo>
                    <a:pt x="121" y="0"/>
                    <a:pt x="121" y="0"/>
                    <a:pt x="121" y="0"/>
                  </a:cubicBezTo>
                </a:path>
              </a:pathLst>
            </a:custGeom>
            <a:solidFill>
              <a:srgbClr val="1E28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4" name="任意多边形: 形状 633">
              <a:extLst>
                <a:ext uri="{FF2B5EF4-FFF2-40B4-BE49-F238E27FC236}">
                  <a16:creationId xmlns:a16="http://schemas.microsoft.com/office/drawing/2014/main" id="{B8C12F38-BE71-4706-8C2C-3691D72E6A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5101" y="3857626"/>
              <a:ext cx="36513" cy="22225"/>
            </a:xfrm>
            <a:custGeom>
              <a:avLst/>
              <a:gdLst>
                <a:gd name="T0" fmla="*/ 16 w 16"/>
                <a:gd name="T1" fmla="*/ 0 h 10"/>
                <a:gd name="T2" fmla="*/ 0 w 16"/>
                <a:gd name="T3" fmla="*/ 0 h 10"/>
                <a:gd name="T4" fmla="*/ 1 w 16"/>
                <a:gd name="T5" fmla="*/ 10 h 10"/>
                <a:gd name="T6" fmla="*/ 16 w 16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0">
                  <a:moveTo>
                    <a:pt x="16" y="0"/>
                  </a:moveTo>
                  <a:cubicBezTo>
                    <a:pt x="11" y="0"/>
                    <a:pt x="5" y="0"/>
                    <a:pt x="0" y="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7" y="8"/>
                    <a:pt x="12" y="4"/>
                    <a:pt x="16" y="0"/>
                  </a:cubicBezTo>
                </a:path>
              </a:pathLst>
            </a:custGeom>
            <a:solidFill>
              <a:srgbClr val="BCB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5" name="任意多边形: 形状 634">
              <a:extLst>
                <a:ext uri="{FF2B5EF4-FFF2-40B4-BE49-F238E27FC236}">
                  <a16:creationId xmlns:a16="http://schemas.microsoft.com/office/drawing/2014/main" id="{39654BF2-6596-47DD-B193-8837FD822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513" y="3852863"/>
              <a:ext cx="42863" cy="4763"/>
            </a:xfrm>
            <a:custGeom>
              <a:avLst/>
              <a:gdLst>
                <a:gd name="T0" fmla="*/ 0 w 19"/>
                <a:gd name="T1" fmla="*/ 0 h 2"/>
                <a:gd name="T2" fmla="*/ 1 w 19"/>
                <a:gd name="T3" fmla="*/ 2 h 2"/>
                <a:gd name="T4" fmla="*/ 17 w 19"/>
                <a:gd name="T5" fmla="*/ 2 h 2"/>
                <a:gd name="T6" fmla="*/ 19 w 19"/>
                <a:gd name="T7" fmla="*/ 0 h 2"/>
                <a:gd name="T8" fmla="*/ 0 w 19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">
                  <a:moveTo>
                    <a:pt x="0" y="0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6" y="2"/>
                    <a:pt x="12" y="2"/>
                    <a:pt x="17" y="2"/>
                  </a:cubicBezTo>
                  <a:cubicBezTo>
                    <a:pt x="18" y="1"/>
                    <a:pt x="18" y="1"/>
                    <a:pt x="19" y="0"/>
                  </a:cubicBezTo>
                  <a:cubicBezTo>
                    <a:pt x="13" y="0"/>
                    <a:pt x="7" y="0"/>
                    <a:pt x="0" y="0"/>
                  </a:cubicBezTo>
                </a:path>
              </a:pathLst>
            </a:custGeom>
            <a:solidFill>
              <a:srgbClr val="1E28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6" name="任意多边形: 形状 635">
              <a:extLst>
                <a:ext uri="{FF2B5EF4-FFF2-40B4-BE49-F238E27FC236}">
                  <a16:creationId xmlns:a16="http://schemas.microsoft.com/office/drawing/2014/main" id="{FDF83C97-3ECD-4D2B-B918-3BEE22A30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5551" y="4238626"/>
              <a:ext cx="314325" cy="277813"/>
            </a:xfrm>
            <a:custGeom>
              <a:avLst/>
              <a:gdLst>
                <a:gd name="T0" fmla="*/ 137 w 137"/>
                <a:gd name="T1" fmla="*/ 0 h 121"/>
                <a:gd name="T2" fmla="*/ 136 w 137"/>
                <a:gd name="T3" fmla="*/ 1 h 121"/>
                <a:gd name="T4" fmla="*/ 132 w 137"/>
                <a:gd name="T5" fmla="*/ 5 h 121"/>
                <a:gd name="T6" fmla="*/ 118 w 137"/>
                <a:gd name="T7" fmla="*/ 19 h 121"/>
                <a:gd name="T8" fmla="*/ 71 w 137"/>
                <a:gd name="T9" fmla="*/ 63 h 121"/>
                <a:gd name="T10" fmla="*/ 21 w 137"/>
                <a:gd name="T11" fmla="*/ 105 h 121"/>
                <a:gd name="T12" fmla="*/ 6 w 137"/>
                <a:gd name="T13" fmla="*/ 117 h 121"/>
                <a:gd name="T14" fmla="*/ 2 w 137"/>
                <a:gd name="T15" fmla="*/ 120 h 121"/>
                <a:gd name="T16" fmla="*/ 0 w 137"/>
                <a:gd name="T17" fmla="*/ 121 h 121"/>
                <a:gd name="T18" fmla="*/ 1 w 137"/>
                <a:gd name="T19" fmla="*/ 120 h 121"/>
                <a:gd name="T20" fmla="*/ 5 w 137"/>
                <a:gd name="T21" fmla="*/ 116 h 121"/>
                <a:gd name="T22" fmla="*/ 20 w 137"/>
                <a:gd name="T23" fmla="*/ 103 h 121"/>
                <a:gd name="T24" fmla="*/ 69 w 137"/>
                <a:gd name="T25" fmla="*/ 61 h 121"/>
                <a:gd name="T26" fmla="*/ 117 w 137"/>
                <a:gd name="T27" fmla="*/ 18 h 121"/>
                <a:gd name="T28" fmla="*/ 132 w 137"/>
                <a:gd name="T29" fmla="*/ 4 h 121"/>
                <a:gd name="T30" fmla="*/ 136 w 137"/>
                <a:gd name="T31" fmla="*/ 1 h 121"/>
                <a:gd name="T32" fmla="*/ 137 w 137"/>
                <a:gd name="T3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7" h="121">
                  <a:moveTo>
                    <a:pt x="137" y="0"/>
                  </a:moveTo>
                  <a:cubicBezTo>
                    <a:pt x="137" y="0"/>
                    <a:pt x="137" y="0"/>
                    <a:pt x="136" y="1"/>
                  </a:cubicBezTo>
                  <a:cubicBezTo>
                    <a:pt x="135" y="2"/>
                    <a:pt x="134" y="3"/>
                    <a:pt x="132" y="5"/>
                  </a:cubicBezTo>
                  <a:cubicBezTo>
                    <a:pt x="129" y="8"/>
                    <a:pt x="124" y="13"/>
                    <a:pt x="118" y="19"/>
                  </a:cubicBezTo>
                  <a:cubicBezTo>
                    <a:pt x="107" y="30"/>
                    <a:pt x="90" y="46"/>
                    <a:pt x="71" y="63"/>
                  </a:cubicBezTo>
                  <a:cubicBezTo>
                    <a:pt x="52" y="79"/>
                    <a:pt x="34" y="94"/>
                    <a:pt x="21" y="105"/>
                  </a:cubicBezTo>
                  <a:cubicBezTo>
                    <a:pt x="15" y="110"/>
                    <a:pt x="10" y="114"/>
                    <a:pt x="6" y="117"/>
                  </a:cubicBezTo>
                  <a:cubicBezTo>
                    <a:pt x="4" y="118"/>
                    <a:pt x="3" y="119"/>
                    <a:pt x="2" y="120"/>
                  </a:cubicBezTo>
                  <a:cubicBezTo>
                    <a:pt x="1" y="121"/>
                    <a:pt x="0" y="121"/>
                    <a:pt x="0" y="121"/>
                  </a:cubicBezTo>
                  <a:cubicBezTo>
                    <a:pt x="0" y="121"/>
                    <a:pt x="0" y="120"/>
                    <a:pt x="1" y="120"/>
                  </a:cubicBezTo>
                  <a:cubicBezTo>
                    <a:pt x="2" y="119"/>
                    <a:pt x="4" y="117"/>
                    <a:pt x="5" y="116"/>
                  </a:cubicBezTo>
                  <a:cubicBezTo>
                    <a:pt x="9" y="113"/>
                    <a:pt x="14" y="109"/>
                    <a:pt x="20" y="103"/>
                  </a:cubicBezTo>
                  <a:cubicBezTo>
                    <a:pt x="33" y="93"/>
                    <a:pt x="50" y="78"/>
                    <a:pt x="69" y="61"/>
                  </a:cubicBezTo>
                  <a:cubicBezTo>
                    <a:pt x="88" y="44"/>
                    <a:pt x="105" y="29"/>
                    <a:pt x="117" y="18"/>
                  </a:cubicBezTo>
                  <a:cubicBezTo>
                    <a:pt x="123" y="12"/>
                    <a:pt x="128" y="8"/>
                    <a:pt x="132" y="4"/>
                  </a:cubicBezTo>
                  <a:cubicBezTo>
                    <a:pt x="133" y="3"/>
                    <a:pt x="135" y="2"/>
                    <a:pt x="136" y="1"/>
                  </a:cubicBezTo>
                  <a:cubicBezTo>
                    <a:pt x="137" y="0"/>
                    <a:pt x="137" y="0"/>
                    <a:pt x="13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7" name="任意多边形: 形状 636">
              <a:extLst>
                <a:ext uri="{FF2B5EF4-FFF2-40B4-BE49-F238E27FC236}">
                  <a16:creationId xmlns:a16="http://schemas.microsoft.com/office/drawing/2014/main" id="{594644B6-336F-4529-ABD9-4C2D481EE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1" y="4237038"/>
              <a:ext cx="268288" cy="282575"/>
            </a:xfrm>
            <a:custGeom>
              <a:avLst/>
              <a:gdLst>
                <a:gd name="T0" fmla="*/ 117 w 117"/>
                <a:gd name="T1" fmla="*/ 124 h 124"/>
                <a:gd name="T2" fmla="*/ 113 w 117"/>
                <a:gd name="T3" fmla="*/ 119 h 124"/>
                <a:gd name="T4" fmla="*/ 100 w 117"/>
                <a:gd name="T5" fmla="*/ 106 h 124"/>
                <a:gd name="T6" fmla="*/ 59 w 117"/>
                <a:gd name="T7" fmla="*/ 62 h 124"/>
                <a:gd name="T8" fmla="*/ 17 w 117"/>
                <a:gd name="T9" fmla="*/ 18 h 124"/>
                <a:gd name="T10" fmla="*/ 5 w 117"/>
                <a:gd name="T11" fmla="*/ 5 h 124"/>
                <a:gd name="T12" fmla="*/ 0 w 117"/>
                <a:gd name="T13" fmla="*/ 0 h 124"/>
                <a:gd name="T14" fmla="*/ 5 w 117"/>
                <a:gd name="T15" fmla="*/ 4 h 124"/>
                <a:gd name="T16" fmla="*/ 18 w 117"/>
                <a:gd name="T17" fmla="*/ 17 h 124"/>
                <a:gd name="T18" fmla="*/ 60 w 117"/>
                <a:gd name="T19" fmla="*/ 60 h 124"/>
                <a:gd name="T20" fmla="*/ 101 w 117"/>
                <a:gd name="T21" fmla="*/ 105 h 124"/>
                <a:gd name="T22" fmla="*/ 113 w 117"/>
                <a:gd name="T23" fmla="*/ 118 h 124"/>
                <a:gd name="T24" fmla="*/ 117 w 117"/>
                <a:gd name="T25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7" h="124">
                  <a:moveTo>
                    <a:pt x="117" y="124"/>
                  </a:moveTo>
                  <a:cubicBezTo>
                    <a:pt x="117" y="124"/>
                    <a:pt x="116" y="122"/>
                    <a:pt x="113" y="119"/>
                  </a:cubicBezTo>
                  <a:cubicBezTo>
                    <a:pt x="109" y="115"/>
                    <a:pt x="105" y="111"/>
                    <a:pt x="100" y="106"/>
                  </a:cubicBezTo>
                  <a:cubicBezTo>
                    <a:pt x="89" y="94"/>
                    <a:pt x="75" y="79"/>
                    <a:pt x="59" y="62"/>
                  </a:cubicBezTo>
                  <a:cubicBezTo>
                    <a:pt x="43" y="45"/>
                    <a:pt x="28" y="29"/>
                    <a:pt x="17" y="18"/>
                  </a:cubicBezTo>
                  <a:cubicBezTo>
                    <a:pt x="12" y="12"/>
                    <a:pt x="8" y="8"/>
                    <a:pt x="5" y="5"/>
                  </a:cubicBezTo>
                  <a:cubicBezTo>
                    <a:pt x="2" y="2"/>
                    <a:pt x="0" y="0"/>
                    <a:pt x="0" y="0"/>
                  </a:cubicBezTo>
                  <a:cubicBezTo>
                    <a:pt x="0" y="0"/>
                    <a:pt x="2" y="1"/>
                    <a:pt x="5" y="4"/>
                  </a:cubicBezTo>
                  <a:cubicBezTo>
                    <a:pt x="8" y="7"/>
                    <a:pt x="13" y="11"/>
                    <a:pt x="18" y="17"/>
                  </a:cubicBezTo>
                  <a:cubicBezTo>
                    <a:pt x="29" y="28"/>
                    <a:pt x="44" y="43"/>
                    <a:pt x="60" y="60"/>
                  </a:cubicBezTo>
                  <a:cubicBezTo>
                    <a:pt x="76" y="77"/>
                    <a:pt x="91" y="93"/>
                    <a:pt x="101" y="105"/>
                  </a:cubicBezTo>
                  <a:cubicBezTo>
                    <a:pt x="106" y="110"/>
                    <a:pt x="110" y="115"/>
                    <a:pt x="113" y="118"/>
                  </a:cubicBezTo>
                  <a:cubicBezTo>
                    <a:pt x="116" y="122"/>
                    <a:pt x="117" y="123"/>
                    <a:pt x="117" y="12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8" name="任意多边形: 形状 637">
              <a:extLst>
                <a:ext uri="{FF2B5EF4-FFF2-40B4-BE49-F238E27FC236}">
                  <a16:creationId xmlns:a16="http://schemas.microsoft.com/office/drawing/2014/main" id="{BD4F285E-0BC7-48D1-9C67-8AF50E399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2901" y="4227513"/>
              <a:ext cx="319088" cy="306388"/>
            </a:xfrm>
            <a:custGeom>
              <a:avLst/>
              <a:gdLst>
                <a:gd name="T0" fmla="*/ 3 w 140"/>
                <a:gd name="T1" fmla="*/ 38 h 134"/>
                <a:gd name="T2" fmla="*/ 38 w 140"/>
                <a:gd name="T3" fmla="*/ 8 h 134"/>
                <a:gd name="T4" fmla="*/ 65 w 140"/>
                <a:gd name="T5" fmla="*/ 4 h 134"/>
                <a:gd name="T6" fmla="*/ 121 w 140"/>
                <a:gd name="T7" fmla="*/ 41 h 134"/>
                <a:gd name="T8" fmla="*/ 125 w 140"/>
                <a:gd name="T9" fmla="*/ 102 h 134"/>
                <a:gd name="T10" fmla="*/ 61 w 140"/>
                <a:gd name="T11" fmla="*/ 131 h 134"/>
                <a:gd name="T12" fmla="*/ 13 w 140"/>
                <a:gd name="T13" fmla="*/ 110 h 134"/>
                <a:gd name="T14" fmla="*/ 1 w 140"/>
                <a:gd name="T15" fmla="*/ 85 h 134"/>
                <a:gd name="T16" fmla="*/ 41 w 140"/>
                <a:gd name="T17" fmla="*/ 11 h 134"/>
                <a:gd name="T18" fmla="*/ 126 w 140"/>
                <a:gd name="T19" fmla="*/ 28 h 134"/>
                <a:gd name="T20" fmla="*/ 133 w 140"/>
                <a:gd name="T21" fmla="*/ 90 h 134"/>
                <a:gd name="T22" fmla="*/ 110 w 140"/>
                <a:gd name="T23" fmla="*/ 114 h 134"/>
                <a:gd name="T24" fmla="*/ 18 w 140"/>
                <a:gd name="T25" fmla="*/ 104 h 134"/>
                <a:gd name="T26" fmla="*/ 7 w 140"/>
                <a:gd name="T27" fmla="*/ 46 h 134"/>
                <a:gd name="T28" fmla="*/ 30 w 140"/>
                <a:gd name="T29" fmla="*/ 27 h 134"/>
                <a:gd name="T30" fmla="*/ 89 w 140"/>
                <a:gd name="T31" fmla="*/ 27 h 134"/>
                <a:gd name="T32" fmla="*/ 128 w 140"/>
                <a:gd name="T33" fmla="*/ 65 h 134"/>
                <a:gd name="T34" fmla="*/ 112 w 140"/>
                <a:gd name="T35" fmla="*/ 114 h 134"/>
                <a:gd name="T36" fmla="*/ 44 w 140"/>
                <a:gd name="T37" fmla="*/ 130 h 134"/>
                <a:gd name="T38" fmla="*/ 15 w 140"/>
                <a:gd name="T39" fmla="*/ 99 h 134"/>
                <a:gd name="T40" fmla="*/ 26 w 140"/>
                <a:gd name="T41" fmla="*/ 45 h 134"/>
                <a:gd name="T42" fmla="*/ 80 w 140"/>
                <a:gd name="T43" fmla="*/ 25 h 134"/>
                <a:gd name="T44" fmla="*/ 122 w 140"/>
                <a:gd name="T45" fmla="*/ 45 h 134"/>
                <a:gd name="T46" fmla="*/ 122 w 140"/>
                <a:gd name="T47" fmla="*/ 46 h 134"/>
                <a:gd name="T48" fmla="*/ 80 w 140"/>
                <a:gd name="T49" fmla="*/ 26 h 134"/>
                <a:gd name="T50" fmla="*/ 27 w 140"/>
                <a:gd name="T51" fmla="*/ 46 h 134"/>
                <a:gd name="T52" fmla="*/ 16 w 140"/>
                <a:gd name="T53" fmla="*/ 99 h 134"/>
                <a:gd name="T54" fmla="*/ 45 w 140"/>
                <a:gd name="T55" fmla="*/ 128 h 134"/>
                <a:gd name="T56" fmla="*/ 111 w 140"/>
                <a:gd name="T57" fmla="*/ 112 h 134"/>
                <a:gd name="T58" fmla="*/ 126 w 140"/>
                <a:gd name="T59" fmla="*/ 65 h 134"/>
                <a:gd name="T60" fmla="*/ 89 w 140"/>
                <a:gd name="T61" fmla="*/ 29 h 134"/>
                <a:gd name="T62" fmla="*/ 31 w 140"/>
                <a:gd name="T63" fmla="*/ 28 h 134"/>
                <a:gd name="T64" fmla="*/ 4 w 140"/>
                <a:gd name="T65" fmla="*/ 76 h 134"/>
                <a:gd name="T66" fmla="*/ 47 w 140"/>
                <a:gd name="T67" fmla="*/ 118 h 134"/>
                <a:gd name="T68" fmla="*/ 122 w 140"/>
                <a:gd name="T69" fmla="*/ 102 h 134"/>
                <a:gd name="T70" fmla="*/ 136 w 140"/>
                <a:gd name="T71" fmla="*/ 58 h 134"/>
                <a:gd name="T72" fmla="*/ 100 w 140"/>
                <a:gd name="T73" fmla="*/ 10 h 134"/>
                <a:gd name="T74" fmla="*/ 6 w 140"/>
                <a:gd name="T75" fmla="*/ 57 h 134"/>
                <a:gd name="T76" fmla="*/ 7 w 140"/>
                <a:gd name="T77" fmla="*/ 98 h 134"/>
                <a:gd name="T78" fmla="*/ 36 w 140"/>
                <a:gd name="T79" fmla="*/ 123 h 134"/>
                <a:gd name="T80" fmla="*/ 108 w 140"/>
                <a:gd name="T81" fmla="*/ 117 h 134"/>
                <a:gd name="T82" fmla="*/ 120 w 140"/>
                <a:gd name="T83" fmla="*/ 41 h 134"/>
                <a:gd name="T84" fmla="*/ 64 w 140"/>
                <a:gd name="T85" fmla="*/ 5 h 134"/>
                <a:gd name="T86" fmla="*/ 38 w 140"/>
                <a:gd name="T87" fmla="*/ 9 h 134"/>
                <a:gd name="T88" fmla="*/ 3 w 140"/>
                <a:gd name="T89" fmla="*/ 38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0" h="134">
                  <a:moveTo>
                    <a:pt x="2" y="41"/>
                  </a:moveTo>
                  <a:cubicBezTo>
                    <a:pt x="2" y="41"/>
                    <a:pt x="2" y="40"/>
                    <a:pt x="3" y="38"/>
                  </a:cubicBezTo>
                  <a:cubicBezTo>
                    <a:pt x="4" y="36"/>
                    <a:pt x="6" y="33"/>
                    <a:pt x="8" y="30"/>
                  </a:cubicBezTo>
                  <a:cubicBezTo>
                    <a:pt x="13" y="23"/>
                    <a:pt x="22" y="13"/>
                    <a:pt x="38" y="8"/>
                  </a:cubicBezTo>
                  <a:cubicBezTo>
                    <a:pt x="42" y="6"/>
                    <a:pt x="46" y="5"/>
                    <a:pt x="50" y="5"/>
                  </a:cubicBezTo>
                  <a:cubicBezTo>
                    <a:pt x="55" y="4"/>
                    <a:pt x="60" y="4"/>
                    <a:pt x="65" y="4"/>
                  </a:cubicBezTo>
                  <a:cubicBezTo>
                    <a:pt x="74" y="5"/>
                    <a:pt x="85" y="9"/>
                    <a:pt x="95" y="15"/>
                  </a:cubicBezTo>
                  <a:cubicBezTo>
                    <a:pt x="105" y="21"/>
                    <a:pt x="114" y="29"/>
                    <a:pt x="121" y="41"/>
                  </a:cubicBezTo>
                  <a:cubicBezTo>
                    <a:pt x="128" y="52"/>
                    <a:pt x="133" y="66"/>
                    <a:pt x="132" y="80"/>
                  </a:cubicBezTo>
                  <a:cubicBezTo>
                    <a:pt x="132" y="88"/>
                    <a:pt x="129" y="95"/>
                    <a:pt x="125" y="102"/>
                  </a:cubicBezTo>
                  <a:cubicBezTo>
                    <a:pt x="121" y="108"/>
                    <a:pt x="115" y="114"/>
                    <a:pt x="109" y="118"/>
                  </a:cubicBezTo>
                  <a:cubicBezTo>
                    <a:pt x="95" y="127"/>
                    <a:pt x="78" y="132"/>
                    <a:pt x="61" y="131"/>
                  </a:cubicBezTo>
                  <a:cubicBezTo>
                    <a:pt x="53" y="130"/>
                    <a:pt x="44" y="128"/>
                    <a:pt x="36" y="125"/>
                  </a:cubicBezTo>
                  <a:cubicBezTo>
                    <a:pt x="27" y="122"/>
                    <a:pt x="19" y="117"/>
                    <a:pt x="13" y="110"/>
                  </a:cubicBezTo>
                  <a:cubicBezTo>
                    <a:pt x="10" y="106"/>
                    <a:pt x="8" y="103"/>
                    <a:pt x="5" y="98"/>
                  </a:cubicBezTo>
                  <a:cubicBezTo>
                    <a:pt x="3" y="94"/>
                    <a:pt x="2" y="89"/>
                    <a:pt x="1" y="85"/>
                  </a:cubicBezTo>
                  <a:cubicBezTo>
                    <a:pt x="0" y="75"/>
                    <a:pt x="1" y="66"/>
                    <a:pt x="4" y="56"/>
                  </a:cubicBezTo>
                  <a:cubicBezTo>
                    <a:pt x="10" y="38"/>
                    <a:pt x="23" y="21"/>
                    <a:pt x="41" y="11"/>
                  </a:cubicBezTo>
                  <a:cubicBezTo>
                    <a:pt x="59" y="1"/>
                    <a:pt x="82" y="0"/>
                    <a:pt x="101" y="8"/>
                  </a:cubicBezTo>
                  <a:cubicBezTo>
                    <a:pt x="111" y="13"/>
                    <a:pt x="120" y="19"/>
                    <a:pt x="126" y="28"/>
                  </a:cubicBezTo>
                  <a:cubicBezTo>
                    <a:pt x="133" y="36"/>
                    <a:pt x="137" y="47"/>
                    <a:pt x="138" y="58"/>
                  </a:cubicBezTo>
                  <a:cubicBezTo>
                    <a:pt x="140" y="69"/>
                    <a:pt x="138" y="80"/>
                    <a:pt x="133" y="90"/>
                  </a:cubicBezTo>
                  <a:cubicBezTo>
                    <a:pt x="131" y="95"/>
                    <a:pt x="127" y="100"/>
                    <a:pt x="124" y="104"/>
                  </a:cubicBezTo>
                  <a:cubicBezTo>
                    <a:pt x="120" y="108"/>
                    <a:pt x="115" y="111"/>
                    <a:pt x="110" y="114"/>
                  </a:cubicBezTo>
                  <a:cubicBezTo>
                    <a:pt x="91" y="125"/>
                    <a:pt x="67" y="127"/>
                    <a:pt x="46" y="120"/>
                  </a:cubicBezTo>
                  <a:cubicBezTo>
                    <a:pt x="36" y="117"/>
                    <a:pt x="26" y="112"/>
                    <a:pt x="18" y="104"/>
                  </a:cubicBezTo>
                  <a:cubicBezTo>
                    <a:pt x="10" y="97"/>
                    <a:pt x="4" y="87"/>
                    <a:pt x="2" y="76"/>
                  </a:cubicBezTo>
                  <a:cubicBezTo>
                    <a:pt x="0" y="66"/>
                    <a:pt x="2" y="55"/>
                    <a:pt x="7" y="46"/>
                  </a:cubicBezTo>
                  <a:cubicBezTo>
                    <a:pt x="9" y="41"/>
                    <a:pt x="13" y="37"/>
                    <a:pt x="17" y="34"/>
                  </a:cubicBezTo>
                  <a:cubicBezTo>
                    <a:pt x="21" y="31"/>
                    <a:pt x="26" y="28"/>
                    <a:pt x="30" y="27"/>
                  </a:cubicBezTo>
                  <a:cubicBezTo>
                    <a:pt x="40" y="23"/>
                    <a:pt x="50" y="22"/>
                    <a:pt x="60" y="23"/>
                  </a:cubicBezTo>
                  <a:cubicBezTo>
                    <a:pt x="70" y="23"/>
                    <a:pt x="80" y="24"/>
                    <a:pt x="89" y="27"/>
                  </a:cubicBezTo>
                  <a:cubicBezTo>
                    <a:pt x="98" y="29"/>
                    <a:pt x="107" y="34"/>
                    <a:pt x="114" y="40"/>
                  </a:cubicBezTo>
                  <a:cubicBezTo>
                    <a:pt x="121" y="47"/>
                    <a:pt x="126" y="55"/>
                    <a:pt x="128" y="65"/>
                  </a:cubicBezTo>
                  <a:cubicBezTo>
                    <a:pt x="130" y="74"/>
                    <a:pt x="129" y="83"/>
                    <a:pt x="126" y="92"/>
                  </a:cubicBezTo>
                  <a:cubicBezTo>
                    <a:pt x="124" y="100"/>
                    <a:pt x="119" y="108"/>
                    <a:pt x="112" y="114"/>
                  </a:cubicBezTo>
                  <a:cubicBezTo>
                    <a:pt x="100" y="126"/>
                    <a:pt x="84" y="133"/>
                    <a:pt x="68" y="133"/>
                  </a:cubicBezTo>
                  <a:cubicBezTo>
                    <a:pt x="60" y="134"/>
                    <a:pt x="52" y="132"/>
                    <a:pt x="44" y="130"/>
                  </a:cubicBezTo>
                  <a:cubicBezTo>
                    <a:pt x="37" y="127"/>
                    <a:pt x="31" y="123"/>
                    <a:pt x="26" y="117"/>
                  </a:cubicBezTo>
                  <a:cubicBezTo>
                    <a:pt x="21" y="112"/>
                    <a:pt x="17" y="106"/>
                    <a:pt x="15" y="99"/>
                  </a:cubicBezTo>
                  <a:cubicBezTo>
                    <a:pt x="12" y="92"/>
                    <a:pt x="12" y="86"/>
                    <a:pt x="12" y="79"/>
                  </a:cubicBezTo>
                  <a:cubicBezTo>
                    <a:pt x="12" y="66"/>
                    <a:pt x="18" y="54"/>
                    <a:pt x="26" y="45"/>
                  </a:cubicBezTo>
                  <a:cubicBezTo>
                    <a:pt x="34" y="37"/>
                    <a:pt x="44" y="31"/>
                    <a:pt x="53" y="28"/>
                  </a:cubicBezTo>
                  <a:cubicBezTo>
                    <a:pt x="62" y="25"/>
                    <a:pt x="72" y="24"/>
                    <a:pt x="80" y="25"/>
                  </a:cubicBezTo>
                  <a:cubicBezTo>
                    <a:pt x="96" y="27"/>
                    <a:pt x="107" y="34"/>
                    <a:pt x="114" y="39"/>
                  </a:cubicBezTo>
                  <a:cubicBezTo>
                    <a:pt x="118" y="42"/>
                    <a:pt x="120" y="44"/>
                    <a:pt x="122" y="45"/>
                  </a:cubicBezTo>
                  <a:cubicBezTo>
                    <a:pt x="123" y="47"/>
                    <a:pt x="124" y="48"/>
                    <a:pt x="124" y="48"/>
                  </a:cubicBezTo>
                  <a:cubicBezTo>
                    <a:pt x="124" y="48"/>
                    <a:pt x="123" y="47"/>
                    <a:pt x="122" y="46"/>
                  </a:cubicBezTo>
                  <a:cubicBezTo>
                    <a:pt x="120" y="44"/>
                    <a:pt x="117" y="42"/>
                    <a:pt x="114" y="39"/>
                  </a:cubicBezTo>
                  <a:cubicBezTo>
                    <a:pt x="107" y="35"/>
                    <a:pt x="96" y="28"/>
                    <a:pt x="80" y="26"/>
                  </a:cubicBezTo>
                  <a:cubicBezTo>
                    <a:pt x="72" y="25"/>
                    <a:pt x="63" y="26"/>
                    <a:pt x="53" y="29"/>
                  </a:cubicBezTo>
                  <a:cubicBezTo>
                    <a:pt x="44" y="32"/>
                    <a:pt x="35" y="38"/>
                    <a:pt x="27" y="46"/>
                  </a:cubicBezTo>
                  <a:cubicBezTo>
                    <a:pt x="19" y="54"/>
                    <a:pt x="14" y="66"/>
                    <a:pt x="13" y="79"/>
                  </a:cubicBezTo>
                  <a:cubicBezTo>
                    <a:pt x="13" y="85"/>
                    <a:pt x="14" y="92"/>
                    <a:pt x="16" y="99"/>
                  </a:cubicBezTo>
                  <a:cubicBezTo>
                    <a:pt x="18" y="105"/>
                    <a:pt x="22" y="111"/>
                    <a:pt x="27" y="116"/>
                  </a:cubicBezTo>
                  <a:cubicBezTo>
                    <a:pt x="32" y="122"/>
                    <a:pt x="38" y="126"/>
                    <a:pt x="45" y="128"/>
                  </a:cubicBezTo>
                  <a:cubicBezTo>
                    <a:pt x="52" y="131"/>
                    <a:pt x="60" y="132"/>
                    <a:pt x="67" y="132"/>
                  </a:cubicBezTo>
                  <a:cubicBezTo>
                    <a:pt x="83" y="131"/>
                    <a:pt x="99" y="124"/>
                    <a:pt x="111" y="112"/>
                  </a:cubicBezTo>
                  <a:cubicBezTo>
                    <a:pt x="117" y="107"/>
                    <a:pt x="122" y="99"/>
                    <a:pt x="125" y="91"/>
                  </a:cubicBezTo>
                  <a:cubicBezTo>
                    <a:pt x="127" y="83"/>
                    <a:pt x="128" y="74"/>
                    <a:pt x="126" y="65"/>
                  </a:cubicBezTo>
                  <a:cubicBezTo>
                    <a:pt x="124" y="56"/>
                    <a:pt x="120" y="48"/>
                    <a:pt x="113" y="42"/>
                  </a:cubicBezTo>
                  <a:cubicBezTo>
                    <a:pt x="106" y="35"/>
                    <a:pt x="98" y="31"/>
                    <a:pt x="89" y="29"/>
                  </a:cubicBezTo>
                  <a:cubicBezTo>
                    <a:pt x="80" y="26"/>
                    <a:pt x="70" y="25"/>
                    <a:pt x="60" y="25"/>
                  </a:cubicBezTo>
                  <a:cubicBezTo>
                    <a:pt x="50" y="24"/>
                    <a:pt x="40" y="25"/>
                    <a:pt x="31" y="28"/>
                  </a:cubicBezTo>
                  <a:cubicBezTo>
                    <a:pt x="22" y="32"/>
                    <a:pt x="13" y="38"/>
                    <a:pt x="8" y="47"/>
                  </a:cubicBezTo>
                  <a:cubicBezTo>
                    <a:pt x="4" y="55"/>
                    <a:pt x="2" y="66"/>
                    <a:pt x="4" y="76"/>
                  </a:cubicBezTo>
                  <a:cubicBezTo>
                    <a:pt x="6" y="86"/>
                    <a:pt x="12" y="95"/>
                    <a:pt x="19" y="103"/>
                  </a:cubicBezTo>
                  <a:cubicBezTo>
                    <a:pt x="27" y="110"/>
                    <a:pt x="36" y="115"/>
                    <a:pt x="47" y="118"/>
                  </a:cubicBezTo>
                  <a:cubicBezTo>
                    <a:pt x="67" y="125"/>
                    <a:pt x="90" y="123"/>
                    <a:pt x="109" y="112"/>
                  </a:cubicBezTo>
                  <a:cubicBezTo>
                    <a:pt x="114" y="110"/>
                    <a:pt x="118" y="106"/>
                    <a:pt x="122" y="102"/>
                  </a:cubicBezTo>
                  <a:cubicBezTo>
                    <a:pt x="126" y="98"/>
                    <a:pt x="129" y="94"/>
                    <a:pt x="131" y="89"/>
                  </a:cubicBezTo>
                  <a:cubicBezTo>
                    <a:pt x="136" y="80"/>
                    <a:pt x="137" y="69"/>
                    <a:pt x="136" y="58"/>
                  </a:cubicBezTo>
                  <a:cubicBezTo>
                    <a:pt x="135" y="48"/>
                    <a:pt x="131" y="37"/>
                    <a:pt x="125" y="29"/>
                  </a:cubicBezTo>
                  <a:cubicBezTo>
                    <a:pt x="118" y="21"/>
                    <a:pt x="110" y="14"/>
                    <a:pt x="100" y="10"/>
                  </a:cubicBezTo>
                  <a:cubicBezTo>
                    <a:pt x="81" y="2"/>
                    <a:pt x="59" y="3"/>
                    <a:pt x="42" y="13"/>
                  </a:cubicBezTo>
                  <a:cubicBezTo>
                    <a:pt x="24" y="23"/>
                    <a:pt x="11" y="39"/>
                    <a:pt x="6" y="57"/>
                  </a:cubicBezTo>
                  <a:cubicBezTo>
                    <a:pt x="3" y="66"/>
                    <a:pt x="2" y="75"/>
                    <a:pt x="3" y="84"/>
                  </a:cubicBezTo>
                  <a:cubicBezTo>
                    <a:pt x="4" y="89"/>
                    <a:pt x="5" y="93"/>
                    <a:pt x="7" y="98"/>
                  </a:cubicBezTo>
                  <a:cubicBezTo>
                    <a:pt x="9" y="102"/>
                    <a:pt x="12" y="105"/>
                    <a:pt x="15" y="109"/>
                  </a:cubicBezTo>
                  <a:cubicBezTo>
                    <a:pt x="21" y="115"/>
                    <a:pt x="28" y="120"/>
                    <a:pt x="36" y="123"/>
                  </a:cubicBezTo>
                  <a:cubicBezTo>
                    <a:pt x="44" y="127"/>
                    <a:pt x="53" y="128"/>
                    <a:pt x="61" y="129"/>
                  </a:cubicBezTo>
                  <a:cubicBezTo>
                    <a:pt x="78" y="130"/>
                    <a:pt x="95" y="126"/>
                    <a:pt x="108" y="117"/>
                  </a:cubicBezTo>
                  <a:cubicBezTo>
                    <a:pt x="121" y="109"/>
                    <a:pt x="130" y="95"/>
                    <a:pt x="131" y="80"/>
                  </a:cubicBezTo>
                  <a:cubicBezTo>
                    <a:pt x="132" y="66"/>
                    <a:pt x="127" y="52"/>
                    <a:pt x="120" y="41"/>
                  </a:cubicBezTo>
                  <a:cubicBezTo>
                    <a:pt x="113" y="30"/>
                    <a:pt x="104" y="22"/>
                    <a:pt x="94" y="16"/>
                  </a:cubicBezTo>
                  <a:cubicBezTo>
                    <a:pt x="85" y="10"/>
                    <a:pt x="74" y="6"/>
                    <a:pt x="64" y="5"/>
                  </a:cubicBezTo>
                  <a:cubicBezTo>
                    <a:pt x="60" y="5"/>
                    <a:pt x="55" y="5"/>
                    <a:pt x="50" y="6"/>
                  </a:cubicBezTo>
                  <a:cubicBezTo>
                    <a:pt x="46" y="6"/>
                    <a:pt x="42" y="7"/>
                    <a:pt x="38" y="9"/>
                  </a:cubicBezTo>
                  <a:cubicBezTo>
                    <a:pt x="23" y="14"/>
                    <a:pt x="13" y="23"/>
                    <a:pt x="8" y="30"/>
                  </a:cubicBezTo>
                  <a:cubicBezTo>
                    <a:pt x="6" y="34"/>
                    <a:pt x="4" y="36"/>
                    <a:pt x="3" y="38"/>
                  </a:cubicBezTo>
                  <a:cubicBezTo>
                    <a:pt x="3" y="40"/>
                    <a:pt x="2" y="41"/>
                    <a:pt x="2" y="41"/>
                  </a:cubicBez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9" name="任意多边形: 形状 638">
              <a:extLst>
                <a:ext uri="{FF2B5EF4-FFF2-40B4-BE49-F238E27FC236}">
                  <a16:creationId xmlns:a16="http://schemas.microsoft.com/office/drawing/2014/main" id="{AC7DAE8F-8FED-4B10-89F7-C8458D325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6701" y="4573588"/>
              <a:ext cx="330200" cy="276225"/>
            </a:xfrm>
            <a:custGeom>
              <a:avLst/>
              <a:gdLst>
                <a:gd name="T0" fmla="*/ 143 w 144"/>
                <a:gd name="T1" fmla="*/ 1 h 121"/>
                <a:gd name="T2" fmla="*/ 73 w 144"/>
                <a:gd name="T3" fmla="*/ 61 h 121"/>
                <a:gd name="T4" fmla="*/ 0 w 144"/>
                <a:gd name="T5" fmla="*/ 120 h 121"/>
                <a:gd name="T6" fmla="*/ 71 w 144"/>
                <a:gd name="T7" fmla="*/ 60 h 121"/>
                <a:gd name="T8" fmla="*/ 143 w 144"/>
                <a:gd name="T9" fmla="*/ 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21">
                  <a:moveTo>
                    <a:pt x="143" y="1"/>
                  </a:moveTo>
                  <a:cubicBezTo>
                    <a:pt x="144" y="1"/>
                    <a:pt x="112" y="28"/>
                    <a:pt x="73" y="61"/>
                  </a:cubicBezTo>
                  <a:cubicBezTo>
                    <a:pt x="33" y="94"/>
                    <a:pt x="1" y="121"/>
                    <a:pt x="0" y="120"/>
                  </a:cubicBezTo>
                  <a:cubicBezTo>
                    <a:pt x="0" y="120"/>
                    <a:pt x="32" y="93"/>
                    <a:pt x="71" y="60"/>
                  </a:cubicBezTo>
                  <a:cubicBezTo>
                    <a:pt x="111" y="27"/>
                    <a:pt x="143" y="0"/>
                    <a:pt x="14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0" name="任意多边形: 形状 639">
              <a:extLst>
                <a:ext uri="{FF2B5EF4-FFF2-40B4-BE49-F238E27FC236}">
                  <a16:creationId xmlns:a16="http://schemas.microsoft.com/office/drawing/2014/main" id="{B54599ED-9E89-41DF-A968-BDEAFE05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4326" y="4600576"/>
              <a:ext cx="295275" cy="239713"/>
            </a:xfrm>
            <a:custGeom>
              <a:avLst/>
              <a:gdLst>
                <a:gd name="T0" fmla="*/ 129 w 129"/>
                <a:gd name="T1" fmla="*/ 105 h 105"/>
                <a:gd name="T2" fmla="*/ 124 w 129"/>
                <a:gd name="T3" fmla="*/ 101 h 105"/>
                <a:gd name="T4" fmla="*/ 110 w 129"/>
                <a:gd name="T5" fmla="*/ 90 h 105"/>
                <a:gd name="T6" fmla="*/ 64 w 129"/>
                <a:gd name="T7" fmla="*/ 53 h 105"/>
                <a:gd name="T8" fmla="*/ 19 w 129"/>
                <a:gd name="T9" fmla="*/ 16 h 105"/>
                <a:gd name="T10" fmla="*/ 5 w 129"/>
                <a:gd name="T11" fmla="*/ 4 h 105"/>
                <a:gd name="T12" fmla="*/ 0 w 129"/>
                <a:gd name="T13" fmla="*/ 0 h 105"/>
                <a:gd name="T14" fmla="*/ 6 w 129"/>
                <a:gd name="T15" fmla="*/ 4 h 105"/>
                <a:gd name="T16" fmla="*/ 20 w 129"/>
                <a:gd name="T17" fmla="*/ 15 h 105"/>
                <a:gd name="T18" fmla="*/ 65 w 129"/>
                <a:gd name="T19" fmla="*/ 52 h 105"/>
                <a:gd name="T20" fmla="*/ 111 w 129"/>
                <a:gd name="T21" fmla="*/ 89 h 105"/>
                <a:gd name="T22" fmla="*/ 124 w 129"/>
                <a:gd name="T23" fmla="*/ 100 h 105"/>
                <a:gd name="T24" fmla="*/ 129 w 129"/>
                <a:gd name="T2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05">
                  <a:moveTo>
                    <a:pt x="129" y="105"/>
                  </a:moveTo>
                  <a:cubicBezTo>
                    <a:pt x="129" y="105"/>
                    <a:pt x="127" y="104"/>
                    <a:pt x="124" y="101"/>
                  </a:cubicBezTo>
                  <a:cubicBezTo>
                    <a:pt x="120" y="98"/>
                    <a:pt x="116" y="95"/>
                    <a:pt x="110" y="90"/>
                  </a:cubicBezTo>
                  <a:cubicBezTo>
                    <a:pt x="98" y="81"/>
                    <a:pt x="82" y="68"/>
                    <a:pt x="64" y="53"/>
                  </a:cubicBezTo>
                  <a:cubicBezTo>
                    <a:pt x="46" y="39"/>
                    <a:pt x="30" y="26"/>
                    <a:pt x="19" y="16"/>
                  </a:cubicBezTo>
                  <a:cubicBezTo>
                    <a:pt x="13" y="11"/>
                    <a:pt x="9" y="7"/>
                    <a:pt x="5" y="4"/>
                  </a:cubicBezTo>
                  <a:cubicBezTo>
                    <a:pt x="2" y="2"/>
                    <a:pt x="0" y="0"/>
                    <a:pt x="0" y="0"/>
                  </a:cubicBezTo>
                  <a:cubicBezTo>
                    <a:pt x="0" y="0"/>
                    <a:pt x="2" y="1"/>
                    <a:pt x="6" y="4"/>
                  </a:cubicBezTo>
                  <a:cubicBezTo>
                    <a:pt x="9" y="7"/>
                    <a:pt x="14" y="10"/>
                    <a:pt x="20" y="15"/>
                  </a:cubicBezTo>
                  <a:cubicBezTo>
                    <a:pt x="31" y="24"/>
                    <a:pt x="48" y="37"/>
                    <a:pt x="65" y="52"/>
                  </a:cubicBezTo>
                  <a:cubicBezTo>
                    <a:pt x="83" y="66"/>
                    <a:pt x="99" y="79"/>
                    <a:pt x="111" y="89"/>
                  </a:cubicBezTo>
                  <a:cubicBezTo>
                    <a:pt x="116" y="94"/>
                    <a:pt x="121" y="97"/>
                    <a:pt x="124" y="100"/>
                  </a:cubicBezTo>
                  <a:cubicBezTo>
                    <a:pt x="128" y="103"/>
                    <a:pt x="129" y="105"/>
                    <a:pt x="129" y="10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1" name="任意多边形: 形状 640">
              <a:extLst>
                <a:ext uri="{FF2B5EF4-FFF2-40B4-BE49-F238E27FC236}">
                  <a16:creationId xmlns:a16="http://schemas.microsoft.com/office/drawing/2014/main" id="{64AB80BD-3357-4638-BB9B-43E30BD46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4576" y="4576763"/>
              <a:ext cx="315913" cy="236538"/>
            </a:xfrm>
            <a:custGeom>
              <a:avLst/>
              <a:gdLst>
                <a:gd name="T0" fmla="*/ 137 w 138"/>
                <a:gd name="T1" fmla="*/ 0 h 103"/>
                <a:gd name="T2" fmla="*/ 70 w 138"/>
                <a:gd name="T3" fmla="*/ 52 h 103"/>
                <a:gd name="T4" fmla="*/ 0 w 138"/>
                <a:gd name="T5" fmla="*/ 103 h 103"/>
                <a:gd name="T6" fmla="*/ 68 w 138"/>
                <a:gd name="T7" fmla="*/ 51 h 103"/>
                <a:gd name="T8" fmla="*/ 137 w 138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03">
                  <a:moveTo>
                    <a:pt x="137" y="0"/>
                  </a:moveTo>
                  <a:cubicBezTo>
                    <a:pt x="138" y="1"/>
                    <a:pt x="107" y="24"/>
                    <a:pt x="70" y="52"/>
                  </a:cubicBezTo>
                  <a:cubicBezTo>
                    <a:pt x="32" y="80"/>
                    <a:pt x="1" y="103"/>
                    <a:pt x="0" y="103"/>
                  </a:cubicBezTo>
                  <a:cubicBezTo>
                    <a:pt x="0" y="102"/>
                    <a:pt x="30" y="79"/>
                    <a:pt x="68" y="51"/>
                  </a:cubicBezTo>
                  <a:cubicBezTo>
                    <a:pt x="106" y="22"/>
                    <a:pt x="137" y="0"/>
                    <a:pt x="13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2" name="任意多边形: 形状 641">
              <a:extLst>
                <a:ext uri="{FF2B5EF4-FFF2-40B4-BE49-F238E27FC236}">
                  <a16:creationId xmlns:a16="http://schemas.microsoft.com/office/drawing/2014/main" id="{B52A586E-CC48-4F30-B841-D295E84192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8863" y="4592638"/>
              <a:ext cx="327025" cy="211138"/>
            </a:xfrm>
            <a:custGeom>
              <a:avLst/>
              <a:gdLst>
                <a:gd name="T0" fmla="*/ 143 w 143"/>
                <a:gd name="T1" fmla="*/ 92 h 92"/>
                <a:gd name="T2" fmla="*/ 71 w 143"/>
                <a:gd name="T3" fmla="*/ 47 h 92"/>
                <a:gd name="T4" fmla="*/ 0 w 143"/>
                <a:gd name="T5" fmla="*/ 1 h 92"/>
                <a:gd name="T6" fmla="*/ 72 w 143"/>
                <a:gd name="T7" fmla="*/ 45 h 92"/>
                <a:gd name="T8" fmla="*/ 143 w 143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92">
                  <a:moveTo>
                    <a:pt x="143" y="92"/>
                  </a:moveTo>
                  <a:cubicBezTo>
                    <a:pt x="143" y="92"/>
                    <a:pt x="111" y="72"/>
                    <a:pt x="71" y="47"/>
                  </a:cubicBezTo>
                  <a:cubicBezTo>
                    <a:pt x="32" y="22"/>
                    <a:pt x="0" y="1"/>
                    <a:pt x="0" y="1"/>
                  </a:cubicBezTo>
                  <a:cubicBezTo>
                    <a:pt x="1" y="0"/>
                    <a:pt x="33" y="20"/>
                    <a:pt x="72" y="45"/>
                  </a:cubicBezTo>
                  <a:cubicBezTo>
                    <a:pt x="112" y="71"/>
                    <a:pt x="143" y="91"/>
                    <a:pt x="143" y="9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3" name="任意多边形: 形状 642">
              <a:extLst>
                <a:ext uri="{FF2B5EF4-FFF2-40B4-BE49-F238E27FC236}">
                  <a16:creationId xmlns:a16="http://schemas.microsoft.com/office/drawing/2014/main" id="{9D745BCD-AE90-424D-8FAE-59E8C28DE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4838" y="4913313"/>
              <a:ext cx="327025" cy="336550"/>
            </a:xfrm>
            <a:custGeom>
              <a:avLst/>
              <a:gdLst>
                <a:gd name="T0" fmla="*/ 1 w 143"/>
                <a:gd name="T1" fmla="*/ 146 h 147"/>
                <a:gd name="T2" fmla="*/ 71 w 143"/>
                <a:gd name="T3" fmla="*/ 72 h 147"/>
                <a:gd name="T4" fmla="*/ 143 w 143"/>
                <a:gd name="T5" fmla="*/ 0 h 147"/>
                <a:gd name="T6" fmla="*/ 72 w 143"/>
                <a:gd name="T7" fmla="*/ 74 h 147"/>
                <a:gd name="T8" fmla="*/ 1 w 143"/>
                <a:gd name="T9" fmla="*/ 14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47">
                  <a:moveTo>
                    <a:pt x="1" y="146"/>
                  </a:moveTo>
                  <a:cubicBezTo>
                    <a:pt x="0" y="146"/>
                    <a:pt x="32" y="113"/>
                    <a:pt x="71" y="72"/>
                  </a:cubicBezTo>
                  <a:cubicBezTo>
                    <a:pt x="110" y="32"/>
                    <a:pt x="142" y="0"/>
                    <a:pt x="143" y="0"/>
                  </a:cubicBezTo>
                  <a:cubicBezTo>
                    <a:pt x="143" y="0"/>
                    <a:pt x="112" y="33"/>
                    <a:pt x="72" y="74"/>
                  </a:cubicBezTo>
                  <a:cubicBezTo>
                    <a:pt x="33" y="114"/>
                    <a:pt x="1" y="147"/>
                    <a:pt x="1" y="146"/>
                  </a:cubicBez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4" name="任意多边形: 形状 643">
              <a:extLst>
                <a:ext uri="{FF2B5EF4-FFF2-40B4-BE49-F238E27FC236}">
                  <a16:creationId xmlns:a16="http://schemas.microsoft.com/office/drawing/2014/main" id="{99FF7119-D401-4CF8-AE8B-13629032B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8651" y="4935538"/>
              <a:ext cx="282575" cy="311150"/>
            </a:xfrm>
            <a:custGeom>
              <a:avLst/>
              <a:gdLst>
                <a:gd name="T0" fmla="*/ 124 w 124"/>
                <a:gd name="T1" fmla="*/ 136 h 136"/>
                <a:gd name="T2" fmla="*/ 123 w 124"/>
                <a:gd name="T3" fmla="*/ 135 h 136"/>
                <a:gd name="T4" fmla="*/ 119 w 124"/>
                <a:gd name="T5" fmla="*/ 130 h 136"/>
                <a:gd name="T6" fmla="*/ 107 w 124"/>
                <a:gd name="T7" fmla="*/ 115 h 136"/>
                <a:gd name="T8" fmla="*/ 64 w 124"/>
                <a:gd name="T9" fmla="*/ 65 h 136"/>
                <a:gd name="T10" fmla="*/ 19 w 124"/>
                <a:gd name="T11" fmla="*/ 19 h 136"/>
                <a:gd name="T12" fmla="*/ 5 w 124"/>
                <a:gd name="T13" fmla="*/ 5 h 136"/>
                <a:gd name="T14" fmla="*/ 1 w 124"/>
                <a:gd name="T15" fmla="*/ 1 h 136"/>
                <a:gd name="T16" fmla="*/ 0 w 124"/>
                <a:gd name="T17" fmla="*/ 0 h 136"/>
                <a:gd name="T18" fmla="*/ 1 w 124"/>
                <a:gd name="T19" fmla="*/ 1 h 136"/>
                <a:gd name="T20" fmla="*/ 5 w 124"/>
                <a:gd name="T21" fmla="*/ 4 h 136"/>
                <a:gd name="T22" fmla="*/ 20 w 124"/>
                <a:gd name="T23" fmla="*/ 18 h 136"/>
                <a:gd name="T24" fmla="*/ 66 w 124"/>
                <a:gd name="T25" fmla="*/ 64 h 136"/>
                <a:gd name="T26" fmla="*/ 108 w 124"/>
                <a:gd name="T27" fmla="*/ 114 h 136"/>
                <a:gd name="T28" fmla="*/ 120 w 124"/>
                <a:gd name="T29" fmla="*/ 130 h 136"/>
                <a:gd name="T30" fmla="*/ 123 w 124"/>
                <a:gd name="T31" fmla="*/ 134 h 136"/>
                <a:gd name="T32" fmla="*/ 124 w 124"/>
                <a:gd name="T3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4" h="136">
                  <a:moveTo>
                    <a:pt x="124" y="136"/>
                  </a:moveTo>
                  <a:cubicBezTo>
                    <a:pt x="124" y="136"/>
                    <a:pt x="123" y="136"/>
                    <a:pt x="123" y="135"/>
                  </a:cubicBezTo>
                  <a:cubicBezTo>
                    <a:pt x="122" y="134"/>
                    <a:pt x="120" y="132"/>
                    <a:pt x="119" y="130"/>
                  </a:cubicBezTo>
                  <a:cubicBezTo>
                    <a:pt x="116" y="127"/>
                    <a:pt x="112" y="121"/>
                    <a:pt x="107" y="115"/>
                  </a:cubicBezTo>
                  <a:cubicBezTo>
                    <a:pt x="96" y="102"/>
                    <a:pt x="82" y="84"/>
                    <a:pt x="64" y="65"/>
                  </a:cubicBezTo>
                  <a:cubicBezTo>
                    <a:pt x="47" y="47"/>
                    <a:pt x="31" y="30"/>
                    <a:pt x="19" y="19"/>
                  </a:cubicBezTo>
                  <a:cubicBezTo>
                    <a:pt x="13" y="13"/>
                    <a:pt x="8" y="8"/>
                    <a:pt x="5" y="5"/>
                  </a:cubicBezTo>
                  <a:cubicBezTo>
                    <a:pt x="3" y="3"/>
                    <a:pt x="2" y="2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1"/>
                  </a:cubicBezTo>
                  <a:cubicBezTo>
                    <a:pt x="2" y="2"/>
                    <a:pt x="4" y="3"/>
                    <a:pt x="5" y="4"/>
                  </a:cubicBezTo>
                  <a:cubicBezTo>
                    <a:pt x="9" y="7"/>
                    <a:pt x="14" y="12"/>
                    <a:pt x="20" y="18"/>
                  </a:cubicBezTo>
                  <a:cubicBezTo>
                    <a:pt x="32" y="29"/>
                    <a:pt x="49" y="45"/>
                    <a:pt x="66" y="64"/>
                  </a:cubicBezTo>
                  <a:cubicBezTo>
                    <a:pt x="83" y="83"/>
                    <a:pt x="98" y="101"/>
                    <a:pt x="108" y="114"/>
                  </a:cubicBezTo>
                  <a:cubicBezTo>
                    <a:pt x="113" y="121"/>
                    <a:pt x="117" y="126"/>
                    <a:pt x="120" y="130"/>
                  </a:cubicBezTo>
                  <a:cubicBezTo>
                    <a:pt x="121" y="132"/>
                    <a:pt x="122" y="133"/>
                    <a:pt x="123" y="134"/>
                  </a:cubicBezTo>
                  <a:cubicBezTo>
                    <a:pt x="124" y="135"/>
                    <a:pt x="124" y="136"/>
                    <a:pt x="124" y="136"/>
                  </a:cubicBez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5" name="任意多边形: 形状 644">
              <a:extLst>
                <a:ext uri="{FF2B5EF4-FFF2-40B4-BE49-F238E27FC236}">
                  <a16:creationId xmlns:a16="http://schemas.microsoft.com/office/drawing/2014/main" id="{3C541E71-4A18-4448-9997-3D7AE723E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3463" y="4830763"/>
              <a:ext cx="403225" cy="390525"/>
            </a:xfrm>
            <a:custGeom>
              <a:avLst/>
              <a:gdLst>
                <a:gd name="T0" fmla="*/ 174 w 176"/>
                <a:gd name="T1" fmla="*/ 14 h 171"/>
                <a:gd name="T2" fmla="*/ 151 w 176"/>
                <a:gd name="T3" fmla="*/ 171 h 171"/>
                <a:gd name="T4" fmla="*/ 0 w 176"/>
                <a:gd name="T5" fmla="*/ 145 h 171"/>
                <a:gd name="T6" fmla="*/ 33 w 176"/>
                <a:gd name="T7" fmla="*/ 0 h 171"/>
                <a:gd name="T8" fmla="*/ 174 w 176"/>
                <a:gd name="T9" fmla="*/ 1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6" h="171">
                  <a:moveTo>
                    <a:pt x="174" y="14"/>
                  </a:moveTo>
                  <a:cubicBezTo>
                    <a:pt x="174" y="14"/>
                    <a:pt x="176" y="112"/>
                    <a:pt x="151" y="171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45"/>
                    <a:pt x="45" y="52"/>
                    <a:pt x="33" y="0"/>
                  </a:cubicBezTo>
                  <a:lnTo>
                    <a:pt x="174" y="14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6" name="任意多边形: 形状 645">
              <a:extLst>
                <a:ext uri="{FF2B5EF4-FFF2-40B4-BE49-F238E27FC236}">
                  <a16:creationId xmlns:a16="http://schemas.microsoft.com/office/drawing/2014/main" id="{330109FF-A19A-45FD-AE11-A4AFD1C17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0763" y="4803776"/>
              <a:ext cx="411163" cy="409575"/>
            </a:xfrm>
            <a:custGeom>
              <a:avLst/>
              <a:gdLst>
                <a:gd name="T0" fmla="*/ 180 w 180"/>
                <a:gd name="T1" fmla="*/ 22 h 179"/>
                <a:gd name="T2" fmla="*/ 150 w 180"/>
                <a:gd name="T3" fmla="*/ 179 h 179"/>
                <a:gd name="T4" fmla="*/ 0 w 180"/>
                <a:gd name="T5" fmla="*/ 149 h 179"/>
                <a:gd name="T6" fmla="*/ 30 w 180"/>
                <a:gd name="T7" fmla="*/ 0 h 179"/>
                <a:gd name="T8" fmla="*/ 180 w 180"/>
                <a:gd name="T9" fmla="*/ 2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79">
                  <a:moveTo>
                    <a:pt x="180" y="22"/>
                  </a:moveTo>
                  <a:cubicBezTo>
                    <a:pt x="180" y="22"/>
                    <a:pt x="161" y="143"/>
                    <a:pt x="150" y="17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30" y="32"/>
                    <a:pt x="30" y="0"/>
                  </a:cubicBezTo>
                  <a:lnTo>
                    <a:pt x="180" y="22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7" name="任意多边形: 形状 646">
              <a:extLst>
                <a:ext uri="{FF2B5EF4-FFF2-40B4-BE49-F238E27FC236}">
                  <a16:creationId xmlns:a16="http://schemas.microsoft.com/office/drawing/2014/main" id="{077B6E80-CEAC-410A-816F-C375CB0F0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951" y="4924426"/>
              <a:ext cx="230188" cy="52388"/>
            </a:xfrm>
            <a:custGeom>
              <a:avLst/>
              <a:gdLst>
                <a:gd name="T0" fmla="*/ 0 w 101"/>
                <a:gd name="T1" fmla="*/ 1 h 23"/>
                <a:gd name="T2" fmla="*/ 50 w 101"/>
                <a:gd name="T3" fmla="*/ 12 h 23"/>
                <a:gd name="T4" fmla="*/ 101 w 101"/>
                <a:gd name="T5" fmla="*/ 22 h 23"/>
                <a:gd name="T6" fmla="*/ 51 w 101"/>
                <a:gd name="T7" fmla="*/ 10 h 23"/>
                <a:gd name="T8" fmla="*/ 0 w 101"/>
                <a:gd name="T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23">
                  <a:moveTo>
                    <a:pt x="0" y="1"/>
                  </a:moveTo>
                  <a:cubicBezTo>
                    <a:pt x="0" y="1"/>
                    <a:pt x="23" y="7"/>
                    <a:pt x="50" y="12"/>
                  </a:cubicBezTo>
                  <a:cubicBezTo>
                    <a:pt x="78" y="18"/>
                    <a:pt x="101" y="23"/>
                    <a:pt x="101" y="22"/>
                  </a:cubicBezTo>
                  <a:cubicBezTo>
                    <a:pt x="101" y="22"/>
                    <a:pt x="79" y="16"/>
                    <a:pt x="51" y="10"/>
                  </a:cubicBezTo>
                  <a:cubicBezTo>
                    <a:pt x="23" y="5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8" name="任意多边形: 形状 647">
              <a:extLst>
                <a:ext uri="{FF2B5EF4-FFF2-40B4-BE49-F238E27FC236}">
                  <a16:creationId xmlns:a16="http://schemas.microsoft.com/office/drawing/2014/main" id="{B1CB0D5F-E336-4ED9-B5B6-20AE6DF9D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426" y="4984751"/>
              <a:ext cx="230188" cy="49213"/>
            </a:xfrm>
            <a:custGeom>
              <a:avLst/>
              <a:gdLst>
                <a:gd name="T0" fmla="*/ 0 w 101"/>
                <a:gd name="T1" fmla="*/ 0 h 22"/>
                <a:gd name="T2" fmla="*/ 51 w 101"/>
                <a:gd name="T3" fmla="*/ 12 h 22"/>
                <a:gd name="T4" fmla="*/ 101 w 101"/>
                <a:gd name="T5" fmla="*/ 22 h 22"/>
                <a:gd name="T6" fmla="*/ 51 w 101"/>
                <a:gd name="T7" fmla="*/ 10 h 22"/>
                <a:gd name="T8" fmla="*/ 0 w 101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22">
                  <a:moveTo>
                    <a:pt x="0" y="0"/>
                  </a:moveTo>
                  <a:cubicBezTo>
                    <a:pt x="0" y="1"/>
                    <a:pt x="23" y="6"/>
                    <a:pt x="51" y="12"/>
                  </a:cubicBezTo>
                  <a:cubicBezTo>
                    <a:pt x="78" y="18"/>
                    <a:pt x="101" y="22"/>
                    <a:pt x="101" y="22"/>
                  </a:cubicBezTo>
                  <a:cubicBezTo>
                    <a:pt x="101" y="21"/>
                    <a:pt x="79" y="16"/>
                    <a:pt x="51" y="10"/>
                  </a:cubicBezTo>
                  <a:cubicBezTo>
                    <a:pt x="23" y="4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9" name="任意多边形: 形状 648">
              <a:extLst>
                <a:ext uri="{FF2B5EF4-FFF2-40B4-BE49-F238E27FC236}">
                  <a16:creationId xmlns:a16="http://schemas.microsoft.com/office/drawing/2014/main" id="{20920890-0640-4C13-B0F9-B9BE2243BA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3638" y="5049838"/>
              <a:ext cx="133350" cy="30163"/>
            </a:xfrm>
            <a:custGeom>
              <a:avLst/>
              <a:gdLst>
                <a:gd name="T0" fmla="*/ 0 w 58"/>
                <a:gd name="T1" fmla="*/ 0 h 13"/>
                <a:gd name="T2" fmla="*/ 9 w 58"/>
                <a:gd name="T3" fmla="*/ 3 h 13"/>
                <a:gd name="T4" fmla="*/ 29 w 58"/>
                <a:gd name="T5" fmla="*/ 7 h 13"/>
                <a:gd name="T6" fmla="*/ 49 w 58"/>
                <a:gd name="T7" fmla="*/ 11 h 13"/>
                <a:gd name="T8" fmla="*/ 58 w 58"/>
                <a:gd name="T9" fmla="*/ 12 h 13"/>
                <a:gd name="T10" fmla="*/ 50 w 58"/>
                <a:gd name="T11" fmla="*/ 10 h 13"/>
                <a:gd name="T12" fmla="*/ 29 w 58"/>
                <a:gd name="T13" fmla="*/ 5 h 13"/>
                <a:gd name="T14" fmla="*/ 9 w 58"/>
                <a:gd name="T15" fmla="*/ 1 h 13"/>
                <a:gd name="T16" fmla="*/ 0 w 58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13">
                  <a:moveTo>
                    <a:pt x="0" y="0"/>
                  </a:moveTo>
                  <a:cubicBezTo>
                    <a:pt x="0" y="1"/>
                    <a:pt x="4" y="2"/>
                    <a:pt x="9" y="3"/>
                  </a:cubicBezTo>
                  <a:cubicBezTo>
                    <a:pt x="14" y="4"/>
                    <a:pt x="21" y="6"/>
                    <a:pt x="29" y="7"/>
                  </a:cubicBezTo>
                  <a:cubicBezTo>
                    <a:pt x="37" y="9"/>
                    <a:pt x="44" y="10"/>
                    <a:pt x="49" y="11"/>
                  </a:cubicBezTo>
                  <a:cubicBezTo>
                    <a:pt x="55" y="12"/>
                    <a:pt x="58" y="13"/>
                    <a:pt x="58" y="12"/>
                  </a:cubicBezTo>
                  <a:cubicBezTo>
                    <a:pt x="58" y="12"/>
                    <a:pt x="55" y="11"/>
                    <a:pt x="50" y="10"/>
                  </a:cubicBezTo>
                  <a:cubicBezTo>
                    <a:pt x="44" y="9"/>
                    <a:pt x="37" y="7"/>
                    <a:pt x="29" y="5"/>
                  </a:cubicBezTo>
                  <a:cubicBezTo>
                    <a:pt x="21" y="4"/>
                    <a:pt x="14" y="2"/>
                    <a:pt x="9" y="1"/>
                  </a:cubicBezTo>
                  <a:cubicBezTo>
                    <a:pt x="4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0" name="任意多边形: 形状 649">
              <a:extLst>
                <a:ext uri="{FF2B5EF4-FFF2-40B4-BE49-F238E27FC236}">
                  <a16:creationId xmlns:a16="http://schemas.microsoft.com/office/drawing/2014/main" id="{8BB1E204-9FEA-4329-BDC1-15ADC5EFEE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976" y="4232276"/>
              <a:ext cx="382588" cy="358775"/>
            </a:xfrm>
            <a:custGeom>
              <a:avLst/>
              <a:gdLst>
                <a:gd name="T0" fmla="*/ 151 w 167"/>
                <a:gd name="T1" fmla="*/ 0 h 157"/>
                <a:gd name="T2" fmla="*/ 151 w 167"/>
                <a:gd name="T3" fmla="*/ 157 h 157"/>
                <a:gd name="T4" fmla="*/ 0 w 167"/>
                <a:gd name="T5" fmla="*/ 153 h 157"/>
                <a:gd name="T6" fmla="*/ 11 w 167"/>
                <a:gd name="T7" fmla="*/ 7 h 157"/>
                <a:gd name="T8" fmla="*/ 151 w 167"/>
                <a:gd name="T9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157">
                  <a:moveTo>
                    <a:pt x="151" y="0"/>
                  </a:moveTo>
                  <a:cubicBezTo>
                    <a:pt x="151" y="0"/>
                    <a:pt x="167" y="96"/>
                    <a:pt x="151" y="157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53"/>
                    <a:pt x="31" y="56"/>
                    <a:pt x="11" y="7"/>
                  </a:cubicBezTo>
                  <a:lnTo>
                    <a:pt x="151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1" name="任意多边形: 形状 650">
              <a:extLst>
                <a:ext uri="{FF2B5EF4-FFF2-40B4-BE49-F238E27FC236}">
                  <a16:creationId xmlns:a16="http://schemas.microsoft.com/office/drawing/2014/main" id="{EB532201-852F-45CB-BCC1-ABF3911F6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5101" y="4222751"/>
              <a:ext cx="361950" cy="358775"/>
            </a:xfrm>
            <a:custGeom>
              <a:avLst/>
              <a:gdLst>
                <a:gd name="T0" fmla="*/ 158 w 158"/>
                <a:gd name="T1" fmla="*/ 0 h 157"/>
                <a:gd name="T2" fmla="*/ 151 w 158"/>
                <a:gd name="T3" fmla="*/ 157 h 157"/>
                <a:gd name="T4" fmla="*/ 0 w 158"/>
                <a:gd name="T5" fmla="*/ 150 h 157"/>
                <a:gd name="T6" fmla="*/ 8 w 158"/>
                <a:gd name="T7" fmla="*/ 0 h 157"/>
                <a:gd name="T8" fmla="*/ 158 w 158"/>
                <a:gd name="T9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157">
                  <a:moveTo>
                    <a:pt x="158" y="0"/>
                  </a:moveTo>
                  <a:cubicBezTo>
                    <a:pt x="158" y="0"/>
                    <a:pt x="157" y="121"/>
                    <a:pt x="151" y="157"/>
                  </a:cubicBezTo>
                  <a:cubicBezTo>
                    <a:pt x="0" y="150"/>
                    <a:pt x="0" y="150"/>
                    <a:pt x="0" y="150"/>
                  </a:cubicBezTo>
                  <a:cubicBezTo>
                    <a:pt x="0" y="150"/>
                    <a:pt x="13" y="32"/>
                    <a:pt x="8" y="0"/>
                  </a:cubicBezTo>
                  <a:lnTo>
                    <a:pt x="158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2" name="任意多边形: 形状 651">
              <a:extLst>
                <a:ext uri="{FF2B5EF4-FFF2-40B4-BE49-F238E27FC236}">
                  <a16:creationId xmlns:a16="http://schemas.microsoft.com/office/drawing/2014/main" id="{A6E48A23-A20F-488F-8F5B-345773FBC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776" y="4344988"/>
              <a:ext cx="233363" cy="3175"/>
            </a:xfrm>
            <a:custGeom>
              <a:avLst/>
              <a:gdLst>
                <a:gd name="T0" fmla="*/ 0 w 102"/>
                <a:gd name="T1" fmla="*/ 1 h 2"/>
                <a:gd name="T2" fmla="*/ 51 w 102"/>
                <a:gd name="T3" fmla="*/ 2 h 2"/>
                <a:gd name="T4" fmla="*/ 102 w 102"/>
                <a:gd name="T5" fmla="*/ 1 h 2"/>
                <a:gd name="T6" fmla="*/ 51 w 102"/>
                <a:gd name="T7" fmla="*/ 0 h 2"/>
                <a:gd name="T8" fmla="*/ 0 w 102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2">
                  <a:moveTo>
                    <a:pt x="0" y="1"/>
                  </a:moveTo>
                  <a:cubicBezTo>
                    <a:pt x="0" y="1"/>
                    <a:pt x="23" y="2"/>
                    <a:pt x="51" y="2"/>
                  </a:cubicBezTo>
                  <a:cubicBezTo>
                    <a:pt x="79" y="2"/>
                    <a:pt x="102" y="2"/>
                    <a:pt x="102" y="1"/>
                  </a:cubicBezTo>
                  <a:cubicBezTo>
                    <a:pt x="102" y="0"/>
                    <a:pt x="79" y="0"/>
                    <a:pt x="51" y="0"/>
                  </a:cubicBezTo>
                  <a:cubicBezTo>
                    <a:pt x="23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3" name="任意多边形: 形状 652">
              <a:extLst>
                <a:ext uri="{FF2B5EF4-FFF2-40B4-BE49-F238E27FC236}">
                  <a16:creationId xmlns:a16="http://schemas.microsoft.com/office/drawing/2014/main" id="{86A4160E-AEDD-41C2-B363-A7DF6DBC8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6538" y="4402138"/>
              <a:ext cx="231775" cy="3175"/>
            </a:xfrm>
            <a:custGeom>
              <a:avLst/>
              <a:gdLst>
                <a:gd name="T0" fmla="*/ 0 w 101"/>
                <a:gd name="T1" fmla="*/ 1 h 2"/>
                <a:gd name="T2" fmla="*/ 50 w 101"/>
                <a:gd name="T3" fmla="*/ 2 h 2"/>
                <a:gd name="T4" fmla="*/ 101 w 101"/>
                <a:gd name="T5" fmla="*/ 2 h 2"/>
                <a:gd name="T6" fmla="*/ 50 w 101"/>
                <a:gd name="T7" fmla="*/ 0 h 2"/>
                <a:gd name="T8" fmla="*/ 0 w 101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2">
                  <a:moveTo>
                    <a:pt x="0" y="1"/>
                  </a:moveTo>
                  <a:cubicBezTo>
                    <a:pt x="0" y="2"/>
                    <a:pt x="22" y="2"/>
                    <a:pt x="50" y="2"/>
                  </a:cubicBezTo>
                  <a:cubicBezTo>
                    <a:pt x="78" y="2"/>
                    <a:pt x="101" y="2"/>
                    <a:pt x="101" y="2"/>
                  </a:cubicBezTo>
                  <a:cubicBezTo>
                    <a:pt x="101" y="1"/>
                    <a:pt x="78" y="0"/>
                    <a:pt x="50" y="0"/>
                  </a:cubicBezTo>
                  <a:cubicBezTo>
                    <a:pt x="22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4" name="任意多边形: 形状 653">
              <a:extLst>
                <a:ext uri="{FF2B5EF4-FFF2-40B4-BE49-F238E27FC236}">
                  <a16:creationId xmlns:a16="http://schemas.microsoft.com/office/drawing/2014/main" id="{AB9F6169-329A-48CA-9D50-7562DF048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8451" y="4456113"/>
              <a:ext cx="131763" cy="4763"/>
            </a:xfrm>
            <a:custGeom>
              <a:avLst/>
              <a:gdLst>
                <a:gd name="T0" fmla="*/ 0 w 58"/>
                <a:gd name="T1" fmla="*/ 1 h 2"/>
                <a:gd name="T2" fmla="*/ 8 w 58"/>
                <a:gd name="T3" fmla="*/ 2 h 2"/>
                <a:gd name="T4" fmla="*/ 29 w 58"/>
                <a:gd name="T5" fmla="*/ 2 h 2"/>
                <a:gd name="T6" fmla="*/ 49 w 58"/>
                <a:gd name="T7" fmla="*/ 2 h 2"/>
                <a:gd name="T8" fmla="*/ 58 w 58"/>
                <a:gd name="T9" fmla="*/ 1 h 2"/>
                <a:gd name="T10" fmla="*/ 49 w 58"/>
                <a:gd name="T11" fmla="*/ 0 h 2"/>
                <a:gd name="T12" fmla="*/ 29 w 58"/>
                <a:gd name="T13" fmla="*/ 0 h 2"/>
                <a:gd name="T14" fmla="*/ 8 w 58"/>
                <a:gd name="T15" fmla="*/ 0 h 2"/>
                <a:gd name="T16" fmla="*/ 0 w 58"/>
                <a:gd name="T1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2">
                  <a:moveTo>
                    <a:pt x="0" y="1"/>
                  </a:moveTo>
                  <a:cubicBezTo>
                    <a:pt x="0" y="1"/>
                    <a:pt x="3" y="1"/>
                    <a:pt x="8" y="2"/>
                  </a:cubicBezTo>
                  <a:cubicBezTo>
                    <a:pt x="13" y="2"/>
                    <a:pt x="21" y="2"/>
                    <a:pt x="29" y="2"/>
                  </a:cubicBezTo>
                  <a:cubicBezTo>
                    <a:pt x="37" y="2"/>
                    <a:pt x="44" y="2"/>
                    <a:pt x="49" y="2"/>
                  </a:cubicBezTo>
                  <a:cubicBezTo>
                    <a:pt x="54" y="1"/>
                    <a:pt x="58" y="1"/>
                    <a:pt x="58" y="1"/>
                  </a:cubicBezTo>
                  <a:cubicBezTo>
                    <a:pt x="58" y="1"/>
                    <a:pt x="54" y="0"/>
                    <a:pt x="49" y="0"/>
                  </a:cubicBezTo>
                  <a:cubicBezTo>
                    <a:pt x="44" y="0"/>
                    <a:pt x="37" y="0"/>
                    <a:pt x="29" y="0"/>
                  </a:cubicBezTo>
                  <a:cubicBezTo>
                    <a:pt x="21" y="0"/>
                    <a:pt x="13" y="0"/>
                    <a:pt x="8" y="0"/>
                  </a:cubicBezTo>
                  <a:cubicBezTo>
                    <a:pt x="3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5" name="任意多边形: 形状 654">
              <a:extLst>
                <a:ext uri="{FF2B5EF4-FFF2-40B4-BE49-F238E27FC236}">
                  <a16:creationId xmlns:a16="http://schemas.microsoft.com/office/drawing/2014/main" id="{42DFB797-B548-4701-8850-F299FE7434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3701" y="3079751"/>
              <a:ext cx="441325" cy="522288"/>
            </a:xfrm>
            <a:custGeom>
              <a:avLst/>
              <a:gdLst>
                <a:gd name="T0" fmla="*/ 91 w 193"/>
                <a:gd name="T1" fmla="*/ 228 h 228"/>
                <a:gd name="T2" fmla="*/ 19 w 193"/>
                <a:gd name="T3" fmla="*/ 182 h 228"/>
                <a:gd name="T4" fmla="*/ 6 w 193"/>
                <a:gd name="T5" fmla="*/ 92 h 228"/>
                <a:gd name="T6" fmla="*/ 74 w 193"/>
                <a:gd name="T7" fmla="*/ 8 h 228"/>
                <a:gd name="T8" fmla="*/ 175 w 193"/>
                <a:gd name="T9" fmla="*/ 44 h 228"/>
                <a:gd name="T10" fmla="*/ 191 w 193"/>
                <a:gd name="T11" fmla="*/ 107 h 228"/>
                <a:gd name="T12" fmla="*/ 178 w 193"/>
                <a:gd name="T13" fmla="*/ 118 h 228"/>
                <a:gd name="T14" fmla="*/ 167 w 193"/>
                <a:gd name="T15" fmla="*/ 105 h 228"/>
                <a:gd name="T16" fmla="*/ 154 w 193"/>
                <a:gd name="T17" fmla="*/ 56 h 228"/>
                <a:gd name="T18" fmla="*/ 81 w 193"/>
                <a:gd name="T19" fmla="*/ 31 h 228"/>
                <a:gd name="T20" fmla="*/ 30 w 193"/>
                <a:gd name="T21" fmla="*/ 97 h 228"/>
                <a:gd name="T22" fmla="*/ 40 w 193"/>
                <a:gd name="T23" fmla="*/ 171 h 228"/>
                <a:gd name="T24" fmla="*/ 97 w 193"/>
                <a:gd name="T25" fmla="*/ 203 h 228"/>
                <a:gd name="T26" fmla="*/ 111 w 193"/>
                <a:gd name="T27" fmla="*/ 213 h 228"/>
                <a:gd name="T28" fmla="*/ 101 w 193"/>
                <a:gd name="T29" fmla="*/ 227 h 228"/>
                <a:gd name="T30" fmla="*/ 91 w 193"/>
                <a:gd name="T3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228">
                  <a:moveTo>
                    <a:pt x="91" y="228"/>
                  </a:moveTo>
                  <a:cubicBezTo>
                    <a:pt x="62" y="228"/>
                    <a:pt x="34" y="210"/>
                    <a:pt x="19" y="182"/>
                  </a:cubicBezTo>
                  <a:cubicBezTo>
                    <a:pt x="5" y="155"/>
                    <a:pt x="0" y="122"/>
                    <a:pt x="6" y="92"/>
                  </a:cubicBezTo>
                  <a:cubicBezTo>
                    <a:pt x="15" y="52"/>
                    <a:pt x="41" y="19"/>
                    <a:pt x="74" y="8"/>
                  </a:cubicBezTo>
                  <a:cubicBezTo>
                    <a:pt x="102" y="0"/>
                    <a:pt x="151" y="5"/>
                    <a:pt x="175" y="44"/>
                  </a:cubicBezTo>
                  <a:cubicBezTo>
                    <a:pt x="193" y="74"/>
                    <a:pt x="191" y="106"/>
                    <a:pt x="191" y="107"/>
                  </a:cubicBezTo>
                  <a:cubicBezTo>
                    <a:pt x="190" y="114"/>
                    <a:pt x="185" y="119"/>
                    <a:pt x="178" y="118"/>
                  </a:cubicBezTo>
                  <a:cubicBezTo>
                    <a:pt x="172" y="118"/>
                    <a:pt x="167" y="112"/>
                    <a:pt x="167" y="105"/>
                  </a:cubicBezTo>
                  <a:cubicBezTo>
                    <a:pt x="167" y="105"/>
                    <a:pt x="168" y="80"/>
                    <a:pt x="154" y="56"/>
                  </a:cubicBezTo>
                  <a:cubicBezTo>
                    <a:pt x="136" y="26"/>
                    <a:pt x="96" y="26"/>
                    <a:pt x="81" y="31"/>
                  </a:cubicBezTo>
                  <a:cubicBezTo>
                    <a:pt x="53" y="40"/>
                    <a:pt x="35" y="71"/>
                    <a:pt x="30" y="97"/>
                  </a:cubicBezTo>
                  <a:cubicBezTo>
                    <a:pt x="25" y="122"/>
                    <a:pt x="28" y="149"/>
                    <a:pt x="40" y="171"/>
                  </a:cubicBezTo>
                  <a:cubicBezTo>
                    <a:pt x="52" y="193"/>
                    <a:pt x="76" y="207"/>
                    <a:pt x="97" y="203"/>
                  </a:cubicBezTo>
                  <a:cubicBezTo>
                    <a:pt x="104" y="202"/>
                    <a:pt x="110" y="207"/>
                    <a:pt x="111" y="213"/>
                  </a:cubicBezTo>
                  <a:cubicBezTo>
                    <a:pt x="112" y="220"/>
                    <a:pt x="107" y="226"/>
                    <a:pt x="101" y="227"/>
                  </a:cubicBezTo>
                  <a:cubicBezTo>
                    <a:pt x="97" y="227"/>
                    <a:pt x="94" y="228"/>
                    <a:pt x="91" y="22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6" name="任意多边形: 形状 655">
              <a:extLst>
                <a:ext uri="{FF2B5EF4-FFF2-40B4-BE49-F238E27FC236}">
                  <a16:creationId xmlns:a16="http://schemas.microsoft.com/office/drawing/2014/main" id="{D5753877-BC6A-4D98-9346-75EC6A41E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2051" y="3087688"/>
              <a:ext cx="295275" cy="514350"/>
            </a:xfrm>
            <a:custGeom>
              <a:avLst/>
              <a:gdLst>
                <a:gd name="T0" fmla="*/ 91 w 129"/>
                <a:gd name="T1" fmla="*/ 225 h 225"/>
                <a:gd name="T2" fmla="*/ 19 w 129"/>
                <a:gd name="T3" fmla="*/ 179 h 225"/>
                <a:gd name="T4" fmla="*/ 6 w 129"/>
                <a:gd name="T5" fmla="*/ 89 h 225"/>
                <a:gd name="T6" fmla="*/ 74 w 129"/>
                <a:gd name="T7" fmla="*/ 5 h 225"/>
                <a:gd name="T8" fmla="*/ 129 w 129"/>
                <a:gd name="T9" fmla="*/ 8 h 225"/>
                <a:gd name="T10" fmla="*/ 120 w 129"/>
                <a:gd name="T11" fmla="*/ 31 h 225"/>
                <a:gd name="T12" fmla="*/ 81 w 129"/>
                <a:gd name="T13" fmla="*/ 28 h 225"/>
                <a:gd name="T14" fmla="*/ 30 w 129"/>
                <a:gd name="T15" fmla="*/ 94 h 225"/>
                <a:gd name="T16" fmla="*/ 40 w 129"/>
                <a:gd name="T17" fmla="*/ 168 h 225"/>
                <a:gd name="T18" fmla="*/ 97 w 129"/>
                <a:gd name="T19" fmla="*/ 200 h 225"/>
                <a:gd name="T20" fmla="*/ 101 w 129"/>
                <a:gd name="T21" fmla="*/ 224 h 225"/>
                <a:gd name="T22" fmla="*/ 91 w 129"/>
                <a:gd name="T23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9" h="225">
                  <a:moveTo>
                    <a:pt x="91" y="225"/>
                  </a:moveTo>
                  <a:cubicBezTo>
                    <a:pt x="63" y="225"/>
                    <a:pt x="34" y="207"/>
                    <a:pt x="19" y="179"/>
                  </a:cubicBezTo>
                  <a:cubicBezTo>
                    <a:pt x="5" y="152"/>
                    <a:pt x="0" y="119"/>
                    <a:pt x="6" y="89"/>
                  </a:cubicBezTo>
                  <a:cubicBezTo>
                    <a:pt x="13" y="55"/>
                    <a:pt x="37" y="16"/>
                    <a:pt x="74" y="5"/>
                  </a:cubicBezTo>
                  <a:cubicBezTo>
                    <a:pt x="91" y="0"/>
                    <a:pt x="112" y="2"/>
                    <a:pt x="129" y="8"/>
                  </a:cubicBezTo>
                  <a:cubicBezTo>
                    <a:pt x="120" y="31"/>
                    <a:pt x="120" y="31"/>
                    <a:pt x="120" y="31"/>
                  </a:cubicBezTo>
                  <a:cubicBezTo>
                    <a:pt x="105" y="25"/>
                    <a:pt x="90" y="26"/>
                    <a:pt x="81" y="28"/>
                  </a:cubicBezTo>
                  <a:cubicBezTo>
                    <a:pt x="53" y="36"/>
                    <a:pt x="35" y="67"/>
                    <a:pt x="30" y="94"/>
                  </a:cubicBezTo>
                  <a:cubicBezTo>
                    <a:pt x="25" y="119"/>
                    <a:pt x="29" y="146"/>
                    <a:pt x="40" y="168"/>
                  </a:cubicBezTo>
                  <a:cubicBezTo>
                    <a:pt x="52" y="190"/>
                    <a:pt x="76" y="204"/>
                    <a:pt x="97" y="200"/>
                  </a:cubicBezTo>
                  <a:cubicBezTo>
                    <a:pt x="101" y="224"/>
                    <a:pt x="101" y="224"/>
                    <a:pt x="101" y="224"/>
                  </a:cubicBezTo>
                  <a:cubicBezTo>
                    <a:pt x="98" y="224"/>
                    <a:pt x="94" y="225"/>
                    <a:pt x="91" y="22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7" name="任意多边形: 形状 656">
              <a:extLst>
                <a:ext uri="{FF2B5EF4-FFF2-40B4-BE49-F238E27FC236}">
                  <a16:creationId xmlns:a16="http://schemas.microsoft.com/office/drawing/2014/main" id="{812779C5-59B6-4106-A394-03411A07C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4038" y="3327401"/>
              <a:ext cx="404813" cy="136525"/>
            </a:xfrm>
            <a:custGeom>
              <a:avLst/>
              <a:gdLst>
                <a:gd name="T0" fmla="*/ 16 w 255"/>
                <a:gd name="T1" fmla="*/ 0 h 86"/>
                <a:gd name="T2" fmla="*/ 0 w 255"/>
                <a:gd name="T3" fmla="*/ 86 h 86"/>
                <a:gd name="T4" fmla="*/ 234 w 255"/>
                <a:gd name="T5" fmla="*/ 86 h 86"/>
                <a:gd name="T6" fmla="*/ 255 w 255"/>
                <a:gd name="T7" fmla="*/ 0 h 86"/>
                <a:gd name="T8" fmla="*/ 16 w 255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5" h="86">
                  <a:moveTo>
                    <a:pt x="16" y="0"/>
                  </a:moveTo>
                  <a:lnTo>
                    <a:pt x="0" y="86"/>
                  </a:lnTo>
                  <a:lnTo>
                    <a:pt x="234" y="86"/>
                  </a:lnTo>
                  <a:lnTo>
                    <a:pt x="255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8" name="椭圆 657">
              <a:extLst>
                <a:ext uri="{FF2B5EF4-FFF2-40B4-BE49-F238E27FC236}">
                  <a16:creationId xmlns:a16="http://schemas.microsoft.com/office/drawing/2014/main" id="{B6B3B031-8C44-4808-B1AC-A09361B7BE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4613" y="3519488"/>
              <a:ext cx="119063" cy="1190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9" name="椭圆 658">
              <a:extLst>
                <a:ext uri="{FF2B5EF4-FFF2-40B4-BE49-F238E27FC236}">
                  <a16:creationId xmlns:a16="http://schemas.microsoft.com/office/drawing/2014/main" id="{4F19CE2D-26A5-4F40-8566-5347198C4A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4676" y="3519488"/>
              <a:ext cx="119063" cy="1190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0" name="任意多边形: 形状 659">
              <a:extLst>
                <a:ext uri="{FF2B5EF4-FFF2-40B4-BE49-F238E27FC236}">
                  <a16:creationId xmlns:a16="http://schemas.microsoft.com/office/drawing/2014/main" id="{4BE76A51-FD4D-4DAB-A476-B72ACD26E8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213" y="2435226"/>
              <a:ext cx="558800" cy="481013"/>
            </a:xfrm>
            <a:custGeom>
              <a:avLst/>
              <a:gdLst>
                <a:gd name="T0" fmla="*/ 272 w 352"/>
                <a:gd name="T1" fmla="*/ 0 h 303"/>
                <a:gd name="T2" fmla="*/ 211 w 352"/>
                <a:gd name="T3" fmla="*/ 232 h 303"/>
                <a:gd name="T4" fmla="*/ 0 w 352"/>
                <a:gd name="T5" fmla="*/ 255 h 303"/>
                <a:gd name="T6" fmla="*/ 0 w 352"/>
                <a:gd name="T7" fmla="*/ 293 h 303"/>
                <a:gd name="T8" fmla="*/ 297 w 352"/>
                <a:gd name="T9" fmla="*/ 303 h 303"/>
                <a:gd name="T10" fmla="*/ 352 w 352"/>
                <a:gd name="T11" fmla="*/ 42 h 303"/>
                <a:gd name="T12" fmla="*/ 272 w 352"/>
                <a:gd name="T1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03">
                  <a:moveTo>
                    <a:pt x="272" y="0"/>
                  </a:moveTo>
                  <a:lnTo>
                    <a:pt x="211" y="232"/>
                  </a:lnTo>
                  <a:lnTo>
                    <a:pt x="0" y="255"/>
                  </a:lnTo>
                  <a:lnTo>
                    <a:pt x="0" y="293"/>
                  </a:lnTo>
                  <a:lnTo>
                    <a:pt x="297" y="303"/>
                  </a:lnTo>
                  <a:lnTo>
                    <a:pt x="352" y="42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1" name="任意多边形: 形状 660">
              <a:extLst>
                <a:ext uri="{FF2B5EF4-FFF2-40B4-BE49-F238E27FC236}">
                  <a16:creationId xmlns:a16="http://schemas.microsoft.com/office/drawing/2014/main" id="{38572F4D-E841-4170-9197-9D0E8EC12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7976" y="2895601"/>
              <a:ext cx="990600" cy="428625"/>
            </a:xfrm>
            <a:custGeom>
              <a:avLst/>
              <a:gdLst>
                <a:gd name="T0" fmla="*/ 360 w 433"/>
                <a:gd name="T1" fmla="*/ 13 h 188"/>
                <a:gd name="T2" fmla="*/ 65 w 433"/>
                <a:gd name="T3" fmla="*/ 54 h 188"/>
                <a:gd name="T4" fmla="*/ 31 w 433"/>
                <a:gd name="T5" fmla="*/ 188 h 188"/>
                <a:gd name="T6" fmla="*/ 400 w 433"/>
                <a:gd name="T7" fmla="*/ 187 h 188"/>
                <a:gd name="T8" fmla="*/ 433 w 433"/>
                <a:gd name="T9" fmla="*/ 0 h 188"/>
                <a:gd name="T10" fmla="*/ 360 w 433"/>
                <a:gd name="T11" fmla="*/ 13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3" h="188">
                  <a:moveTo>
                    <a:pt x="360" y="13"/>
                  </a:moveTo>
                  <a:cubicBezTo>
                    <a:pt x="360" y="13"/>
                    <a:pt x="131" y="3"/>
                    <a:pt x="65" y="54"/>
                  </a:cubicBezTo>
                  <a:cubicBezTo>
                    <a:pt x="0" y="105"/>
                    <a:pt x="31" y="188"/>
                    <a:pt x="31" y="188"/>
                  </a:cubicBezTo>
                  <a:cubicBezTo>
                    <a:pt x="400" y="187"/>
                    <a:pt x="400" y="187"/>
                    <a:pt x="400" y="187"/>
                  </a:cubicBezTo>
                  <a:cubicBezTo>
                    <a:pt x="433" y="0"/>
                    <a:pt x="433" y="0"/>
                    <a:pt x="433" y="0"/>
                  </a:cubicBezTo>
                  <a:lnTo>
                    <a:pt x="360" y="13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2" name="任意多边形: 形状 661">
              <a:extLst>
                <a:ext uri="{FF2B5EF4-FFF2-40B4-BE49-F238E27FC236}">
                  <a16:creationId xmlns:a16="http://schemas.microsoft.com/office/drawing/2014/main" id="{D2A4E163-3E4A-4DDB-9673-583CF2112F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3713" y="3071813"/>
              <a:ext cx="727075" cy="136525"/>
            </a:xfrm>
            <a:custGeom>
              <a:avLst/>
              <a:gdLst>
                <a:gd name="T0" fmla="*/ 318 w 318"/>
                <a:gd name="T1" fmla="*/ 60 h 60"/>
                <a:gd name="T2" fmla="*/ 314 w 318"/>
                <a:gd name="T3" fmla="*/ 60 h 60"/>
                <a:gd name="T4" fmla="*/ 305 w 318"/>
                <a:gd name="T5" fmla="*/ 58 h 60"/>
                <a:gd name="T6" fmla="*/ 270 w 318"/>
                <a:gd name="T7" fmla="*/ 53 h 60"/>
                <a:gd name="T8" fmla="*/ 159 w 318"/>
                <a:gd name="T9" fmla="*/ 27 h 60"/>
                <a:gd name="T10" fmla="*/ 98 w 318"/>
                <a:gd name="T11" fmla="*/ 10 h 60"/>
                <a:gd name="T12" fmla="*/ 47 w 318"/>
                <a:gd name="T13" fmla="*/ 2 h 60"/>
                <a:gd name="T14" fmla="*/ 13 w 318"/>
                <a:gd name="T15" fmla="*/ 4 h 60"/>
                <a:gd name="T16" fmla="*/ 4 w 318"/>
                <a:gd name="T17" fmla="*/ 6 h 60"/>
                <a:gd name="T18" fmla="*/ 0 w 318"/>
                <a:gd name="T19" fmla="*/ 6 h 60"/>
                <a:gd name="T20" fmla="*/ 3 w 318"/>
                <a:gd name="T21" fmla="*/ 5 h 60"/>
                <a:gd name="T22" fmla="*/ 13 w 318"/>
                <a:gd name="T23" fmla="*/ 3 h 60"/>
                <a:gd name="T24" fmla="*/ 47 w 318"/>
                <a:gd name="T25" fmla="*/ 0 h 60"/>
                <a:gd name="T26" fmla="*/ 98 w 318"/>
                <a:gd name="T27" fmla="*/ 8 h 60"/>
                <a:gd name="T28" fmla="*/ 159 w 318"/>
                <a:gd name="T29" fmla="*/ 25 h 60"/>
                <a:gd name="T30" fmla="*/ 271 w 318"/>
                <a:gd name="T31" fmla="*/ 52 h 60"/>
                <a:gd name="T32" fmla="*/ 305 w 318"/>
                <a:gd name="T33" fmla="*/ 58 h 60"/>
                <a:gd name="T34" fmla="*/ 314 w 318"/>
                <a:gd name="T35" fmla="*/ 59 h 60"/>
                <a:gd name="T36" fmla="*/ 318 w 318"/>
                <a:gd name="T3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8" h="60">
                  <a:moveTo>
                    <a:pt x="318" y="60"/>
                  </a:moveTo>
                  <a:cubicBezTo>
                    <a:pt x="318" y="60"/>
                    <a:pt x="316" y="60"/>
                    <a:pt x="314" y="60"/>
                  </a:cubicBezTo>
                  <a:cubicBezTo>
                    <a:pt x="312" y="59"/>
                    <a:pt x="309" y="59"/>
                    <a:pt x="305" y="58"/>
                  </a:cubicBezTo>
                  <a:cubicBezTo>
                    <a:pt x="297" y="57"/>
                    <a:pt x="285" y="56"/>
                    <a:pt x="270" y="53"/>
                  </a:cubicBezTo>
                  <a:cubicBezTo>
                    <a:pt x="241" y="48"/>
                    <a:pt x="202" y="40"/>
                    <a:pt x="159" y="27"/>
                  </a:cubicBezTo>
                  <a:cubicBezTo>
                    <a:pt x="137" y="21"/>
                    <a:pt x="117" y="15"/>
                    <a:pt x="98" y="10"/>
                  </a:cubicBezTo>
                  <a:cubicBezTo>
                    <a:pt x="79" y="5"/>
                    <a:pt x="62" y="3"/>
                    <a:pt x="47" y="2"/>
                  </a:cubicBezTo>
                  <a:cubicBezTo>
                    <a:pt x="33" y="1"/>
                    <a:pt x="21" y="2"/>
                    <a:pt x="13" y="4"/>
                  </a:cubicBezTo>
                  <a:cubicBezTo>
                    <a:pt x="9" y="4"/>
                    <a:pt x="6" y="5"/>
                    <a:pt x="4" y="6"/>
                  </a:cubicBezTo>
                  <a:cubicBezTo>
                    <a:pt x="1" y="6"/>
                    <a:pt x="0" y="6"/>
                    <a:pt x="0" y="6"/>
                  </a:cubicBezTo>
                  <a:cubicBezTo>
                    <a:pt x="0" y="6"/>
                    <a:pt x="1" y="6"/>
                    <a:pt x="3" y="5"/>
                  </a:cubicBezTo>
                  <a:cubicBezTo>
                    <a:pt x="6" y="5"/>
                    <a:pt x="9" y="4"/>
                    <a:pt x="13" y="3"/>
                  </a:cubicBezTo>
                  <a:cubicBezTo>
                    <a:pt x="21" y="1"/>
                    <a:pt x="33" y="0"/>
                    <a:pt x="47" y="0"/>
                  </a:cubicBezTo>
                  <a:cubicBezTo>
                    <a:pt x="62" y="1"/>
                    <a:pt x="79" y="4"/>
                    <a:pt x="98" y="8"/>
                  </a:cubicBezTo>
                  <a:cubicBezTo>
                    <a:pt x="117" y="13"/>
                    <a:pt x="138" y="19"/>
                    <a:pt x="159" y="25"/>
                  </a:cubicBezTo>
                  <a:cubicBezTo>
                    <a:pt x="202" y="38"/>
                    <a:pt x="242" y="47"/>
                    <a:pt x="271" y="52"/>
                  </a:cubicBezTo>
                  <a:cubicBezTo>
                    <a:pt x="285" y="55"/>
                    <a:pt x="297" y="56"/>
                    <a:pt x="305" y="58"/>
                  </a:cubicBezTo>
                  <a:cubicBezTo>
                    <a:pt x="309" y="58"/>
                    <a:pt x="312" y="59"/>
                    <a:pt x="314" y="59"/>
                  </a:cubicBezTo>
                  <a:cubicBezTo>
                    <a:pt x="316" y="59"/>
                    <a:pt x="318" y="60"/>
                    <a:pt x="318" y="6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3" name="任意多边形: 形状 662">
              <a:extLst>
                <a:ext uri="{FF2B5EF4-FFF2-40B4-BE49-F238E27FC236}">
                  <a16:creationId xmlns:a16="http://schemas.microsoft.com/office/drawing/2014/main" id="{86641C74-9E84-45D8-BFB8-9AFD73AA83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3413" y="3038476"/>
              <a:ext cx="100013" cy="53975"/>
            </a:xfrm>
            <a:custGeom>
              <a:avLst/>
              <a:gdLst>
                <a:gd name="T0" fmla="*/ 44 w 44"/>
                <a:gd name="T1" fmla="*/ 23 h 23"/>
                <a:gd name="T2" fmla="*/ 23 w 44"/>
                <a:gd name="T3" fmla="*/ 9 h 23"/>
                <a:gd name="T4" fmla="*/ 0 w 44"/>
                <a:gd name="T5" fmla="*/ 0 h 23"/>
                <a:gd name="T6" fmla="*/ 7 w 44"/>
                <a:gd name="T7" fmla="*/ 1 h 23"/>
                <a:gd name="T8" fmla="*/ 24 w 44"/>
                <a:gd name="T9" fmla="*/ 7 h 23"/>
                <a:gd name="T10" fmla="*/ 39 w 44"/>
                <a:gd name="T11" fmla="*/ 17 h 23"/>
                <a:gd name="T12" fmla="*/ 44 w 44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23">
                  <a:moveTo>
                    <a:pt x="44" y="23"/>
                  </a:moveTo>
                  <a:cubicBezTo>
                    <a:pt x="43" y="23"/>
                    <a:pt x="35" y="15"/>
                    <a:pt x="23" y="9"/>
                  </a:cubicBezTo>
                  <a:cubicBezTo>
                    <a:pt x="11" y="2"/>
                    <a:pt x="0" y="1"/>
                    <a:pt x="0" y="0"/>
                  </a:cubicBezTo>
                  <a:cubicBezTo>
                    <a:pt x="0" y="0"/>
                    <a:pt x="3" y="0"/>
                    <a:pt x="7" y="1"/>
                  </a:cubicBezTo>
                  <a:cubicBezTo>
                    <a:pt x="12" y="2"/>
                    <a:pt x="18" y="4"/>
                    <a:pt x="24" y="7"/>
                  </a:cubicBezTo>
                  <a:cubicBezTo>
                    <a:pt x="30" y="10"/>
                    <a:pt x="36" y="14"/>
                    <a:pt x="39" y="17"/>
                  </a:cubicBezTo>
                  <a:cubicBezTo>
                    <a:pt x="42" y="20"/>
                    <a:pt x="44" y="23"/>
                    <a:pt x="44" y="23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4" name="任意多边形: 形状 663">
              <a:extLst>
                <a:ext uri="{FF2B5EF4-FFF2-40B4-BE49-F238E27FC236}">
                  <a16:creationId xmlns:a16="http://schemas.microsoft.com/office/drawing/2014/main" id="{8E619B0E-AEB8-4CEC-BA69-7C77AB2E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4588" y="4062413"/>
              <a:ext cx="204788" cy="425450"/>
            </a:xfrm>
            <a:custGeom>
              <a:avLst/>
              <a:gdLst>
                <a:gd name="T0" fmla="*/ 18 w 89"/>
                <a:gd name="T1" fmla="*/ 0 h 186"/>
                <a:gd name="T2" fmla="*/ 21 w 89"/>
                <a:gd name="T3" fmla="*/ 97 h 186"/>
                <a:gd name="T4" fmla="*/ 1 w 89"/>
                <a:gd name="T5" fmla="*/ 174 h 186"/>
                <a:gd name="T6" fmla="*/ 9 w 89"/>
                <a:gd name="T7" fmla="*/ 186 h 186"/>
                <a:gd name="T8" fmla="*/ 18 w 89"/>
                <a:gd name="T9" fmla="*/ 183 h 186"/>
                <a:gd name="T10" fmla="*/ 85 w 89"/>
                <a:gd name="T11" fmla="*/ 109 h 186"/>
                <a:gd name="T12" fmla="*/ 89 w 89"/>
                <a:gd name="T13" fmla="*/ 7 h 186"/>
                <a:gd name="T14" fmla="*/ 18 w 89"/>
                <a:gd name="T15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186">
                  <a:moveTo>
                    <a:pt x="18" y="0"/>
                  </a:moveTo>
                  <a:cubicBezTo>
                    <a:pt x="21" y="97"/>
                    <a:pt x="21" y="97"/>
                    <a:pt x="21" y="97"/>
                  </a:cubicBezTo>
                  <a:cubicBezTo>
                    <a:pt x="1" y="174"/>
                    <a:pt x="1" y="174"/>
                    <a:pt x="1" y="174"/>
                  </a:cubicBezTo>
                  <a:cubicBezTo>
                    <a:pt x="0" y="179"/>
                    <a:pt x="4" y="185"/>
                    <a:pt x="9" y="186"/>
                  </a:cubicBezTo>
                  <a:cubicBezTo>
                    <a:pt x="12" y="186"/>
                    <a:pt x="16" y="185"/>
                    <a:pt x="18" y="183"/>
                  </a:cubicBezTo>
                  <a:cubicBezTo>
                    <a:pt x="32" y="169"/>
                    <a:pt x="86" y="116"/>
                    <a:pt x="85" y="109"/>
                  </a:cubicBezTo>
                  <a:cubicBezTo>
                    <a:pt x="84" y="101"/>
                    <a:pt x="89" y="7"/>
                    <a:pt x="89" y="7"/>
                  </a:cubicBezTo>
                  <a:cubicBezTo>
                    <a:pt x="18" y="0"/>
                    <a:pt x="18" y="0"/>
                    <a:pt x="18" y="0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5" name="任意多边形: 形状 664">
              <a:extLst>
                <a:ext uri="{FF2B5EF4-FFF2-40B4-BE49-F238E27FC236}">
                  <a16:creationId xmlns:a16="http://schemas.microsoft.com/office/drawing/2014/main" id="{F9D05685-26E5-4A0A-8657-5768EEE0D1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5226" y="4298951"/>
              <a:ext cx="174625" cy="188913"/>
            </a:xfrm>
            <a:custGeom>
              <a:avLst/>
              <a:gdLst>
                <a:gd name="T0" fmla="*/ 75 w 76"/>
                <a:gd name="T1" fmla="*/ 9 h 83"/>
                <a:gd name="T2" fmla="*/ 9 w 76"/>
                <a:gd name="T3" fmla="*/ 80 h 83"/>
                <a:gd name="T4" fmla="*/ 2 w 76"/>
                <a:gd name="T5" fmla="*/ 83 h 83"/>
                <a:gd name="T6" fmla="*/ 0 w 76"/>
                <a:gd name="T7" fmla="*/ 83 h 83"/>
                <a:gd name="T8" fmla="*/ 2 w 76"/>
                <a:gd name="T9" fmla="*/ 83 h 83"/>
                <a:gd name="T10" fmla="*/ 9 w 76"/>
                <a:gd name="T11" fmla="*/ 80 h 83"/>
                <a:gd name="T12" fmla="*/ 73 w 76"/>
                <a:gd name="T13" fmla="*/ 14 h 83"/>
                <a:gd name="T14" fmla="*/ 75 w 76"/>
                <a:gd name="T15" fmla="*/ 9 h 83"/>
                <a:gd name="T16" fmla="*/ 76 w 76"/>
                <a:gd name="T17" fmla="*/ 0 h 83"/>
                <a:gd name="T18" fmla="*/ 76 w 76"/>
                <a:gd name="T19" fmla="*/ 0 h 83"/>
                <a:gd name="T20" fmla="*/ 76 w 76"/>
                <a:gd name="T21" fmla="*/ 5 h 83"/>
                <a:gd name="T22" fmla="*/ 76 w 76"/>
                <a:gd name="T23" fmla="*/ 4 h 83"/>
                <a:gd name="T24" fmla="*/ 76 w 76"/>
                <a:gd name="T2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83">
                  <a:moveTo>
                    <a:pt x="75" y="9"/>
                  </a:moveTo>
                  <a:cubicBezTo>
                    <a:pt x="69" y="21"/>
                    <a:pt x="22" y="67"/>
                    <a:pt x="9" y="80"/>
                  </a:cubicBezTo>
                  <a:cubicBezTo>
                    <a:pt x="7" y="82"/>
                    <a:pt x="5" y="83"/>
                    <a:pt x="2" y="83"/>
                  </a:cubicBezTo>
                  <a:cubicBezTo>
                    <a:pt x="1" y="83"/>
                    <a:pt x="1" y="83"/>
                    <a:pt x="0" y="83"/>
                  </a:cubicBezTo>
                  <a:cubicBezTo>
                    <a:pt x="1" y="83"/>
                    <a:pt x="2" y="83"/>
                    <a:pt x="2" y="83"/>
                  </a:cubicBezTo>
                  <a:cubicBezTo>
                    <a:pt x="5" y="83"/>
                    <a:pt x="7" y="82"/>
                    <a:pt x="9" y="80"/>
                  </a:cubicBezTo>
                  <a:cubicBezTo>
                    <a:pt x="49" y="40"/>
                    <a:pt x="67" y="21"/>
                    <a:pt x="73" y="14"/>
                  </a:cubicBezTo>
                  <a:cubicBezTo>
                    <a:pt x="74" y="12"/>
                    <a:pt x="75" y="10"/>
                    <a:pt x="75" y="9"/>
                  </a:cubicBezTo>
                  <a:moveTo>
                    <a:pt x="76" y="0"/>
                  </a:moveTo>
                  <a:cubicBezTo>
                    <a:pt x="76" y="0"/>
                    <a:pt x="76" y="0"/>
                    <a:pt x="76" y="0"/>
                  </a:cubicBezTo>
                  <a:cubicBezTo>
                    <a:pt x="76" y="2"/>
                    <a:pt x="76" y="4"/>
                    <a:pt x="76" y="5"/>
                  </a:cubicBezTo>
                  <a:cubicBezTo>
                    <a:pt x="76" y="5"/>
                    <a:pt x="76" y="4"/>
                    <a:pt x="76" y="4"/>
                  </a:cubicBezTo>
                  <a:cubicBezTo>
                    <a:pt x="76" y="0"/>
                    <a:pt x="76" y="0"/>
                    <a:pt x="76" y="0"/>
                  </a:cubicBezTo>
                </a:path>
              </a:pathLst>
            </a:custGeom>
            <a:solidFill>
              <a:srgbClr val="FDFD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6" name="任意多边形: 形状 665">
              <a:extLst>
                <a:ext uri="{FF2B5EF4-FFF2-40B4-BE49-F238E27FC236}">
                  <a16:creationId xmlns:a16="http://schemas.microsoft.com/office/drawing/2014/main" id="{020DB3CB-FF3F-4C76-ACD7-137000B1E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5226" y="4298951"/>
              <a:ext cx="174625" cy="188913"/>
            </a:xfrm>
            <a:custGeom>
              <a:avLst/>
              <a:gdLst>
                <a:gd name="T0" fmla="*/ 76 w 76"/>
                <a:gd name="T1" fmla="*/ 0 h 83"/>
                <a:gd name="T2" fmla="*/ 0 w 76"/>
                <a:gd name="T3" fmla="*/ 83 h 83"/>
                <a:gd name="T4" fmla="*/ 0 w 76"/>
                <a:gd name="T5" fmla="*/ 83 h 83"/>
                <a:gd name="T6" fmla="*/ 2 w 76"/>
                <a:gd name="T7" fmla="*/ 83 h 83"/>
                <a:gd name="T8" fmla="*/ 9 w 76"/>
                <a:gd name="T9" fmla="*/ 80 h 83"/>
                <a:gd name="T10" fmla="*/ 75 w 76"/>
                <a:gd name="T11" fmla="*/ 9 h 83"/>
                <a:gd name="T12" fmla="*/ 76 w 76"/>
                <a:gd name="T13" fmla="*/ 5 h 83"/>
                <a:gd name="T14" fmla="*/ 76 w 76"/>
                <a:gd name="T1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83">
                  <a:moveTo>
                    <a:pt x="76" y="0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1" y="83"/>
                    <a:pt x="2" y="83"/>
                  </a:cubicBezTo>
                  <a:cubicBezTo>
                    <a:pt x="5" y="83"/>
                    <a:pt x="7" y="82"/>
                    <a:pt x="9" y="80"/>
                  </a:cubicBezTo>
                  <a:cubicBezTo>
                    <a:pt x="22" y="67"/>
                    <a:pt x="69" y="21"/>
                    <a:pt x="75" y="9"/>
                  </a:cubicBezTo>
                  <a:cubicBezTo>
                    <a:pt x="76" y="7"/>
                    <a:pt x="76" y="6"/>
                    <a:pt x="76" y="5"/>
                  </a:cubicBezTo>
                  <a:cubicBezTo>
                    <a:pt x="76" y="4"/>
                    <a:pt x="76" y="2"/>
                    <a:pt x="76" y="0"/>
                  </a:cubicBezTo>
                </a:path>
              </a:pathLst>
            </a:custGeom>
            <a:solidFill>
              <a:srgbClr val="9FB7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7" name="任意多边形: 形状 666">
              <a:extLst>
                <a:ext uri="{FF2B5EF4-FFF2-40B4-BE49-F238E27FC236}">
                  <a16:creationId xmlns:a16="http://schemas.microsoft.com/office/drawing/2014/main" id="{E2C853CD-6BF7-4B08-AEF7-D384DE85AA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4225926"/>
              <a:ext cx="28575" cy="25400"/>
            </a:xfrm>
            <a:custGeom>
              <a:avLst/>
              <a:gdLst>
                <a:gd name="T0" fmla="*/ 3 w 13"/>
                <a:gd name="T1" fmla="*/ 1 h 11"/>
                <a:gd name="T2" fmla="*/ 3 w 13"/>
                <a:gd name="T3" fmla="*/ 1 h 11"/>
                <a:gd name="T4" fmla="*/ 3 w 13"/>
                <a:gd name="T5" fmla="*/ 1 h 11"/>
                <a:gd name="T6" fmla="*/ 6 w 13"/>
                <a:gd name="T7" fmla="*/ 0 h 11"/>
                <a:gd name="T8" fmla="*/ 3 w 13"/>
                <a:gd name="T9" fmla="*/ 1 h 11"/>
                <a:gd name="T10" fmla="*/ 1 w 13"/>
                <a:gd name="T11" fmla="*/ 9 h 11"/>
                <a:gd name="T12" fmla="*/ 6 w 13"/>
                <a:gd name="T13" fmla="*/ 11 h 11"/>
                <a:gd name="T14" fmla="*/ 9 w 13"/>
                <a:gd name="T15" fmla="*/ 10 h 11"/>
                <a:gd name="T16" fmla="*/ 11 w 13"/>
                <a:gd name="T17" fmla="*/ 2 h 11"/>
                <a:gd name="T18" fmla="*/ 6 w 13"/>
                <a:gd name="T1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1"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moveTo>
                    <a:pt x="6" y="0"/>
                  </a:moveTo>
                  <a:cubicBezTo>
                    <a:pt x="5" y="0"/>
                    <a:pt x="3" y="0"/>
                    <a:pt x="3" y="1"/>
                  </a:cubicBezTo>
                  <a:cubicBezTo>
                    <a:pt x="1" y="3"/>
                    <a:pt x="0" y="6"/>
                    <a:pt x="1" y="9"/>
                  </a:cubicBezTo>
                  <a:cubicBezTo>
                    <a:pt x="2" y="10"/>
                    <a:pt x="4" y="11"/>
                    <a:pt x="6" y="11"/>
                  </a:cubicBezTo>
                  <a:cubicBezTo>
                    <a:pt x="7" y="11"/>
                    <a:pt x="8" y="11"/>
                    <a:pt x="9" y="10"/>
                  </a:cubicBezTo>
                  <a:cubicBezTo>
                    <a:pt x="12" y="9"/>
                    <a:pt x="13" y="4"/>
                    <a:pt x="11" y="2"/>
                  </a:cubicBezTo>
                  <a:cubicBezTo>
                    <a:pt x="10" y="1"/>
                    <a:pt x="8" y="0"/>
                    <a:pt x="6" y="0"/>
                  </a:cubicBezTo>
                </a:path>
              </a:pathLst>
            </a:custGeom>
            <a:solidFill>
              <a:srgbClr val="9FB7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8" name="任意多边形: 形状 667">
              <a:extLst>
                <a:ext uri="{FF2B5EF4-FFF2-40B4-BE49-F238E27FC236}">
                  <a16:creationId xmlns:a16="http://schemas.microsoft.com/office/drawing/2014/main" id="{87F77B98-5A8E-49C8-8353-AB81346DA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9988" y="4365626"/>
              <a:ext cx="46038" cy="26988"/>
            </a:xfrm>
            <a:custGeom>
              <a:avLst/>
              <a:gdLst>
                <a:gd name="T0" fmla="*/ 20 w 20"/>
                <a:gd name="T1" fmla="*/ 12 h 12"/>
                <a:gd name="T2" fmla="*/ 11 w 20"/>
                <a:gd name="T3" fmla="*/ 4 h 12"/>
                <a:gd name="T4" fmla="*/ 0 w 20"/>
                <a:gd name="T5" fmla="*/ 2 h 12"/>
                <a:gd name="T6" fmla="*/ 4 w 20"/>
                <a:gd name="T7" fmla="*/ 1 h 12"/>
                <a:gd name="T8" fmla="*/ 12 w 20"/>
                <a:gd name="T9" fmla="*/ 2 h 12"/>
                <a:gd name="T10" fmla="*/ 19 w 20"/>
                <a:gd name="T11" fmla="*/ 8 h 12"/>
                <a:gd name="T12" fmla="*/ 20 w 2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cubicBezTo>
                    <a:pt x="19" y="12"/>
                    <a:pt x="17" y="7"/>
                    <a:pt x="11" y="4"/>
                  </a:cubicBezTo>
                  <a:cubicBezTo>
                    <a:pt x="6" y="1"/>
                    <a:pt x="0" y="3"/>
                    <a:pt x="0" y="2"/>
                  </a:cubicBezTo>
                  <a:cubicBezTo>
                    <a:pt x="0" y="2"/>
                    <a:pt x="1" y="1"/>
                    <a:pt x="4" y="1"/>
                  </a:cubicBezTo>
                  <a:cubicBezTo>
                    <a:pt x="6" y="0"/>
                    <a:pt x="9" y="1"/>
                    <a:pt x="12" y="2"/>
                  </a:cubicBezTo>
                  <a:cubicBezTo>
                    <a:pt x="15" y="4"/>
                    <a:pt x="18" y="6"/>
                    <a:pt x="19" y="8"/>
                  </a:cubicBezTo>
                  <a:cubicBezTo>
                    <a:pt x="20" y="10"/>
                    <a:pt x="20" y="11"/>
                    <a:pt x="20" y="1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9" name="任意多边形: 形状 668">
              <a:extLst>
                <a:ext uri="{FF2B5EF4-FFF2-40B4-BE49-F238E27FC236}">
                  <a16:creationId xmlns:a16="http://schemas.microsoft.com/office/drawing/2014/main" id="{B0D12183-B667-4216-860F-4E3CADA1E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8876" y="4403726"/>
              <a:ext cx="42863" cy="19050"/>
            </a:xfrm>
            <a:custGeom>
              <a:avLst/>
              <a:gdLst>
                <a:gd name="T0" fmla="*/ 18 w 19"/>
                <a:gd name="T1" fmla="*/ 7 h 8"/>
                <a:gd name="T2" fmla="*/ 10 w 19"/>
                <a:gd name="T3" fmla="*/ 3 h 8"/>
                <a:gd name="T4" fmla="*/ 0 w 19"/>
                <a:gd name="T5" fmla="*/ 2 h 8"/>
                <a:gd name="T6" fmla="*/ 10 w 19"/>
                <a:gd name="T7" fmla="*/ 1 h 8"/>
                <a:gd name="T8" fmla="*/ 18 w 19"/>
                <a:gd name="T9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8">
                  <a:moveTo>
                    <a:pt x="18" y="7"/>
                  </a:moveTo>
                  <a:cubicBezTo>
                    <a:pt x="18" y="8"/>
                    <a:pt x="15" y="5"/>
                    <a:pt x="10" y="3"/>
                  </a:cubicBezTo>
                  <a:cubicBezTo>
                    <a:pt x="5" y="2"/>
                    <a:pt x="0" y="3"/>
                    <a:pt x="0" y="2"/>
                  </a:cubicBezTo>
                  <a:cubicBezTo>
                    <a:pt x="0" y="2"/>
                    <a:pt x="4" y="0"/>
                    <a:pt x="10" y="1"/>
                  </a:cubicBezTo>
                  <a:cubicBezTo>
                    <a:pt x="16" y="3"/>
                    <a:pt x="19" y="7"/>
                    <a:pt x="18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0" name="任意多边形: 形状 669">
              <a:extLst>
                <a:ext uri="{FF2B5EF4-FFF2-40B4-BE49-F238E27FC236}">
                  <a16:creationId xmlns:a16="http://schemas.microsoft.com/office/drawing/2014/main" id="{2C982D4E-147B-42B8-A5F3-3210F559B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1101" y="4325938"/>
              <a:ext cx="65088" cy="26988"/>
            </a:xfrm>
            <a:custGeom>
              <a:avLst/>
              <a:gdLst>
                <a:gd name="T0" fmla="*/ 27 w 28"/>
                <a:gd name="T1" fmla="*/ 12 h 12"/>
                <a:gd name="T2" fmla="*/ 15 w 28"/>
                <a:gd name="T3" fmla="*/ 5 h 12"/>
                <a:gd name="T4" fmla="*/ 0 w 28"/>
                <a:gd name="T5" fmla="*/ 1 h 12"/>
                <a:gd name="T6" fmla="*/ 15 w 28"/>
                <a:gd name="T7" fmla="*/ 3 h 12"/>
                <a:gd name="T8" fmla="*/ 27 w 2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2">
                  <a:moveTo>
                    <a:pt x="27" y="12"/>
                  </a:moveTo>
                  <a:cubicBezTo>
                    <a:pt x="27" y="12"/>
                    <a:pt x="22" y="8"/>
                    <a:pt x="15" y="5"/>
                  </a:cubicBezTo>
                  <a:cubicBezTo>
                    <a:pt x="7" y="2"/>
                    <a:pt x="0" y="2"/>
                    <a:pt x="0" y="1"/>
                  </a:cubicBezTo>
                  <a:cubicBezTo>
                    <a:pt x="0" y="1"/>
                    <a:pt x="7" y="0"/>
                    <a:pt x="15" y="3"/>
                  </a:cubicBezTo>
                  <a:cubicBezTo>
                    <a:pt x="24" y="6"/>
                    <a:pt x="28" y="12"/>
                    <a:pt x="27" y="1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1" name="任意多边形: 形状 670">
              <a:extLst>
                <a:ext uri="{FF2B5EF4-FFF2-40B4-BE49-F238E27FC236}">
                  <a16:creationId xmlns:a16="http://schemas.microsoft.com/office/drawing/2014/main" id="{77DFABA1-7E71-4220-A689-835E3E2277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0626" y="4275138"/>
              <a:ext cx="57150" cy="12700"/>
            </a:xfrm>
            <a:custGeom>
              <a:avLst/>
              <a:gdLst>
                <a:gd name="T0" fmla="*/ 25 w 25"/>
                <a:gd name="T1" fmla="*/ 5 h 5"/>
                <a:gd name="T2" fmla="*/ 12 w 25"/>
                <a:gd name="T3" fmla="*/ 3 h 5"/>
                <a:gd name="T4" fmla="*/ 0 w 25"/>
                <a:gd name="T5" fmla="*/ 4 h 5"/>
                <a:gd name="T6" fmla="*/ 13 w 25"/>
                <a:gd name="T7" fmla="*/ 1 h 5"/>
                <a:gd name="T8" fmla="*/ 25 w 2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5">
                  <a:moveTo>
                    <a:pt x="25" y="5"/>
                  </a:moveTo>
                  <a:cubicBezTo>
                    <a:pt x="25" y="5"/>
                    <a:pt x="19" y="3"/>
                    <a:pt x="12" y="3"/>
                  </a:cubicBezTo>
                  <a:cubicBezTo>
                    <a:pt x="6" y="2"/>
                    <a:pt x="0" y="4"/>
                    <a:pt x="0" y="4"/>
                  </a:cubicBezTo>
                  <a:cubicBezTo>
                    <a:pt x="0" y="3"/>
                    <a:pt x="5" y="0"/>
                    <a:pt x="13" y="1"/>
                  </a:cubicBezTo>
                  <a:cubicBezTo>
                    <a:pt x="20" y="1"/>
                    <a:pt x="25" y="4"/>
                    <a:pt x="25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2" name="任意多边形: 形状 671">
              <a:extLst>
                <a:ext uri="{FF2B5EF4-FFF2-40B4-BE49-F238E27FC236}">
                  <a16:creationId xmlns:a16="http://schemas.microsoft.com/office/drawing/2014/main" id="{1E54735F-20EA-495B-AD5C-B337CD5C2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038" y="4211638"/>
              <a:ext cx="58738" cy="14288"/>
            </a:xfrm>
            <a:custGeom>
              <a:avLst/>
              <a:gdLst>
                <a:gd name="T0" fmla="*/ 26 w 26"/>
                <a:gd name="T1" fmla="*/ 4 h 6"/>
                <a:gd name="T2" fmla="*/ 13 w 26"/>
                <a:gd name="T3" fmla="*/ 2 h 6"/>
                <a:gd name="T4" fmla="*/ 0 w 26"/>
                <a:gd name="T5" fmla="*/ 5 h 6"/>
                <a:gd name="T6" fmla="*/ 3 w 26"/>
                <a:gd name="T7" fmla="*/ 3 h 6"/>
                <a:gd name="T8" fmla="*/ 13 w 26"/>
                <a:gd name="T9" fmla="*/ 0 h 6"/>
                <a:gd name="T10" fmla="*/ 22 w 26"/>
                <a:gd name="T11" fmla="*/ 2 h 6"/>
                <a:gd name="T12" fmla="*/ 26 w 26"/>
                <a:gd name="T13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6">
                  <a:moveTo>
                    <a:pt x="26" y="4"/>
                  </a:moveTo>
                  <a:cubicBezTo>
                    <a:pt x="25" y="5"/>
                    <a:pt x="20" y="2"/>
                    <a:pt x="13" y="2"/>
                  </a:cubicBezTo>
                  <a:cubicBezTo>
                    <a:pt x="5" y="2"/>
                    <a:pt x="0" y="6"/>
                    <a:pt x="0" y="5"/>
                  </a:cubicBezTo>
                  <a:cubicBezTo>
                    <a:pt x="0" y="5"/>
                    <a:pt x="1" y="4"/>
                    <a:pt x="3" y="3"/>
                  </a:cubicBezTo>
                  <a:cubicBezTo>
                    <a:pt x="5" y="1"/>
                    <a:pt x="9" y="0"/>
                    <a:pt x="13" y="0"/>
                  </a:cubicBezTo>
                  <a:cubicBezTo>
                    <a:pt x="17" y="0"/>
                    <a:pt x="20" y="1"/>
                    <a:pt x="22" y="2"/>
                  </a:cubicBezTo>
                  <a:cubicBezTo>
                    <a:pt x="25" y="3"/>
                    <a:pt x="26" y="4"/>
                    <a:pt x="26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3" name="任意多边形: 形状 672">
              <a:extLst>
                <a:ext uri="{FF2B5EF4-FFF2-40B4-BE49-F238E27FC236}">
                  <a16:creationId xmlns:a16="http://schemas.microsoft.com/office/drawing/2014/main" id="{D2C90A5F-07F7-48A8-84E8-C0EA8B68EB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1101" y="4159251"/>
              <a:ext cx="66675" cy="46038"/>
            </a:xfrm>
            <a:custGeom>
              <a:avLst/>
              <a:gdLst>
                <a:gd name="T0" fmla="*/ 16 w 29"/>
                <a:gd name="T1" fmla="*/ 20 h 20"/>
                <a:gd name="T2" fmla="*/ 16 w 29"/>
                <a:gd name="T3" fmla="*/ 16 h 20"/>
                <a:gd name="T4" fmla="*/ 19 w 29"/>
                <a:gd name="T5" fmla="*/ 6 h 20"/>
                <a:gd name="T6" fmla="*/ 23 w 29"/>
                <a:gd name="T7" fmla="*/ 1 h 20"/>
                <a:gd name="T8" fmla="*/ 28 w 29"/>
                <a:gd name="T9" fmla="*/ 2 h 20"/>
                <a:gd name="T10" fmla="*/ 29 w 29"/>
                <a:gd name="T11" fmla="*/ 6 h 20"/>
                <a:gd name="T12" fmla="*/ 17 w 29"/>
                <a:gd name="T13" fmla="*/ 19 h 20"/>
                <a:gd name="T14" fmla="*/ 1 w 29"/>
                <a:gd name="T15" fmla="*/ 11 h 20"/>
                <a:gd name="T16" fmla="*/ 1 w 29"/>
                <a:gd name="T17" fmla="*/ 6 h 20"/>
                <a:gd name="T18" fmla="*/ 5 w 29"/>
                <a:gd name="T19" fmla="*/ 4 h 20"/>
                <a:gd name="T20" fmla="*/ 11 w 29"/>
                <a:gd name="T21" fmla="*/ 7 h 20"/>
                <a:gd name="T22" fmla="*/ 18 w 29"/>
                <a:gd name="T23" fmla="*/ 15 h 20"/>
                <a:gd name="T24" fmla="*/ 20 w 29"/>
                <a:gd name="T25" fmla="*/ 18 h 20"/>
                <a:gd name="T26" fmla="*/ 10 w 29"/>
                <a:gd name="T27" fmla="*/ 9 h 20"/>
                <a:gd name="T28" fmla="*/ 5 w 29"/>
                <a:gd name="T29" fmla="*/ 6 h 20"/>
                <a:gd name="T30" fmla="*/ 3 w 29"/>
                <a:gd name="T31" fmla="*/ 7 h 20"/>
                <a:gd name="T32" fmla="*/ 3 w 29"/>
                <a:gd name="T33" fmla="*/ 10 h 20"/>
                <a:gd name="T34" fmla="*/ 17 w 29"/>
                <a:gd name="T35" fmla="*/ 17 h 20"/>
                <a:gd name="T36" fmla="*/ 27 w 29"/>
                <a:gd name="T37" fmla="*/ 6 h 20"/>
                <a:gd name="T38" fmla="*/ 26 w 29"/>
                <a:gd name="T39" fmla="*/ 3 h 20"/>
                <a:gd name="T40" fmla="*/ 24 w 29"/>
                <a:gd name="T41" fmla="*/ 3 h 20"/>
                <a:gd name="T42" fmla="*/ 20 w 29"/>
                <a:gd name="T43" fmla="*/ 7 h 20"/>
                <a:gd name="T44" fmla="*/ 16 w 29"/>
                <a:gd name="T4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9" h="20">
                  <a:moveTo>
                    <a:pt x="16" y="20"/>
                  </a:moveTo>
                  <a:cubicBezTo>
                    <a:pt x="16" y="20"/>
                    <a:pt x="16" y="18"/>
                    <a:pt x="16" y="16"/>
                  </a:cubicBezTo>
                  <a:cubicBezTo>
                    <a:pt x="16" y="14"/>
                    <a:pt x="17" y="10"/>
                    <a:pt x="19" y="6"/>
                  </a:cubicBezTo>
                  <a:cubicBezTo>
                    <a:pt x="20" y="5"/>
                    <a:pt x="21" y="2"/>
                    <a:pt x="23" y="1"/>
                  </a:cubicBezTo>
                  <a:cubicBezTo>
                    <a:pt x="25" y="0"/>
                    <a:pt x="27" y="1"/>
                    <a:pt x="28" y="2"/>
                  </a:cubicBezTo>
                  <a:cubicBezTo>
                    <a:pt x="29" y="3"/>
                    <a:pt x="29" y="5"/>
                    <a:pt x="29" y="6"/>
                  </a:cubicBezTo>
                  <a:cubicBezTo>
                    <a:pt x="29" y="12"/>
                    <a:pt x="24" y="18"/>
                    <a:pt x="17" y="19"/>
                  </a:cubicBezTo>
                  <a:cubicBezTo>
                    <a:pt x="10" y="20"/>
                    <a:pt x="4" y="16"/>
                    <a:pt x="1" y="11"/>
                  </a:cubicBezTo>
                  <a:cubicBezTo>
                    <a:pt x="1" y="10"/>
                    <a:pt x="0" y="8"/>
                    <a:pt x="1" y="6"/>
                  </a:cubicBezTo>
                  <a:cubicBezTo>
                    <a:pt x="2" y="5"/>
                    <a:pt x="4" y="4"/>
                    <a:pt x="5" y="4"/>
                  </a:cubicBezTo>
                  <a:cubicBezTo>
                    <a:pt x="8" y="5"/>
                    <a:pt x="10" y="6"/>
                    <a:pt x="11" y="7"/>
                  </a:cubicBezTo>
                  <a:cubicBezTo>
                    <a:pt x="15" y="10"/>
                    <a:pt x="17" y="13"/>
                    <a:pt x="18" y="15"/>
                  </a:cubicBezTo>
                  <a:cubicBezTo>
                    <a:pt x="19" y="17"/>
                    <a:pt x="20" y="18"/>
                    <a:pt x="20" y="18"/>
                  </a:cubicBezTo>
                  <a:cubicBezTo>
                    <a:pt x="19" y="18"/>
                    <a:pt x="17" y="13"/>
                    <a:pt x="10" y="9"/>
                  </a:cubicBezTo>
                  <a:cubicBezTo>
                    <a:pt x="9" y="7"/>
                    <a:pt x="7" y="6"/>
                    <a:pt x="5" y="6"/>
                  </a:cubicBezTo>
                  <a:cubicBezTo>
                    <a:pt x="4" y="6"/>
                    <a:pt x="3" y="6"/>
                    <a:pt x="3" y="7"/>
                  </a:cubicBezTo>
                  <a:cubicBezTo>
                    <a:pt x="2" y="8"/>
                    <a:pt x="3" y="9"/>
                    <a:pt x="3" y="10"/>
                  </a:cubicBezTo>
                  <a:cubicBezTo>
                    <a:pt x="5" y="14"/>
                    <a:pt x="11" y="18"/>
                    <a:pt x="17" y="17"/>
                  </a:cubicBezTo>
                  <a:cubicBezTo>
                    <a:pt x="23" y="16"/>
                    <a:pt x="27" y="11"/>
                    <a:pt x="27" y="6"/>
                  </a:cubicBezTo>
                  <a:cubicBezTo>
                    <a:pt x="27" y="5"/>
                    <a:pt x="27" y="4"/>
                    <a:pt x="26" y="3"/>
                  </a:cubicBezTo>
                  <a:cubicBezTo>
                    <a:pt x="26" y="2"/>
                    <a:pt x="25" y="2"/>
                    <a:pt x="24" y="3"/>
                  </a:cubicBezTo>
                  <a:cubicBezTo>
                    <a:pt x="22" y="3"/>
                    <a:pt x="21" y="5"/>
                    <a:pt x="20" y="7"/>
                  </a:cubicBezTo>
                  <a:cubicBezTo>
                    <a:pt x="16" y="14"/>
                    <a:pt x="16" y="20"/>
                    <a:pt x="16" y="2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4" name="任意多边形: 形状 673">
              <a:extLst>
                <a:ext uri="{FF2B5EF4-FFF2-40B4-BE49-F238E27FC236}">
                  <a16:creationId xmlns:a16="http://schemas.microsoft.com/office/drawing/2014/main" id="{3957741A-7258-469E-B3B5-72801FDFE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213" y="2840038"/>
              <a:ext cx="612775" cy="1320800"/>
            </a:xfrm>
            <a:custGeom>
              <a:avLst/>
              <a:gdLst>
                <a:gd name="T0" fmla="*/ 102 w 268"/>
                <a:gd name="T1" fmla="*/ 24 h 578"/>
                <a:gd name="T2" fmla="*/ 1 w 268"/>
                <a:gd name="T3" fmla="*/ 244 h 578"/>
                <a:gd name="T4" fmla="*/ 1 w 268"/>
                <a:gd name="T5" fmla="*/ 578 h 578"/>
                <a:gd name="T6" fmla="*/ 155 w 268"/>
                <a:gd name="T7" fmla="*/ 578 h 578"/>
                <a:gd name="T8" fmla="*/ 177 w 268"/>
                <a:gd name="T9" fmla="*/ 411 h 578"/>
                <a:gd name="T10" fmla="*/ 156 w 268"/>
                <a:gd name="T11" fmla="*/ 212 h 578"/>
                <a:gd name="T12" fmla="*/ 244 w 268"/>
                <a:gd name="T13" fmla="*/ 212 h 578"/>
                <a:gd name="T14" fmla="*/ 267 w 268"/>
                <a:gd name="T15" fmla="*/ 153 h 578"/>
                <a:gd name="T16" fmla="*/ 243 w 268"/>
                <a:gd name="T17" fmla="*/ 78 h 578"/>
                <a:gd name="T18" fmla="*/ 187 w 268"/>
                <a:gd name="T19" fmla="*/ 0 h 578"/>
                <a:gd name="T20" fmla="*/ 102 w 268"/>
                <a:gd name="T21" fmla="*/ 24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8" h="578">
                  <a:moveTo>
                    <a:pt x="102" y="24"/>
                  </a:moveTo>
                  <a:cubicBezTo>
                    <a:pt x="102" y="24"/>
                    <a:pt x="3" y="211"/>
                    <a:pt x="1" y="244"/>
                  </a:cubicBezTo>
                  <a:cubicBezTo>
                    <a:pt x="0" y="277"/>
                    <a:pt x="1" y="578"/>
                    <a:pt x="1" y="578"/>
                  </a:cubicBezTo>
                  <a:cubicBezTo>
                    <a:pt x="155" y="578"/>
                    <a:pt x="155" y="578"/>
                    <a:pt x="155" y="578"/>
                  </a:cubicBezTo>
                  <a:cubicBezTo>
                    <a:pt x="159" y="578"/>
                    <a:pt x="182" y="442"/>
                    <a:pt x="177" y="411"/>
                  </a:cubicBezTo>
                  <a:cubicBezTo>
                    <a:pt x="172" y="380"/>
                    <a:pt x="156" y="212"/>
                    <a:pt x="156" y="212"/>
                  </a:cubicBezTo>
                  <a:cubicBezTo>
                    <a:pt x="244" y="212"/>
                    <a:pt x="244" y="212"/>
                    <a:pt x="244" y="212"/>
                  </a:cubicBezTo>
                  <a:cubicBezTo>
                    <a:pt x="244" y="212"/>
                    <a:pt x="268" y="186"/>
                    <a:pt x="267" y="153"/>
                  </a:cubicBezTo>
                  <a:cubicBezTo>
                    <a:pt x="267" y="135"/>
                    <a:pt x="255" y="98"/>
                    <a:pt x="243" y="78"/>
                  </a:cubicBezTo>
                  <a:cubicBezTo>
                    <a:pt x="236" y="66"/>
                    <a:pt x="187" y="0"/>
                    <a:pt x="187" y="0"/>
                  </a:cubicBezTo>
                  <a:lnTo>
                    <a:pt x="102" y="24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5" name="任意多边形: 形状 674">
              <a:extLst>
                <a:ext uri="{FF2B5EF4-FFF2-40B4-BE49-F238E27FC236}">
                  <a16:creationId xmlns:a16="http://schemas.microsoft.com/office/drawing/2014/main" id="{DE1EC813-680E-41AA-9CEE-D195754CD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8863" y="2924176"/>
              <a:ext cx="223838" cy="971550"/>
            </a:xfrm>
            <a:custGeom>
              <a:avLst/>
              <a:gdLst>
                <a:gd name="T0" fmla="*/ 98 w 98"/>
                <a:gd name="T1" fmla="*/ 0 h 425"/>
                <a:gd name="T2" fmla="*/ 98 w 98"/>
                <a:gd name="T3" fmla="*/ 1 h 425"/>
                <a:gd name="T4" fmla="*/ 96 w 98"/>
                <a:gd name="T5" fmla="*/ 4 h 425"/>
                <a:gd name="T6" fmla="*/ 90 w 98"/>
                <a:gd name="T7" fmla="*/ 16 h 425"/>
                <a:gd name="T8" fmla="*/ 81 w 98"/>
                <a:gd name="T9" fmla="*/ 34 h 425"/>
                <a:gd name="T10" fmla="*/ 75 w 98"/>
                <a:gd name="T11" fmla="*/ 45 h 425"/>
                <a:gd name="T12" fmla="*/ 69 w 98"/>
                <a:gd name="T13" fmla="*/ 59 h 425"/>
                <a:gd name="T14" fmla="*/ 39 w 98"/>
                <a:gd name="T15" fmla="*/ 123 h 425"/>
                <a:gd name="T16" fmla="*/ 22 w 98"/>
                <a:gd name="T17" fmla="*/ 161 h 425"/>
                <a:gd name="T18" fmla="*/ 12 w 98"/>
                <a:gd name="T19" fmla="*/ 181 h 425"/>
                <a:gd name="T20" fmla="*/ 6 w 98"/>
                <a:gd name="T21" fmla="*/ 203 h 425"/>
                <a:gd name="T22" fmla="*/ 3 w 98"/>
                <a:gd name="T23" fmla="*/ 225 h 425"/>
                <a:gd name="T24" fmla="*/ 3 w 98"/>
                <a:gd name="T25" fmla="*/ 247 h 425"/>
                <a:gd name="T26" fmla="*/ 2 w 98"/>
                <a:gd name="T27" fmla="*/ 289 h 425"/>
                <a:gd name="T28" fmla="*/ 3 w 98"/>
                <a:gd name="T29" fmla="*/ 360 h 425"/>
                <a:gd name="T30" fmla="*/ 4 w 98"/>
                <a:gd name="T31" fmla="*/ 408 h 425"/>
                <a:gd name="T32" fmla="*/ 4 w 98"/>
                <a:gd name="T33" fmla="*/ 421 h 425"/>
                <a:gd name="T34" fmla="*/ 4 w 98"/>
                <a:gd name="T35" fmla="*/ 424 h 425"/>
                <a:gd name="T36" fmla="*/ 4 w 98"/>
                <a:gd name="T37" fmla="*/ 425 h 425"/>
                <a:gd name="T38" fmla="*/ 4 w 98"/>
                <a:gd name="T39" fmla="*/ 424 h 425"/>
                <a:gd name="T40" fmla="*/ 3 w 98"/>
                <a:gd name="T41" fmla="*/ 421 h 425"/>
                <a:gd name="T42" fmla="*/ 3 w 98"/>
                <a:gd name="T43" fmla="*/ 408 h 425"/>
                <a:gd name="T44" fmla="*/ 2 w 98"/>
                <a:gd name="T45" fmla="*/ 360 h 425"/>
                <a:gd name="T46" fmla="*/ 0 w 98"/>
                <a:gd name="T47" fmla="*/ 289 h 425"/>
                <a:gd name="T48" fmla="*/ 1 w 98"/>
                <a:gd name="T49" fmla="*/ 247 h 425"/>
                <a:gd name="T50" fmla="*/ 1 w 98"/>
                <a:gd name="T51" fmla="*/ 225 h 425"/>
                <a:gd name="T52" fmla="*/ 3 w 98"/>
                <a:gd name="T53" fmla="*/ 202 h 425"/>
                <a:gd name="T54" fmla="*/ 10 w 98"/>
                <a:gd name="T55" fmla="*/ 180 h 425"/>
                <a:gd name="T56" fmla="*/ 20 w 98"/>
                <a:gd name="T57" fmla="*/ 160 h 425"/>
                <a:gd name="T58" fmla="*/ 38 w 98"/>
                <a:gd name="T59" fmla="*/ 122 h 425"/>
                <a:gd name="T60" fmla="*/ 68 w 98"/>
                <a:gd name="T61" fmla="*/ 58 h 425"/>
                <a:gd name="T62" fmla="*/ 74 w 98"/>
                <a:gd name="T63" fmla="*/ 45 h 425"/>
                <a:gd name="T64" fmla="*/ 80 w 98"/>
                <a:gd name="T65" fmla="*/ 33 h 425"/>
                <a:gd name="T66" fmla="*/ 90 w 98"/>
                <a:gd name="T67" fmla="*/ 15 h 425"/>
                <a:gd name="T68" fmla="*/ 96 w 98"/>
                <a:gd name="T69" fmla="*/ 4 h 425"/>
                <a:gd name="T70" fmla="*/ 97 w 98"/>
                <a:gd name="T71" fmla="*/ 1 h 425"/>
                <a:gd name="T72" fmla="*/ 98 w 98"/>
                <a:gd name="T7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8" h="425">
                  <a:moveTo>
                    <a:pt x="98" y="0"/>
                  </a:moveTo>
                  <a:cubicBezTo>
                    <a:pt x="98" y="0"/>
                    <a:pt x="98" y="0"/>
                    <a:pt x="98" y="1"/>
                  </a:cubicBezTo>
                  <a:cubicBezTo>
                    <a:pt x="97" y="2"/>
                    <a:pt x="97" y="3"/>
                    <a:pt x="96" y="4"/>
                  </a:cubicBezTo>
                  <a:cubicBezTo>
                    <a:pt x="95" y="7"/>
                    <a:pt x="93" y="11"/>
                    <a:pt x="90" y="16"/>
                  </a:cubicBezTo>
                  <a:cubicBezTo>
                    <a:pt x="88" y="21"/>
                    <a:pt x="85" y="27"/>
                    <a:pt x="81" y="34"/>
                  </a:cubicBezTo>
                  <a:cubicBezTo>
                    <a:pt x="79" y="38"/>
                    <a:pt x="77" y="41"/>
                    <a:pt x="75" y="45"/>
                  </a:cubicBezTo>
                  <a:cubicBezTo>
                    <a:pt x="73" y="50"/>
                    <a:pt x="71" y="54"/>
                    <a:pt x="69" y="59"/>
                  </a:cubicBezTo>
                  <a:cubicBezTo>
                    <a:pt x="61" y="77"/>
                    <a:pt x="51" y="99"/>
                    <a:pt x="39" y="123"/>
                  </a:cubicBezTo>
                  <a:cubicBezTo>
                    <a:pt x="34" y="135"/>
                    <a:pt x="28" y="148"/>
                    <a:pt x="22" y="161"/>
                  </a:cubicBezTo>
                  <a:cubicBezTo>
                    <a:pt x="19" y="167"/>
                    <a:pt x="15" y="174"/>
                    <a:pt x="12" y="181"/>
                  </a:cubicBezTo>
                  <a:cubicBezTo>
                    <a:pt x="9" y="188"/>
                    <a:pt x="7" y="195"/>
                    <a:pt x="6" y="203"/>
                  </a:cubicBezTo>
                  <a:cubicBezTo>
                    <a:pt x="4" y="210"/>
                    <a:pt x="3" y="217"/>
                    <a:pt x="3" y="225"/>
                  </a:cubicBezTo>
                  <a:cubicBezTo>
                    <a:pt x="3" y="233"/>
                    <a:pt x="3" y="240"/>
                    <a:pt x="3" y="247"/>
                  </a:cubicBezTo>
                  <a:cubicBezTo>
                    <a:pt x="2" y="262"/>
                    <a:pt x="2" y="276"/>
                    <a:pt x="2" y="289"/>
                  </a:cubicBezTo>
                  <a:cubicBezTo>
                    <a:pt x="2" y="316"/>
                    <a:pt x="3" y="340"/>
                    <a:pt x="3" y="360"/>
                  </a:cubicBezTo>
                  <a:cubicBezTo>
                    <a:pt x="3" y="380"/>
                    <a:pt x="4" y="396"/>
                    <a:pt x="4" y="408"/>
                  </a:cubicBezTo>
                  <a:cubicBezTo>
                    <a:pt x="4" y="413"/>
                    <a:pt x="4" y="418"/>
                    <a:pt x="4" y="421"/>
                  </a:cubicBezTo>
                  <a:cubicBezTo>
                    <a:pt x="4" y="422"/>
                    <a:pt x="4" y="423"/>
                    <a:pt x="4" y="424"/>
                  </a:cubicBezTo>
                  <a:cubicBezTo>
                    <a:pt x="4" y="425"/>
                    <a:pt x="4" y="425"/>
                    <a:pt x="4" y="425"/>
                  </a:cubicBezTo>
                  <a:cubicBezTo>
                    <a:pt x="4" y="425"/>
                    <a:pt x="4" y="425"/>
                    <a:pt x="4" y="424"/>
                  </a:cubicBezTo>
                  <a:cubicBezTo>
                    <a:pt x="4" y="423"/>
                    <a:pt x="4" y="422"/>
                    <a:pt x="3" y="421"/>
                  </a:cubicBezTo>
                  <a:cubicBezTo>
                    <a:pt x="3" y="418"/>
                    <a:pt x="3" y="413"/>
                    <a:pt x="3" y="408"/>
                  </a:cubicBezTo>
                  <a:cubicBezTo>
                    <a:pt x="2" y="397"/>
                    <a:pt x="2" y="380"/>
                    <a:pt x="2" y="360"/>
                  </a:cubicBezTo>
                  <a:cubicBezTo>
                    <a:pt x="1" y="340"/>
                    <a:pt x="1" y="316"/>
                    <a:pt x="0" y="289"/>
                  </a:cubicBezTo>
                  <a:cubicBezTo>
                    <a:pt x="0" y="276"/>
                    <a:pt x="0" y="262"/>
                    <a:pt x="1" y="247"/>
                  </a:cubicBezTo>
                  <a:cubicBezTo>
                    <a:pt x="1" y="240"/>
                    <a:pt x="1" y="232"/>
                    <a:pt x="1" y="225"/>
                  </a:cubicBezTo>
                  <a:cubicBezTo>
                    <a:pt x="1" y="217"/>
                    <a:pt x="2" y="210"/>
                    <a:pt x="3" y="202"/>
                  </a:cubicBezTo>
                  <a:cubicBezTo>
                    <a:pt x="5" y="194"/>
                    <a:pt x="7" y="187"/>
                    <a:pt x="10" y="180"/>
                  </a:cubicBezTo>
                  <a:cubicBezTo>
                    <a:pt x="14" y="173"/>
                    <a:pt x="17" y="167"/>
                    <a:pt x="20" y="160"/>
                  </a:cubicBezTo>
                  <a:cubicBezTo>
                    <a:pt x="26" y="147"/>
                    <a:pt x="32" y="134"/>
                    <a:pt x="38" y="122"/>
                  </a:cubicBezTo>
                  <a:cubicBezTo>
                    <a:pt x="49" y="98"/>
                    <a:pt x="59" y="76"/>
                    <a:pt x="68" y="58"/>
                  </a:cubicBezTo>
                  <a:cubicBezTo>
                    <a:pt x="70" y="53"/>
                    <a:pt x="72" y="49"/>
                    <a:pt x="74" y="45"/>
                  </a:cubicBezTo>
                  <a:cubicBezTo>
                    <a:pt x="76" y="41"/>
                    <a:pt x="78" y="37"/>
                    <a:pt x="80" y="33"/>
                  </a:cubicBezTo>
                  <a:cubicBezTo>
                    <a:pt x="84" y="26"/>
                    <a:pt x="87" y="20"/>
                    <a:pt x="90" y="15"/>
                  </a:cubicBezTo>
                  <a:cubicBezTo>
                    <a:pt x="92" y="10"/>
                    <a:pt x="94" y="6"/>
                    <a:pt x="96" y="4"/>
                  </a:cubicBezTo>
                  <a:cubicBezTo>
                    <a:pt x="96" y="2"/>
                    <a:pt x="97" y="2"/>
                    <a:pt x="97" y="1"/>
                  </a:cubicBezTo>
                  <a:cubicBezTo>
                    <a:pt x="98" y="0"/>
                    <a:pt x="98" y="0"/>
                    <a:pt x="98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6" name="任意多边形: 形状 675">
              <a:extLst>
                <a:ext uri="{FF2B5EF4-FFF2-40B4-BE49-F238E27FC236}">
                  <a16:creationId xmlns:a16="http://schemas.microsoft.com/office/drawing/2014/main" id="{B1CB2C99-AF40-453F-87B9-7676BC4EC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4751" y="2960688"/>
              <a:ext cx="34925" cy="111125"/>
            </a:xfrm>
            <a:custGeom>
              <a:avLst/>
              <a:gdLst>
                <a:gd name="T0" fmla="*/ 15 w 15"/>
                <a:gd name="T1" fmla="*/ 48 h 48"/>
                <a:gd name="T2" fmla="*/ 7 w 15"/>
                <a:gd name="T3" fmla="*/ 24 h 48"/>
                <a:gd name="T4" fmla="*/ 0 w 15"/>
                <a:gd name="T5" fmla="*/ 0 h 48"/>
                <a:gd name="T6" fmla="*/ 9 w 15"/>
                <a:gd name="T7" fmla="*/ 24 h 48"/>
                <a:gd name="T8" fmla="*/ 15 w 15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48">
                  <a:moveTo>
                    <a:pt x="15" y="48"/>
                  </a:moveTo>
                  <a:cubicBezTo>
                    <a:pt x="14" y="48"/>
                    <a:pt x="11" y="37"/>
                    <a:pt x="7" y="24"/>
                  </a:cubicBezTo>
                  <a:cubicBezTo>
                    <a:pt x="3" y="11"/>
                    <a:pt x="0" y="1"/>
                    <a:pt x="0" y="0"/>
                  </a:cubicBezTo>
                  <a:cubicBezTo>
                    <a:pt x="1" y="0"/>
                    <a:pt x="5" y="11"/>
                    <a:pt x="9" y="24"/>
                  </a:cubicBezTo>
                  <a:cubicBezTo>
                    <a:pt x="13" y="37"/>
                    <a:pt x="15" y="47"/>
                    <a:pt x="15" y="48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7" name="任意多边形: 形状 676">
              <a:extLst>
                <a:ext uri="{FF2B5EF4-FFF2-40B4-BE49-F238E27FC236}">
                  <a16:creationId xmlns:a16="http://schemas.microsoft.com/office/drawing/2014/main" id="{5B52D3A7-C72E-4E93-BB2C-1055B9DE8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9226" y="3284538"/>
              <a:ext cx="50800" cy="481013"/>
            </a:xfrm>
            <a:custGeom>
              <a:avLst/>
              <a:gdLst>
                <a:gd name="T0" fmla="*/ 22 w 22"/>
                <a:gd name="T1" fmla="*/ 211 h 211"/>
                <a:gd name="T2" fmla="*/ 22 w 22"/>
                <a:gd name="T3" fmla="*/ 209 h 211"/>
                <a:gd name="T4" fmla="*/ 21 w 22"/>
                <a:gd name="T5" fmla="*/ 203 h 211"/>
                <a:gd name="T6" fmla="*/ 18 w 22"/>
                <a:gd name="T7" fmla="*/ 180 h 211"/>
                <a:gd name="T8" fmla="*/ 10 w 22"/>
                <a:gd name="T9" fmla="*/ 106 h 211"/>
                <a:gd name="T10" fmla="*/ 2 w 22"/>
                <a:gd name="T11" fmla="*/ 31 h 211"/>
                <a:gd name="T12" fmla="*/ 0 w 22"/>
                <a:gd name="T13" fmla="*/ 8 h 211"/>
                <a:gd name="T14" fmla="*/ 0 w 22"/>
                <a:gd name="T15" fmla="*/ 2 h 211"/>
                <a:gd name="T16" fmla="*/ 0 w 22"/>
                <a:gd name="T17" fmla="*/ 0 h 211"/>
                <a:gd name="T18" fmla="*/ 0 w 22"/>
                <a:gd name="T19" fmla="*/ 2 h 211"/>
                <a:gd name="T20" fmla="*/ 1 w 22"/>
                <a:gd name="T21" fmla="*/ 8 h 211"/>
                <a:gd name="T22" fmla="*/ 4 w 22"/>
                <a:gd name="T23" fmla="*/ 31 h 211"/>
                <a:gd name="T24" fmla="*/ 12 w 22"/>
                <a:gd name="T25" fmla="*/ 105 h 211"/>
                <a:gd name="T26" fmla="*/ 20 w 22"/>
                <a:gd name="T27" fmla="*/ 180 h 211"/>
                <a:gd name="T28" fmla="*/ 22 w 22"/>
                <a:gd name="T29" fmla="*/ 203 h 211"/>
                <a:gd name="T30" fmla="*/ 22 w 22"/>
                <a:gd name="T31" fmla="*/ 209 h 211"/>
                <a:gd name="T32" fmla="*/ 22 w 22"/>
                <a:gd name="T33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11">
                  <a:moveTo>
                    <a:pt x="22" y="211"/>
                  </a:moveTo>
                  <a:cubicBezTo>
                    <a:pt x="22" y="211"/>
                    <a:pt x="22" y="210"/>
                    <a:pt x="22" y="209"/>
                  </a:cubicBezTo>
                  <a:cubicBezTo>
                    <a:pt x="22" y="207"/>
                    <a:pt x="21" y="205"/>
                    <a:pt x="21" y="203"/>
                  </a:cubicBezTo>
                  <a:cubicBezTo>
                    <a:pt x="20" y="197"/>
                    <a:pt x="19" y="190"/>
                    <a:pt x="18" y="180"/>
                  </a:cubicBezTo>
                  <a:cubicBezTo>
                    <a:pt x="16" y="161"/>
                    <a:pt x="13" y="135"/>
                    <a:pt x="10" y="106"/>
                  </a:cubicBezTo>
                  <a:cubicBezTo>
                    <a:pt x="6" y="76"/>
                    <a:pt x="4" y="50"/>
                    <a:pt x="2" y="31"/>
                  </a:cubicBezTo>
                  <a:cubicBezTo>
                    <a:pt x="1" y="21"/>
                    <a:pt x="1" y="14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4"/>
                    <a:pt x="1" y="6"/>
                    <a:pt x="1" y="8"/>
                  </a:cubicBezTo>
                  <a:cubicBezTo>
                    <a:pt x="2" y="14"/>
                    <a:pt x="2" y="21"/>
                    <a:pt x="4" y="31"/>
                  </a:cubicBezTo>
                  <a:cubicBezTo>
                    <a:pt x="6" y="50"/>
                    <a:pt x="9" y="76"/>
                    <a:pt x="12" y="105"/>
                  </a:cubicBezTo>
                  <a:cubicBezTo>
                    <a:pt x="15" y="134"/>
                    <a:pt x="18" y="161"/>
                    <a:pt x="20" y="180"/>
                  </a:cubicBezTo>
                  <a:cubicBezTo>
                    <a:pt x="20" y="189"/>
                    <a:pt x="21" y="197"/>
                    <a:pt x="22" y="203"/>
                  </a:cubicBezTo>
                  <a:cubicBezTo>
                    <a:pt x="22" y="205"/>
                    <a:pt x="22" y="207"/>
                    <a:pt x="22" y="209"/>
                  </a:cubicBezTo>
                  <a:cubicBezTo>
                    <a:pt x="22" y="210"/>
                    <a:pt x="22" y="211"/>
                    <a:pt x="22" y="21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8" name="任意多边形: 形状 677">
              <a:extLst>
                <a:ext uri="{FF2B5EF4-FFF2-40B4-BE49-F238E27FC236}">
                  <a16:creationId xmlns:a16="http://schemas.microsoft.com/office/drawing/2014/main" id="{5C172757-34DC-4F68-9200-7917A9321A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6363" y="1668463"/>
              <a:ext cx="173038" cy="211138"/>
            </a:xfrm>
            <a:custGeom>
              <a:avLst/>
              <a:gdLst>
                <a:gd name="T0" fmla="*/ 2 w 76"/>
                <a:gd name="T1" fmla="*/ 35 h 93"/>
                <a:gd name="T2" fmla="*/ 29 w 76"/>
                <a:gd name="T3" fmla="*/ 2 h 93"/>
                <a:gd name="T4" fmla="*/ 69 w 76"/>
                <a:gd name="T5" fmla="*/ 25 h 93"/>
                <a:gd name="T6" fmla="*/ 70 w 76"/>
                <a:gd name="T7" fmla="*/ 71 h 93"/>
                <a:gd name="T8" fmla="*/ 48 w 76"/>
                <a:gd name="T9" fmla="*/ 92 h 93"/>
                <a:gd name="T10" fmla="*/ 21 w 76"/>
                <a:gd name="T11" fmla="*/ 77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93">
                  <a:moveTo>
                    <a:pt x="2" y="35"/>
                  </a:moveTo>
                  <a:cubicBezTo>
                    <a:pt x="0" y="20"/>
                    <a:pt x="14" y="4"/>
                    <a:pt x="29" y="2"/>
                  </a:cubicBezTo>
                  <a:cubicBezTo>
                    <a:pt x="45" y="0"/>
                    <a:pt x="61" y="10"/>
                    <a:pt x="69" y="25"/>
                  </a:cubicBezTo>
                  <a:cubicBezTo>
                    <a:pt x="76" y="39"/>
                    <a:pt x="75" y="56"/>
                    <a:pt x="70" y="71"/>
                  </a:cubicBezTo>
                  <a:cubicBezTo>
                    <a:pt x="66" y="81"/>
                    <a:pt x="58" y="92"/>
                    <a:pt x="48" y="92"/>
                  </a:cubicBezTo>
                  <a:cubicBezTo>
                    <a:pt x="37" y="93"/>
                    <a:pt x="29" y="85"/>
                    <a:pt x="21" y="77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9" name="任意多边形: 形状 678">
              <a:extLst>
                <a:ext uri="{FF2B5EF4-FFF2-40B4-BE49-F238E27FC236}">
                  <a16:creationId xmlns:a16="http://schemas.microsoft.com/office/drawing/2014/main" id="{ED6B920E-90CF-45D5-9CFA-5B6DD5D380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0926" y="1689101"/>
              <a:ext cx="423863" cy="396875"/>
            </a:xfrm>
            <a:custGeom>
              <a:avLst/>
              <a:gdLst>
                <a:gd name="T0" fmla="*/ 32 w 185"/>
                <a:gd name="T1" fmla="*/ 106 h 174"/>
                <a:gd name="T2" fmla="*/ 117 w 185"/>
                <a:gd name="T3" fmla="*/ 12 h 174"/>
                <a:gd name="T4" fmla="*/ 179 w 185"/>
                <a:gd name="T5" fmla="*/ 68 h 174"/>
                <a:gd name="T6" fmla="*/ 175 w 185"/>
                <a:gd name="T7" fmla="*/ 147 h 174"/>
                <a:gd name="T8" fmla="*/ 148 w 185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174">
                  <a:moveTo>
                    <a:pt x="32" y="106"/>
                  </a:moveTo>
                  <a:cubicBezTo>
                    <a:pt x="0" y="36"/>
                    <a:pt x="76" y="0"/>
                    <a:pt x="117" y="12"/>
                  </a:cubicBezTo>
                  <a:cubicBezTo>
                    <a:pt x="156" y="23"/>
                    <a:pt x="172" y="42"/>
                    <a:pt x="179" y="68"/>
                  </a:cubicBezTo>
                  <a:cubicBezTo>
                    <a:pt x="185" y="94"/>
                    <a:pt x="185" y="123"/>
                    <a:pt x="175" y="147"/>
                  </a:cubicBezTo>
                  <a:cubicBezTo>
                    <a:pt x="170" y="160"/>
                    <a:pt x="161" y="172"/>
                    <a:pt x="148" y="174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0" name="任意多边形: 形状 679">
              <a:extLst>
                <a:ext uri="{FF2B5EF4-FFF2-40B4-BE49-F238E27FC236}">
                  <a16:creationId xmlns:a16="http://schemas.microsoft.com/office/drawing/2014/main" id="{F8E07ED4-8E2F-4BFC-9D40-DB0ABE9C7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0776" y="1758951"/>
              <a:ext cx="282575" cy="560388"/>
            </a:xfrm>
            <a:custGeom>
              <a:avLst/>
              <a:gdLst>
                <a:gd name="T0" fmla="*/ 112 w 124"/>
                <a:gd name="T1" fmla="*/ 20 h 245"/>
                <a:gd name="T2" fmla="*/ 124 w 124"/>
                <a:gd name="T3" fmla="*/ 33 h 245"/>
                <a:gd name="T4" fmla="*/ 116 w 124"/>
                <a:gd name="T5" fmla="*/ 212 h 245"/>
                <a:gd name="T6" fmla="*/ 62 w 124"/>
                <a:gd name="T7" fmla="*/ 244 h 245"/>
                <a:gd name="T8" fmla="*/ 39 w 124"/>
                <a:gd name="T9" fmla="*/ 213 h 245"/>
                <a:gd name="T10" fmla="*/ 38 w 124"/>
                <a:gd name="T11" fmla="*/ 167 h 245"/>
                <a:gd name="T12" fmla="*/ 3 w 124"/>
                <a:gd name="T13" fmla="*/ 124 h 245"/>
                <a:gd name="T14" fmla="*/ 3 w 124"/>
                <a:gd name="T15" fmla="*/ 50 h 245"/>
                <a:gd name="T16" fmla="*/ 42 w 124"/>
                <a:gd name="T17" fmla="*/ 2 h 245"/>
                <a:gd name="T18" fmla="*/ 112 w 124"/>
                <a:gd name="T19" fmla="*/ 2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4" h="245">
                  <a:moveTo>
                    <a:pt x="112" y="20"/>
                  </a:moveTo>
                  <a:cubicBezTo>
                    <a:pt x="119" y="21"/>
                    <a:pt x="124" y="27"/>
                    <a:pt x="124" y="33"/>
                  </a:cubicBezTo>
                  <a:cubicBezTo>
                    <a:pt x="116" y="212"/>
                    <a:pt x="116" y="212"/>
                    <a:pt x="116" y="212"/>
                  </a:cubicBezTo>
                  <a:cubicBezTo>
                    <a:pt x="116" y="233"/>
                    <a:pt x="85" y="245"/>
                    <a:pt x="62" y="244"/>
                  </a:cubicBezTo>
                  <a:cubicBezTo>
                    <a:pt x="40" y="244"/>
                    <a:pt x="39" y="233"/>
                    <a:pt x="39" y="213"/>
                  </a:cubicBezTo>
                  <a:cubicBezTo>
                    <a:pt x="38" y="179"/>
                    <a:pt x="38" y="167"/>
                    <a:pt x="38" y="167"/>
                  </a:cubicBezTo>
                  <a:cubicBezTo>
                    <a:pt x="38" y="167"/>
                    <a:pt x="9" y="162"/>
                    <a:pt x="3" y="124"/>
                  </a:cubicBezTo>
                  <a:cubicBezTo>
                    <a:pt x="0" y="106"/>
                    <a:pt x="1" y="75"/>
                    <a:pt x="3" y="50"/>
                  </a:cubicBezTo>
                  <a:cubicBezTo>
                    <a:pt x="4" y="28"/>
                    <a:pt x="19" y="0"/>
                    <a:pt x="42" y="2"/>
                  </a:cubicBezTo>
                  <a:lnTo>
                    <a:pt x="112" y="20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1" name="任意多边形: 形状 680">
              <a:extLst>
                <a:ext uri="{FF2B5EF4-FFF2-40B4-BE49-F238E27FC236}">
                  <a16:creationId xmlns:a16="http://schemas.microsoft.com/office/drawing/2014/main" id="{7A8E5ECF-60DD-4076-B8D0-16FE9AA4C8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8876" y="1912938"/>
              <a:ext cx="22225" cy="20638"/>
            </a:xfrm>
            <a:custGeom>
              <a:avLst/>
              <a:gdLst>
                <a:gd name="T0" fmla="*/ 0 w 10"/>
                <a:gd name="T1" fmla="*/ 4 h 9"/>
                <a:gd name="T2" fmla="*/ 5 w 10"/>
                <a:gd name="T3" fmla="*/ 9 h 9"/>
                <a:gd name="T4" fmla="*/ 10 w 10"/>
                <a:gd name="T5" fmla="*/ 5 h 9"/>
                <a:gd name="T6" fmla="*/ 5 w 10"/>
                <a:gd name="T7" fmla="*/ 0 h 9"/>
                <a:gd name="T8" fmla="*/ 0 w 10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0" y="4"/>
                  </a:moveTo>
                  <a:cubicBezTo>
                    <a:pt x="0" y="7"/>
                    <a:pt x="2" y="9"/>
                    <a:pt x="5" y="9"/>
                  </a:cubicBezTo>
                  <a:cubicBezTo>
                    <a:pt x="8" y="9"/>
                    <a:pt x="10" y="8"/>
                    <a:pt x="10" y="5"/>
                  </a:cubicBezTo>
                  <a:cubicBezTo>
                    <a:pt x="10" y="2"/>
                    <a:pt x="8" y="0"/>
                    <a:pt x="5" y="0"/>
                  </a:cubicBezTo>
                  <a:cubicBezTo>
                    <a:pt x="3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2" name="任意多边形: 形状 681">
              <a:extLst>
                <a:ext uri="{FF2B5EF4-FFF2-40B4-BE49-F238E27FC236}">
                  <a16:creationId xmlns:a16="http://schemas.microsoft.com/office/drawing/2014/main" id="{45443BFE-4100-4288-B23B-70E1492B3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1413" y="1898651"/>
              <a:ext cx="44450" cy="14288"/>
            </a:xfrm>
            <a:custGeom>
              <a:avLst/>
              <a:gdLst>
                <a:gd name="T0" fmla="*/ 0 w 20"/>
                <a:gd name="T1" fmla="*/ 5 h 6"/>
                <a:gd name="T2" fmla="*/ 10 w 20"/>
                <a:gd name="T3" fmla="*/ 3 h 6"/>
                <a:gd name="T4" fmla="*/ 19 w 20"/>
                <a:gd name="T5" fmla="*/ 5 h 6"/>
                <a:gd name="T6" fmla="*/ 17 w 20"/>
                <a:gd name="T7" fmla="*/ 2 h 6"/>
                <a:gd name="T8" fmla="*/ 10 w 20"/>
                <a:gd name="T9" fmla="*/ 0 h 6"/>
                <a:gd name="T10" fmla="*/ 2 w 20"/>
                <a:gd name="T11" fmla="*/ 2 h 6"/>
                <a:gd name="T12" fmla="*/ 0 w 20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6">
                  <a:moveTo>
                    <a:pt x="0" y="5"/>
                  </a:moveTo>
                  <a:cubicBezTo>
                    <a:pt x="1" y="6"/>
                    <a:pt x="5" y="3"/>
                    <a:pt x="10" y="3"/>
                  </a:cubicBezTo>
                  <a:cubicBezTo>
                    <a:pt x="15" y="3"/>
                    <a:pt x="19" y="6"/>
                    <a:pt x="19" y="5"/>
                  </a:cubicBezTo>
                  <a:cubicBezTo>
                    <a:pt x="20" y="5"/>
                    <a:pt x="19" y="4"/>
                    <a:pt x="17" y="2"/>
                  </a:cubicBezTo>
                  <a:cubicBezTo>
                    <a:pt x="16" y="1"/>
                    <a:pt x="13" y="0"/>
                    <a:pt x="10" y="0"/>
                  </a:cubicBezTo>
                  <a:cubicBezTo>
                    <a:pt x="7" y="0"/>
                    <a:pt x="4" y="1"/>
                    <a:pt x="2" y="2"/>
                  </a:cubicBezTo>
                  <a:cubicBezTo>
                    <a:pt x="1" y="4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3" name="任意多边形: 形状 682">
              <a:extLst>
                <a:ext uri="{FF2B5EF4-FFF2-40B4-BE49-F238E27FC236}">
                  <a16:creationId xmlns:a16="http://schemas.microsoft.com/office/drawing/2014/main" id="{4EEBD591-5B1C-470D-B73E-CAA404F6C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351" y="1912938"/>
              <a:ext cx="22225" cy="20638"/>
            </a:xfrm>
            <a:custGeom>
              <a:avLst/>
              <a:gdLst>
                <a:gd name="T0" fmla="*/ 0 w 10"/>
                <a:gd name="T1" fmla="*/ 4 h 9"/>
                <a:gd name="T2" fmla="*/ 5 w 10"/>
                <a:gd name="T3" fmla="*/ 9 h 9"/>
                <a:gd name="T4" fmla="*/ 10 w 10"/>
                <a:gd name="T5" fmla="*/ 5 h 9"/>
                <a:gd name="T6" fmla="*/ 5 w 10"/>
                <a:gd name="T7" fmla="*/ 0 h 9"/>
                <a:gd name="T8" fmla="*/ 0 w 10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0" y="4"/>
                  </a:moveTo>
                  <a:cubicBezTo>
                    <a:pt x="0" y="7"/>
                    <a:pt x="2" y="9"/>
                    <a:pt x="5" y="9"/>
                  </a:cubicBezTo>
                  <a:cubicBezTo>
                    <a:pt x="7" y="9"/>
                    <a:pt x="10" y="8"/>
                    <a:pt x="10" y="5"/>
                  </a:cubicBezTo>
                  <a:cubicBezTo>
                    <a:pt x="10" y="2"/>
                    <a:pt x="8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4" name="任意多边形: 形状 683">
              <a:extLst>
                <a:ext uri="{FF2B5EF4-FFF2-40B4-BE49-F238E27FC236}">
                  <a16:creationId xmlns:a16="http://schemas.microsoft.com/office/drawing/2014/main" id="{C7DB9377-1D23-468C-B4A1-C5031D87EE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7301" y="1900238"/>
              <a:ext cx="46038" cy="14288"/>
            </a:xfrm>
            <a:custGeom>
              <a:avLst/>
              <a:gdLst>
                <a:gd name="T0" fmla="*/ 0 w 20"/>
                <a:gd name="T1" fmla="*/ 5 h 6"/>
                <a:gd name="T2" fmla="*/ 10 w 20"/>
                <a:gd name="T3" fmla="*/ 3 h 6"/>
                <a:gd name="T4" fmla="*/ 19 w 20"/>
                <a:gd name="T5" fmla="*/ 5 h 6"/>
                <a:gd name="T6" fmla="*/ 17 w 20"/>
                <a:gd name="T7" fmla="*/ 2 h 6"/>
                <a:gd name="T8" fmla="*/ 10 w 20"/>
                <a:gd name="T9" fmla="*/ 0 h 6"/>
                <a:gd name="T10" fmla="*/ 2 w 20"/>
                <a:gd name="T11" fmla="*/ 2 h 6"/>
                <a:gd name="T12" fmla="*/ 0 w 20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6">
                  <a:moveTo>
                    <a:pt x="0" y="5"/>
                  </a:moveTo>
                  <a:cubicBezTo>
                    <a:pt x="1" y="6"/>
                    <a:pt x="5" y="3"/>
                    <a:pt x="10" y="3"/>
                  </a:cubicBezTo>
                  <a:cubicBezTo>
                    <a:pt x="15" y="3"/>
                    <a:pt x="19" y="6"/>
                    <a:pt x="19" y="5"/>
                  </a:cubicBezTo>
                  <a:cubicBezTo>
                    <a:pt x="20" y="5"/>
                    <a:pt x="19" y="4"/>
                    <a:pt x="17" y="2"/>
                  </a:cubicBezTo>
                  <a:cubicBezTo>
                    <a:pt x="16" y="1"/>
                    <a:pt x="13" y="0"/>
                    <a:pt x="10" y="0"/>
                  </a:cubicBezTo>
                  <a:cubicBezTo>
                    <a:pt x="7" y="0"/>
                    <a:pt x="4" y="1"/>
                    <a:pt x="2" y="2"/>
                  </a:cubicBezTo>
                  <a:cubicBezTo>
                    <a:pt x="1" y="4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5" name="任意多边形: 形状 684">
              <a:extLst>
                <a:ext uri="{FF2B5EF4-FFF2-40B4-BE49-F238E27FC236}">
                  <a16:creationId xmlns:a16="http://schemas.microsoft.com/office/drawing/2014/main" id="{C1B4932D-8E1E-41BD-87EA-B703A2077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1900238"/>
              <a:ext cx="38100" cy="101600"/>
            </a:xfrm>
            <a:custGeom>
              <a:avLst/>
              <a:gdLst>
                <a:gd name="T0" fmla="*/ 14 w 17"/>
                <a:gd name="T1" fmla="*/ 43 h 44"/>
                <a:gd name="T2" fmla="*/ 5 w 17"/>
                <a:gd name="T3" fmla="*/ 42 h 44"/>
                <a:gd name="T4" fmla="*/ 2 w 17"/>
                <a:gd name="T5" fmla="*/ 41 h 44"/>
                <a:gd name="T6" fmla="*/ 3 w 17"/>
                <a:gd name="T7" fmla="*/ 37 h 44"/>
                <a:gd name="T8" fmla="*/ 7 w 17"/>
                <a:gd name="T9" fmla="*/ 27 h 44"/>
                <a:gd name="T10" fmla="*/ 16 w 17"/>
                <a:gd name="T11" fmla="*/ 0 h 44"/>
                <a:gd name="T12" fmla="*/ 5 w 17"/>
                <a:gd name="T13" fmla="*/ 26 h 44"/>
                <a:gd name="T14" fmla="*/ 1 w 17"/>
                <a:gd name="T15" fmla="*/ 36 h 44"/>
                <a:gd name="T16" fmla="*/ 1 w 17"/>
                <a:gd name="T17" fmla="*/ 41 h 44"/>
                <a:gd name="T18" fmla="*/ 3 w 17"/>
                <a:gd name="T19" fmla="*/ 43 h 44"/>
                <a:gd name="T20" fmla="*/ 5 w 17"/>
                <a:gd name="T21" fmla="*/ 43 h 44"/>
                <a:gd name="T22" fmla="*/ 14 w 17"/>
                <a:gd name="T23" fmla="*/ 4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44">
                  <a:moveTo>
                    <a:pt x="14" y="43"/>
                  </a:moveTo>
                  <a:cubicBezTo>
                    <a:pt x="14" y="43"/>
                    <a:pt x="10" y="43"/>
                    <a:pt x="5" y="42"/>
                  </a:cubicBezTo>
                  <a:cubicBezTo>
                    <a:pt x="4" y="42"/>
                    <a:pt x="3" y="42"/>
                    <a:pt x="2" y="41"/>
                  </a:cubicBezTo>
                  <a:cubicBezTo>
                    <a:pt x="2" y="40"/>
                    <a:pt x="3" y="38"/>
                    <a:pt x="3" y="37"/>
                  </a:cubicBezTo>
                  <a:cubicBezTo>
                    <a:pt x="5" y="34"/>
                    <a:pt x="6" y="30"/>
                    <a:pt x="7" y="27"/>
                  </a:cubicBezTo>
                  <a:cubicBezTo>
                    <a:pt x="13" y="12"/>
                    <a:pt x="17" y="0"/>
                    <a:pt x="16" y="0"/>
                  </a:cubicBezTo>
                  <a:cubicBezTo>
                    <a:pt x="15" y="0"/>
                    <a:pt x="11" y="12"/>
                    <a:pt x="5" y="26"/>
                  </a:cubicBezTo>
                  <a:cubicBezTo>
                    <a:pt x="4" y="29"/>
                    <a:pt x="3" y="33"/>
                    <a:pt x="1" y="36"/>
                  </a:cubicBezTo>
                  <a:cubicBezTo>
                    <a:pt x="1" y="38"/>
                    <a:pt x="0" y="39"/>
                    <a:pt x="1" y="41"/>
                  </a:cubicBezTo>
                  <a:cubicBezTo>
                    <a:pt x="1" y="42"/>
                    <a:pt x="2" y="43"/>
                    <a:pt x="3" y="43"/>
                  </a:cubicBezTo>
                  <a:cubicBezTo>
                    <a:pt x="4" y="43"/>
                    <a:pt x="4" y="43"/>
                    <a:pt x="5" y="43"/>
                  </a:cubicBezTo>
                  <a:cubicBezTo>
                    <a:pt x="10" y="44"/>
                    <a:pt x="14" y="44"/>
                    <a:pt x="14" y="4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6" name="任意多边形: 形状 685">
              <a:extLst>
                <a:ext uri="{FF2B5EF4-FFF2-40B4-BE49-F238E27FC236}">
                  <a16:creationId xmlns:a16="http://schemas.microsoft.com/office/drawing/2014/main" id="{D7648CF6-2908-45ED-BE11-0FB4CE69D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501" y="2108201"/>
              <a:ext cx="114300" cy="60325"/>
            </a:xfrm>
            <a:custGeom>
              <a:avLst/>
              <a:gdLst>
                <a:gd name="T0" fmla="*/ 0 w 50"/>
                <a:gd name="T1" fmla="*/ 14 h 26"/>
                <a:gd name="T2" fmla="*/ 50 w 50"/>
                <a:gd name="T3" fmla="*/ 0 h 26"/>
                <a:gd name="T4" fmla="*/ 1 w 50"/>
                <a:gd name="T5" fmla="*/ 23 h 26"/>
                <a:gd name="T6" fmla="*/ 0 w 50"/>
                <a:gd name="T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26">
                  <a:moveTo>
                    <a:pt x="0" y="14"/>
                  </a:moveTo>
                  <a:cubicBezTo>
                    <a:pt x="0" y="14"/>
                    <a:pt x="25" y="15"/>
                    <a:pt x="50" y="0"/>
                  </a:cubicBezTo>
                  <a:cubicBezTo>
                    <a:pt x="50" y="0"/>
                    <a:pt x="38" y="26"/>
                    <a:pt x="1" y="23"/>
                  </a:cubicBezTo>
                  <a:lnTo>
                    <a:pt x="0" y="14"/>
                  </a:ln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7" name="任意多边形: 形状 686">
              <a:extLst>
                <a:ext uri="{FF2B5EF4-FFF2-40B4-BE49-F238E27FC236}">
                  <a16:creationId xmlns:a16="http://schemas.microsoft.com/office/drawing/2014/main" id="{53214184-B97D-47FC-8DD2-A1BB3CDDB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9201" y="2019301"/>
              <a:ext cx="38100" cy="28575"/>
            </a:xfrm>
            <a:custGeom>
              <a:avLst/>
              <a:gdLst>
                <a:gd name="T0" fmla="*/ 1 w 17"/>
                <a:gd name="T1" fmla="*/ 4 h 12"/>
                <a:gd name="T2" fmla="*/ 9 w 17"/>
                <a:gd name="T3" fmla="*/ 0 h 12"/>
                <a:gd name="T4" fmla="*/ 15 w 17"/>
                <a:gd name="T5" fmla="*/ 4 h 12"/>
                <a:gd name="T6" fmla="*/ 15 w 17"/>
                <a:gd name="T7" fmla="*/ 10 h 12"/>
                <a:gd name="T8" fmla="*/ 9 w 17"/>
                <a:gd name="T9" fmla="*/ 12 h 12"/>
                <a:gd name="T10" fmla="*/ 2 w 17"/>
                <a:gd name="T11" fmla="*/ 8 h 12"/>
                <a:gd name="T12" fmla="*/ 1 w 17"/>
                <a:gd name="T13" fmla="*/ 6 h 12"/>
                <a:gd name="T14" fmla="*/ 1 w 17"/>
                <a:gd name="T1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2">
                  <a:moveTo>
                    <a:pt x="1" y="4"/>
                  </a:moveTo>
                  <a:cubicBezTo>
                    <a:pt x="3" y="1"/>
                    <a:pt x="6" y="0"/>
                    <a:pt x="9" y="0"/>
                  </a:cubicBezTo>
                  <a:cubicBezTo>
                    <a:pt x="11" y="1"/>
                    <a:pt x="14" y="2"/>
                    <a:pt x="15" y="4"/>
                  </a:cubicBezTo>
                  <a:cubicBezTo>
                    <a:pt x="16" y="5"/>
                    <a:pt x="17" y="8"/>
                    <a:pt x="15" y="10"/>
                  </a:cubicBezTo>
                  <a:cubicBezTo>
                    <a:pt x="14" y="12"/>
                    <a:pt x="11" y="12"/>
                    <a:pt x="9" y="12"/>
                  </a:cubicBezTo>
                  <a:cubicBezTo>
                    <a:pt x="6" y="11"/>
                    <a:pt x="4" y="9"/>
                    <a:pt x="2" y="8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5"/>
                    <a:pt x="0" y="5"/>
                    <a:pt x="1" y="4"/>
                  </a:cubicBezTo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8" name="任意多边形: 形状 687">
              <a:extLst>
                <a:ext uri="{FF2B5EF4-FFF2-40B4-BE49-F238E27FC236}">
                  <a16:creationId xmlns:a16="http://schemas.microsoft.com/office/drawing/2014/main" id="{1DCF73A2-A2D6-4014-9367-C3AB11E443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1263" y="2008188"/>
              <a:ext cx="41275" cy="34925"/>
            </a:xfrm>
            <a:custGeom>
              <a:avLst/>
              <a:gdLst>
                <a:gd name="T0" fmla="*/ 17 w 18"/>
                <a:gd name="T1" fmla="*/ 0 h 15"/>
                <a:gd name="T2" fmla="*/ 11 w 18"/>
                <a:gd name="T3" fmla="*/ 10 h 15"/>
                <a:gd name="T4" fmla="*/ 0 w 18"/>
                <a:gd name="T5" fmla="*/ 14 h 15"/>
                <a:gd name="T6" fmla="*/ 4 w 18"/>
                <a:gd name="T7" fmla="*/ 15 h 15"/>
                <a:gd name="T8" fmla="*/ 13 w 18"/>
                <a:gd name="T9" fmla="*/ 12 h 15"/>
                <a:gd name="T10" fmla="*/ 18 w 18"/>
                <a:gd name="T11" fmla="*/ 4 h 15"/>
                <a:gd name="T12" fmla="*/ 17 w 18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5">
                  <a:moveTo>
                    <a:pt x="17" y="0"/>
                  </a:moveTo>
                  <a:cubicBezTo>
                    <a:pt x="16" y="0"/>
                    <a:pt x="16" y="6"/>
                    <a:pt x="11" y="10"/>
                  </a:cubicBezTo>
                  <a:cubicBezTo>
                    <a:pt x="6" y="14"/>
                    <a:pt x="0" y="13"/>
                    <a:pt x="0" y="14"/>
                  </a:cubicBezTo>
                  <a:cubicBezTo>
                    <a:pt x="0" y="14"/>
                    <a:pt x="2" y="15"/>
                    <a:pt x="4" y="15"/>
                  </a:cubicBezTo>
                  <a:cubicBezTo>
                    <a:pt x="7" y="15"/>
                    <a:pt x="10" y="14"/>
                    <a:pt x="13" y="12"/>
                  </a:cubicBezTo>
                  <a:cubicBezTo>
                    <a:pt x="16" y="9"/>
                    <a:pt x="17" y="6"/>
                    <a:pt x="18" y="4"/>
                  </a:cubicBezTo>
                  <a:cubicBezTo>
                    <a:pt x="18" y="1"/>
                    <a:pt x="17" y="0"/>
                    <a:pt x="1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9" name="任意多边形: 形状 688">
              <a:extLst>
                <a:ext uri="{FF2B5EF4-FFF2-40B4-BE49-F238E27FC236}">
                  <a16:creationId xmlns:a16="http://schemas.microsoft.com/office/drawing/2014/main" id="{433E0769-8ADA-46D4-88CB-9DC9B5ACD5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2538" y="1882776"/>
              <a:ext cx="55563" cy="17463"/>
            </a:xfrm>
            <a:custGeom>
              <a:avLst/>
              <a:gdLst>
                <a:gd name="T0" fmla="*/ 0 w 24"/>
                <a:gd name="T1" fmla="*/ 4 h 8"/>
                <a:gd name="T2" fmla="*/ 12 w 24"/>
                <a:gd name="T3" fmla="*/ 5 h 8"/>
                <a:gd name="T4" fmla="*/ 24 w 24"/>
                <a:gd name="T5" fmla="*/ 7 h 8"/>
                <a:gd name="T6" fmla="*/ 21 w 24"/>
                <a:gd name="T7" fmla="*/ 3 h 8"/>
                <a:gd name="T8" fmla="*/ 12 w 24"/>
                <a:gd name="T9" fmla="*/ 0 h 8"/>
                <a:gd name="T10" fmla="*/ 3 w 24"/>
                <a:gd name="T11" fmla="*/ 1 h 8"/>
                <a:gd name="T12" fmla="*/ 0 w 24"/>
                <a:gd name="T1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8">
                  <a:moveTo>
                    <a:pt x="0" y="4"/>
                  </a:moveTo>
                  <a:cubicBezTo>
                    <a:pt x="1" y="5"/>
                    <a:pt x="6" y="5"/>
                    <a:pt x="12" y="5"/>
                  </a:cubicBezTo>
                  <a:cubicBezTo>
                    <a:pt x="18" y="6"/>
                    <a:pt x="23" y="8"/>
                    <a:pt x="24" y="7"/>
                  </a:cubicBezTo>
                  <a:cubicBezTo>
                    <a:pt x="24" y="6"/>
                    <a:pt x="23" y="5"/>
                    <a:pt x="21" y="3"/>
                  </a:cubicBezTo>
                  <a:cubicBezTo>
                    <a:pt x="19" y="2"/>
                    <a:pt x="16" y="1"/>
                    <a:pt x="12" y="0"/>
                  </a:cubicBezTo>
                  <a:cubicBezTo>
                    <a:pt x="9" y="0"/>
                    <a:pt x="5" y="0"/>
                    <a:pt x="3" y="1"/>
                  </a:cubicBezTo>
                  <a:cubicBezTo>
                    <a:pt x="1" y="2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0" name="任意多边形: 形状 689">
              <a:extLst>
                <a:ext uri="{FF2B5EF4-FFF2-40B4-BE49-F238E27FC236}">
                  <a16:creationId xmlns:a16="http://schemas.microsoft.com/office/drawing/2014/main" id="{27A25380-AA1A-453C-8714-1A892EA0A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4588" y="1863726"/>
              <a:ext cx="41275" cy="14288"/>
            </a:xfrm>
            <a:custGeom>
              <a:avLst/>
              <a:gdLst>
                <a:gd name="T0" fmla="*/ 0 w 18"/>
                <a:gd name="T1" fmla="*/ 5 h 6"/>
                <a:gd name="T2" fmla="*/ 9 w 18"/>
                <a:gd name="T3" fmla="*/ 5 h 6"/>
                <a:gd name="T4" fmla="*/ 18 w 18"/>
                <a:gd name="T5" fmla="*/ 4 h 6"/>
                <a:gd name="T6" fmla="*/ 16 w 18"/>
                <a:gd name="T7" fmla="*/ 2 h 6"/>
                <a:gd name="T8" fmla="*/ 9 w 18"/>
                <a:gd name="T9" fmla="*/ 0 h 6"/>
                <a:gd name="T10" fmla="*/ 2 w 18"/>
                <a:gd name="T11" fmla="*/ 2 h 6"/>
                <a:gd name="T12" fmla="*/ 0 w 18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6">
                  <a:moveTo>
                    <a:pt x="0" y="5"/>
                  </a:moveTo>
                  <a:cubicBezTo>
                    <a:pt x="1" y="6"/>
                    <a:pt x="5" y="5"/>
                    <a:pt x="9" y="5"/>
                  </a:cubicBezTo>
                  <a:cubicBezTo>
                    <a:pt x="13" y="5"/>
                    <a:pt x="17" y="6"/>
                    <a:pt x="18" y="4"/>
                  </a:cubicBezTo>
                  <a:cubicBezTo>
                    <a:pt x="18" y="4"/>
                    <a:pt x="18" y="3"/>
                    <a:pt x="16" y="2"/>
                  </a:cubicBezTo>
                  <a:cubicBezTo>
                    <a:pt x="15" y="0"/>
                    <a:pt x="12" y="0"/>
                    <a:pt x="9" y="0"/>
                  </a:cubicBezTo>
                  <a:cubicBezTo>
                    <a:pt x="6" y="0"/>
                    <a:pt x="3" y="1"/>
                    <a:pt x="2" y="2"/>
                  </a:cubicBezTo>
                  <a:cubicBezTo>
                    <a:pt x="0" y="3"/>
                    <a:pt x="0" y="4"/>
                    <a:pt x="0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1" name="任意多边形: 形状 690">
              <a:extLst>
                <a:ext uri="{FF2B5EF4-FFF2-40B4-BE49-F238E27FC236}">
                  <a16:creationId xmlns:a16="http://schemas.microsoft.com/office/drawing/2014/main" id="{E37A8482-F458-44CC-B35D-266C59346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2838" y="1736726"/>
              <a:ext cx="301625" cy="415925"/>
            </a:xfrm>
            <a:custGeom>
              <a:avLst/>
              <a:gdLst>
                <a:gd name="T0" fmla="*/ 63 w 132"/>
                <a:gd name="T1" fmla="*/ 0 h 182"/>
                <a:gd name="T2" fmla="*/ 27 w 132"/>
                <a:gd name="T3" fmla="*/ 11 h 182"/>
                <a:gd name="T4" fmla="*/ 1 w 132"/>
                <a:gd name="T5" fmla="*/ 42 h 182"/>
                <a:gd name="T6" fmla="*/ 2 w 132"/>
                <a:gd name="T7" fmla="*/ 50 h 182"/>
                <a:gd name="T8" fmla="*/ 12 w 132"/>
                <a:gd name="T9" fmla="*/ 52 h 182"/>
                <a:gd name="T10" fmla="*/ 20 w 132"/>
                <a:gd name="T11" fmla="*/ 45 h 182"/>
                <a:gd name="T12" fmla="*/ 36 w 132"/>
                <a:gd name="T13" fmla="*/ 57 h 182"/>
                <a:gd name="T14" fmla="*/ 52 w 132"/>
                <a:gd name="T15" fmla="*/ 44 h 182"/>
                <a:gd name="T16" fmla="*/ 66 w 132"/>
                <a:gd name="T17" fmla="*/ 57 h 182"/>
                <a:gd name="T18" fmla="*/ 82 w 132"/>
                <a:gd name="T19" fmla="*/ 44 h 182"/>
                <a:gd name="T20" fmla="*/ 89 w 132"/>
                <a:gd name="T21" fmla="*/ 63 h 182"/>
                <a:gd name="T22" fmla="*/ 106 w 132"/>
                <a:gd name="T23" fmla="*/ 70 h 182"/>
                <a:gd name="T24" fmla="*/ 106 w 132"/>
                <a:gd name="T25" fmla="*/ 87 h 182"/>
                <a:gd name="T26" fmla="*/ 121 w 132"/>
                <a:gd name="T27" fmla="*/ 180 h 182"/>
                <a:gd name="T28" fmla="*/ 128 w 132"/>
                <a:gd name="T29" fmla="*/ 81 h 182"/>
                <a:gd name="T30" fmla="*/ 132 w 132"/>
                <a:gd name="T31" fmla="*/ 50 h 182"/>
                <a:gd name="T32" fmla="*/ 122 w 132"/>
                <a:gd name="T33" fmla="*/ 20 h 182"/>
                <a:gd name="T34" fmla="*/ 94 w 132"/>
                <a:gd name="T35" fmla="*/ 3 h 182"/>
                <a:gd name="T36" fmla="*/ 62 w 132"/>
                <a:gd name="T37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2" h="182">
                  <a:moveTo>
                    <a:pt x="63" y="0"/>
                  </a:moveTo>
                  <a:cubicBezTo>
                    <a:pt x="50" y="0"/>
                    <a:pt x="39" y="4"/>
                    <a:pt x="27" y="11"/>
                  </a:cubicBezTo>
                  <a:cubicBezTo>
                    <a:pt x="15" y="18"/>
                    <a:pt x="5" y="28"/>
                    <a:pt x="1" y="42"/>
                  </a:cubicBezTo>
                  <a:cubicBezTo>
                    <a:pt x="1" y="44"/>
                    <a:pt x="0" y="48"/>
                    <a:pt x="2" y="50"/>
                  </a:cubicBezTo>
                  <a:cubicBezTo>
                    <a:pt x="4" y="53"/>
                    <a:pt x="9" y="54"/>
                    <a:pt x="12" y="52"/>
                  </a:cubicBezTo>
                  <a:cubicBezTo>
                    <a:pt x="16" y="51"/>
                    <a:pt x="18" y="48"/>
                    <a:pt x="20" y="45"/>
                  </a:cubicBezTo>
                  <a:cubicBezTo>
                    <a:pt x="22" y="51"/>
                    <a:pt x="29" y="57"/>
                    <a:pt x="36" y="57"/>
                  </a:cubicBezTo>
                  <a:cubicBezTo>
                    <a:pt x="43" y="57"/>
                    <a:pt x="50" y="51"/>
                    <a:pt x="52" y="44"/>
                  </a:cubicBezTo>
                  <a:cubicBezTo>
                    <a:pt x="52" y="51"/>
                    <a:pt x="59" y="57"/>
                    <a:pt x="66" y="57"/>
                  </a:cubicBezTo>
                  <a:cubicBezTo>
                    <a:pt x="73" y="57"/>
                    <a:pt x="80" y="51"/>
                    <a:pt x="82" y="44"/>
                  </a:cubicBezTo>
                  <a:cubicBezTo>
                    <a:pt x="83" y="51"/>
                    <a:pt x="85" y="58"/>
                    <a:pt x="89" y="63"/>
                  </a:cubicBezTo>
                  <a:cubicBezTo>
                    <a:pt x="93" y="68"/>
                    <a:pt x="99" y="72"/>
                    <a:pt x="106" y="70"/>
                  </a:cubicBezTo>
                  <a:cubicBezTo>
                    <a:pt x="105" y="75"/>
                    <a:pt x="104" y="81"/>
                    <a:pt x="106" y="87"/>
                  </a:cubicBezTo>
                  <a:cubicBezTo>
                    <a:pt x="108" y="92"/>
                    <a:pt x="116" y="182"/>
                    <a:pt x="121" y="180"/>
                  </a:cubicBezTo>
                  <a:cubicBezTo>
                    <a:pt x="126" y="179"/>
                    <a:pt x="126" y="86"/>
                    <a:pt x="128" y="81"/>
                  </a:cubicBezTo>
                  <a:cubicBezTo>
                    <a:pt x="130" y="71"/>
                    <a:pt x="132" y="60"/>
                    <a:pt x="132" y="50"/>
                  </a:cubicBezTo>
                  <a:cubicBezTo>
                    <a:pt x="131" y="39"/>
                    <a:pt x="128" y="28"/>
                    <a:pt x="122" y="20"/>
                  </a:cubicBezTo>
                  <a:cubicBezTo>
                    <a:pt x="115" y="11"/>
                    <a:pt x="105" y="6"/>
                    <a:pt x="94" y="3"/>
                  </a:cubicBezTo>
                  <a:cubicBezTo>
                    <a:pt x="84" y="0"/>
                    <a:pt x="73" y="0"/>
                    <a:pt x="62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2" name="任意多边形: 形状 691">
              <a:extLst>
                <a:ext uri="{FF2B5EF4-FFF2-40B4-BE49-F238E27FC236}">
                  <a16:creationId xmlns:a16="http://schemas.microsoft.com/office/drawing/2014/main" id="{22D65B4D-A5F5-452D-87C1-941FD4076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1438" y="1892301"/>
              <a:ext cx="88900" cy="223838"/>
            </a:xfrm>
            <a:custGeom>
              <a:avLst/>
              <a:gdLst>
                <a:gd name="T0" fmla="*/ 39 w 39"/>
                <a:gd name="T1" fmla="*/ 96 h 98"/>
                <a:gd name="T2" fmla="*/ 37 w 39"/>
                <a:gd name="T3" fmla="*/ 97 h 98"/>
                <a:gd name="T4" fmla="*/ 34 w 39"/>
                <a:gd name="T5" fmla="*/ 98 h 98"/>
                <a:gd name="T6" fmla="*/ 21 w 39"/>
                <a:gd name="T7" fmla="*/ 96 h 98"/>
                <a:gd name="T8" fmla="*/ 5 w 39"/>
                <a:gd name="T9" fmla="*/ 84 h 98"/>
                <a:gd name="T10" fmla="*/ 0 w 39"/>
                <a:gd name="T11" fmla="*/ 61 h 98"/>
                <a:gd name="T12" fmla="*/ 4 w 39"/>
                <a:gd name="T13" fmla="*/ 37 h 98"/>
                <a:gd name="T14" fmla="*/ 6 w 39"/>
                <a:gd name="T15" fmla="*/ 18 h 98"/>
                <a:gd name="T16" fmla="*/ 6 w 39"/>
                <a:gd name="T17" fmla="*/ 5 h 98"/>
                <a:gd name="T18" fmla="*/ 6 w 39"/>
                <a:gd name="T19" fmla="*/ 0 h 98"/>
                <a:gd name="T20" fmla="*/ 6 w 39"/>
                <a:gd name="T21" fmla="*/ 5 h 98"/>
                <a:gd name="T22" fmla="*/ 7 w 39"/>
                <a:gd name="T23" fmla="*/ 18 h 98"/>
                <a:gd name="T24" fmla="*/ 6 w 39"/>
                <a:gd name="T25" fmla="*/ 37 h 98"/>
                <a:gd name="T26" fmla="*/ 2 w 39"/>
                <a:gd name="T27" fmla="*/ 61 h 98"/>
                <a:gd name="T28" fmla="*/ 7 w 39"/>
                <a:gd name="T29" fmla="*/ 83 h 98"/>
                <a:gd name="T30" fmla="*/ 21 w 39"/>
                <a:gd name="T31" fmla="*/ 95 h 98"/>
                <a:gd name="T32" fmla="*/ 34 w 39"/>
                <a:gd name="T33" fmla="*/ 97 h 98"/>
                <a:gd name="T34" fmla="*/ 39 w 39"/>
                <a:gd name="T35" fmla="*/ 9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98">
                  <a:moveTo>
                    <a:pt x="39" y="96"/>
                  </a:moveTo>
                  <a:cubicBezTo>
                    <a:pt x="39" y="96"/>
                    <a:pt x="38" y="97"/>
                    <a:pt x="37" y="97"/>
                  </a:cubicBezTo>
                  <a:cubicBezTo>
                    <a:pt x="37" y="97"/>
                    <a:pt x="35" y="97"/>
                    <a:pt x="34" y="98"/>
                  </a:cubicBezTo>
                  <a:cubicBezTo>
                    <a:pt x="31" y="98"/>
                    <a:pt x="26" y="98"/>
                    <a:pt x="21" y="96"/>
                  </a:cubicBezTo>
                  <a:cubicBezTo>
                    <a:pt x="15" y="95"/>
                    <a:pt x="9" y="91"/>
                    <a:pt x="5" y="84"/>
                  </a:cubicBezTo>
                  <a:cubicBezTo>
                    <a:pt x="1" y="78"/>
                    <a:pt x="0" y="69"/>
                    <a:pt x="0" y="61"/>
                  </a:cubicBezTo>
                  <a:cubicBezTo>
                    <a:pt x="1" y="52"/>
                    <a:pt x="3" y="44"/>
                    <a:pt x="4" y="37"/>
                  </a:cubicBezTo>
                  <a:cubicBezTo>
                    <a:pt x="5" y="30"/>
                    <a:pt x="5" y="23"/>
                    <a:pt x="6" y="18"/>
                  </a:cubicBezTo>
                  <a:cubicBezTo>
                    <a:pt x="6" y="12"/>
                    <a:pt x="6" y="8"/>
                    <a:pt x="6" y="5"/>
                  </a:cubicBezTo>
                  <a:cubicBezTo>
                    <a:pt x="5" y="2"/>
                    <a:pt x="5" y="0"/>
                    <a:pt x="6" y="0"/>
                  </a:cubicBezTo>
                  <a:cubicBezTo>
                    <a:pt x="6" y="0"/>
                    <a:pt x="6" y="2"/>
                    <a:pt x="6" y="5"/>
                  </a:cubicBezTo>
                  <a:cubicBezTo>
                    <a:pt x="7" y="8"/>
                    <a:pt x="7" y="12"/>
                    <a:pt x="7" y="18"/>
                  </a:cubicBezTo>
                  <a:cubicBezTo>
                    <a:pt x="7" y="23"/>
                    <a:pt x="7" y="30"/>
                    <a:pt x="6" y="37"/>
                  </a:cubicBezTo>
                  <a:cubicBezTo>
                    <a:pt x="5" y="45"/>
                    <a:pt x="3" y="53"/>
                    <a:pt x="2" y="61"/>
                  </a:cubicBezTo>
                  <a:cubicBezTo>
                    <a:pt x="2" y="69"/>
                    <a:pt x="3" y="77"/>
                    <a:pt x="7" y="83"/>
                  </a:cubicBezTo>
                  <a:cubicBezTo>
                    <a:pt x="11" y="89"/>
                    <a:pt x="16" y="93"/>
                    <a:pt x="21" y="95"/>
                  </a:cubicBezTo>
                  <a:cubicBezTo>
                    <a:pt x="26" y="97"/>
                    <a:pt x="31" y="97"/>
                    <a:pt x="34" y="97"/>
                  </a:cubicBezTo>
                  <a:cubicBezTo>
                    <a:pt x="37" y="97"/>
                    <a:pt x="39" y="96"/>
                    <a:pt x="39" y="9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3" name="任意多边形: 形状 692">
              <a:extLst>
                <a:ext uri="{FF2B5EF4-FFF2-40B4-BE49-F238E27FC236}">
                  <a16:creationId xmlns:a16="http://schemas.microsoft.com/office/drawing/2014/main" id="{E1CBA12D-E011-4B1A-BE0A-C0AD030E8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7763" y="1725613"/>
              <a:ext cx="84138" cy="85725"/>
            </a:xfrm>
            <a:custGeom>
              <a:avLst/>
              <a:gdLst>
                <a:gd name="T0" fmla="*/ 35 w 37"/>
                <a:gd name="T1" fmla="*/ 0 h 38"/>
                <a:gd name="T2" fmla="*/ 37 w 37"/>
                <a:gd name="T3" fmla="*/ 9 h 38"/>
                <a:gd name="T4" fmla="*/ 29 w 37"/>
                <a:gd name="T5" fmla="*/ 29 h 38"/>
                <a:gd name="T6" fmla="*/ 9 w 37"/>
                <a:gd name="T7" fmla="*/ 38 h 38"/>
                <a:gd name="T8" fmla="*/ 0 w 37"/>
                <a:gd name="T9" fmla="*/ 36 h 38"/>
                <a:gd name="T10" fmla="*/ 9 w 37"/>
                <a:gd name="T11" fmla="*/ 37 h 38"/>
                <a:gd name="T12" fmla="*/ 27 w 37"/>
                <a:gd name="T13" fmla="*/ 28 h 38"/>
                <a:gd name="T14" fmla="*/ 36 w 37"/>
                <a:gd name="T15" fmla="*/ 9 h 38"/>
                <a:gd name="T16" fmla="*/ 35 w 37"/>
                <a:gd name="T1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8">
                  <a:moveTo>
                    <a:pt x="35" y="0"/>
                  </a:moveTo>
                  <a:cubicBezTo>
                    <a:pt x="35" y="0"/>
                    <a:pt x="37" y="3"/>
                    <a:pt x="37" y="9"/>
                  </a:cubicBezTo>
                  <a:cubicBezTo>
                    <a:pt x="37" y="14"/>
                    <a:pt x="35" y="23"/>
                    <a:pt x="29" y="29"/>
                  </a:cubicBezTo>
                  <a:cubicBezTo>
                    <a:pt x="23" y="36"/>
                    <a:pt x="14" y="38"/>
                    <a:pt x="9" y="38"/>
                  </a:cubicBezTo>
                  <a:cubicBezTo>
                    <a:pt x="3" y="38"/>
                    <a:pt x="0" y="37"/>
                    <a:pt x="0" y="36"/>
                  </a:cubicBezTo>
                  <a:cubicBezTo>
                    <a:pt x="0" y="36"/>
                    <a:pt x="3" y="37"/>
                    <a:pt x="9" y="37"/>
                  </a:cubicBezTo>
                  <a:cubicBezTo>
                    <a:pt x="14" y="36"/>
                    <a:pt x="22" y="34"/>
                    <a:pt x="27" y="28"/>
                  </a:cubicBezTo>
                  <a:cubicBezTo>
                    <a:pt x="33" y="22"/>
                    <a:pt x="35" y="14"/>
                    <a:pt x="36" y="9"/>
                  </a:cubicBezTo>
                  <a:cubicBezTo>
                    <a:pt x="36" y="3"/>
                    <a:pt x="35" y="0"/>
                    <a:pt x="35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4" name="任意多边形: 形状 693">
              <a:extLst>
                <a:ext uri="{FF2B5EF4-FFF2-40B4-BE49-F238E27FC236}">
                  <a16:creationId xmlns:a16="http://schemas.microsoft.com/office/drawing/2014/main" id="{525DB409-914E-43F9-BB25-94279B72A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7288" y="1825626"/>
              <a:ext cx="84138" cy="25400"/>
            </a:xfrm>
            <a:custGeom>
              <a:avLst/>
              <a:gdLst>
                <a:gd name="T0" fmla="*/ 37 w 37"/>
                <a:gd name="T1" fmla="*/ 0 h 11"/>
                <a:gd name="T2" fmla="*/ 33 w 37"/>
                <a:gd name="T3" fmla="*/ 6 h 11"/>
                <a:gd name="T4" fmla="*/ 19 w 37"/>
                <a:gd name="T5" fmla="*/ 10 h 11"/>
                <a:gd name="T6" fmla="*/ 5 w 37"/>
                <a:gd name="T7" fmla="*/ 6 h 11"/>
                <a:gd name="T8" fmla="*/ 0 w 37"/>
                <a:gd name="T9" fmla="*/ 2 h 11"/>
                <a:gd name="T10" fmla="*/ 6 w 37"/>
                <a:gd name="T11" fmla="*/ 4 h 11"/>
                <a:gd name="T12" fmla="*/ 19 w 37"/>
                <a:gd name="T13" fmla="*/ 8 h 11"/>
                <a:gd name="T14" fmla="*/ 33 w 37"/>
                <a:gd name="T15" fmla="*/ 4 h 11"/>
                <a:gd name="T16" fmla="*/ 37 w 37"/>
                <a:gd name="T1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11">
                  <a:moveTo>
                    <a:pt x="37" y="0"/>
                  </a:moveTo>
                  <a:cubicBezTo>
                    <a:pt x="37" y="0"/>
                    <a:pt x="36" y="3"/>
                    <a:pt x="33" y="6"/>
                  </a:cubicBezTo>
                  <a:cubicBezTo>
                    <a:pt x="31" y="8"/>
                    <a:pt x="25" y="11"/>
                    <a:pt x="19" y="10"/>
                  </a:cubicBezTo>
                  <a:cubicBezTo>
                    <a:pt x="13" y="10"/>
                    <a:pt x="8" y="7"/>
                    <a:pt x="5" y="6"/>
                  </a:cubicBezTo>
                  <a:cubicBezTo>
                    <a:pt x="2" y="4"/>
                    <a:pt x="0" y="2"/>
                    <a:pt x="0" y="2"/>
                  </a:cubicBezTo>
                  <a:cubicBezTo>
                    <a:pt x="1" y="1"/>
                    <a:pt x="3" y="3"/>
                    <a:pt x="6" y="4"/>
                  </a:cubicBezTo>
                  <a:cubicBezTo>
                    <a:pt x="9" y="6"/>
                    <a:pt x="14" y="8"/>
                    <a:pt x="19" y="8"/>
                  </a:cubicBezTo>
                  <a:cubicBezTo>
                    <a:pt x="25" y="9"/>
                    <a:pt x="30" y="7"/>
                    <a:pt x="33" y="4"/>
                  </a:cubicBezTo>
                  <a:cubicBezTo>
                    <a:pt x="35" y="2"/>
                    <a:pt x="36" y="0"/>
                    <a:pt x="3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5" name="任意多边形: 形状 694">
              <a:extLst>
                <a:ext uri="{FF2B5EF4-FFF2-40B4-BE49-F238E27FC236}">
                  <a16:creationId xmlns:a16="http://schemas.microsoft.com/office/drawing/2014/main" id="{72A20885-B639-47FA-920E-17C0356EB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2551" y="1800226"/>
              <a:ext cx="95250" cy="104775"/>
            </a:xfrm>
            <a:custGeom>
              <a:avLst/>
              <a:gdLst>
                <a:gd name="T0" fmla="*/ 41 w 41"/>
                <a:gd name="T1" fmla="*/ 0 h 46"/>
                <a:gd name="T2" fmla="*/ 40 w 41"/>
                <a:gd name="T3" fmla="*/ 10 h 46"/>
                <a:gd name="T4" fmla="*/ 31 w 41"/>
                <a:gd name="T5" fmla="*/ 33 h 46"/>
                <a:gd name="T6" fmla="*/ 10 w 41"/>
                <a:gd name="T7" fmla="*/ 45 h 46"/>
                <a:gd name="T8" fmla="*/ 2 w 41"/>
                <a:gd name="T9" fmla="*/ 45 h 46"/>
                <a:gd name="T10" fmla="*/ 0 w 41"/>
                <a:gd name="T11" fmla="*/ 43 h 46"/>
                <a:gd name="T12" fmla="*/ 10 w 41"/>
                <a:gd name="T13" fmla="*/ 44 h 46"/>
                <a:gd name="T14" fmla="*/ 30 w 41"/>
                <a:gd name="T15" fmla="*/ 32 h 46"/>
                <a:gd name="T16" fmla="*/ 39 w 41"/>
                <a:gd name="T17" fmla="*/ 10 h 46"/>
                <a:gd name="T18" fmla="*/ 41 w 41"/>
                <a:gd name="T1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6">
                  <a:moveTo>
                    <a:pt x="41" y="0"/>
                  </a:moveTo>
                  <a:cubicBezTo>
                    <a:pt x="41" y="0"/>
                    <a:pt x="41" y="4"/>
                    <a:pt x="40" y="10"/>
                  </a:cubicBezTo>
                  <a:cubicBezTo>
                    <a:pt x="39" y="16"/>
                    <a:pt x="37" y="25"/>
                    <a:pt x="31" y="33"/>
                  </a:cubicBezTo>
                  <a:cubicBezTo>
                    <a:pt x="25" y="41"/>
                    <a:pt x="16" y="45"/>
                    <a:pt x="10" y="45"/>
                  </a:cubicBezTo>
                  <a:cubicBezTo>
                    <a:pt x="6" y="46"/>
                    <a:pt x="4" y="45"/>
                    <a:pt x="2" y="45"/>
                  </a:cubicBezTo>
                  <a:cubicBezTo>
                    <a:pt x="0" y="44"/>
                    <a:pt x="0" y="44"/>
                    <a:pt x="0" y="43"/>
                  </a:cubicBezTo>
                  <a:cubicBezTo>
                    <a:pt x="0" y="43"/>
                    <a:pt x="3" y="45"/>
                    <a:pt x="10" y="44"/>
                  </a:cubicBezTo>
                  <a:cubicBezTo>
                    <a:pt x="16" y="43"/>
                    <a:pt x="24" y="39"/>
                    <a:pt x="30" y="32"/>
                  </a:cubicBezTo>
                  <a:cubicBezTo>
                    <a:pt x="35" y="24"/>
                    <a:pt x="38" y="16"/>
                    <a:pt x="39" y="10"/>
                  </a:cubicBezTo>
                  <a:cubicBezTo>
                    <a:pt x="40" y="4"/>
                    <a:pt x="41" y="0"/>
                    <a:pt x="41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6" name="任意多边形: 形状 695">
              <a:extLst>
                <a:ext uri="{FF2B5EF4-FFF2-40B4-BE49-F238E27FC236}">
                  <a16:creationId xmlns:a16="http://schemas.microsoft.com/office/drawing/2014/main" id="{355F5881-A444-4A31-B46C-D3582D193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7313" y="1841501"/>
              <a:ext cx="107950" cy="112713"/>
            </a:xfrm>
            <a:custGeom>
              <a:avLst/>
              <a:gdLst>
                <a:gd name="T0" fmla="*/ 46 w 47"/>
                <a:gd name="T1" fmla="*/ 0 h 49"/>
                <a:gd name="T2" fmla="*/ 47 w 47"/>
                <a:gd name="T3" fmla="*/ 3 h 49"/>
                <a:gd name="T4" fmla="*/ 47 w 47"/>
                <a:gd name="T5" fmla="*/ 12 h 49"/>
                <a:gd name="T6" fmla="*/ 37 w 47"/>
                <a:gd name="T7" fmla="*/ 39 h 49"/>
                <a:gd name="T8" fmla="*/ 24 w 47"/>
                <a:gd name="T9" fmla="*/ 48 h 49"/>
                <a:gd name="T10" fmla="*/ 10 w 47"/>
                <a:gd name="T11" fmla="*/ 49 h 49"/>
                <a:gd name="T12" fmla="*/ 2 w 47"/>
                <a:gd name="T13" fmla="*/ 45 h 49"/>
                <a:gd name="T14" fmla="*/ 0 w 47"/>
                <a:gd name="T15" fmla="*/ 43 h 49"/>
                <a:gd name="T16" fmla="*/ 11 w 47"/>
                <a:gd name="T17" fmla="*/ 47 h 49"/>
                <a:gd name="T18" fmla="*/ 23 w 47"/>
                <a:gd name="T19" fmla="*/ 46 h 49"/>
                <a:gd name="T20" fmla="*/ 35 w 47"/>
                <a:gd name="T21" fmla="*/ 37 h 49"/>
                <a:gd name="T22" fmla="*/ 45 w 47"/>
                <a:gd name="T23" fmla="*/ 12 h 49"/>
                <a:gd name="T24" fmla="*/ 46 w 47"/>
                <a:gd name="T25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" h="49">
                  <a:moveTo>
                    <a:pt x="46" y="0"/>
                  </a:moveTo>
                  <a:cubicBezTo>
                    <a:pt x="46" y="0"/>
                    <a:pt x="46" y="1"/>
                    <a:pt x="47" y="3"/>
                  </a:cubicBezTo>
                  <a:cubicBezTo>
                    <a:pt x="47" y="5"/>
                    <a:pt x="47" y="8"/>
                    <a:pt x="47" y="12"/>
                  </a:cubicBezTo>
                  <a:cubicBezTo>
                    <a:pt x="47" y="19"/>
                    <a:pt x="45" y="30"/>
                    <a:pt x="37" y="39"/>
                  </a:cubicBezTo>
                  <a:cubicBezTo>
                    <a:pt x="33" y="43"/>
                    <a:pt x="28" y="46"/>
                    <a:pt x="24" y="48"/>
                  </a:cubicBezTo>
                  <a:cubicBezTo>
                    <a:pt x="19" y="49"/>
                    <a:pt x="14" y="49"/>
                    <a:pt x="10" y="49"/>
                  </a:cubicBezTo>
                  <a:cubicBezTo>
                    <a:pt x="7" y="48"/>
                    <a:pt x="4" y="46"/>
                    <a:pt x="2" y="45"/>
                  </a:cubicBezTo>
                  <a:cubicBezTo>
                    <a:pt x="0" y="44"/>
                    <a:pt x="0" y="43"/>
                    <a:pt x="0" y="43"/>
                  </a:cubicBezTo>
                  <a:cubicBezTo>
                    <a:pt x="0" y="43"/>
                    <a:pt x="3" y="46"/>
                    <a:pt x="11" y="47"/>
                  </a:cubicBezTo>
                  <a:cubicBezTo>
                    <a:pt x="14" y="48"/>
                    <a:pt x="18" y="48"/>
                    <a:pt x="23" y="46"/>
                  </a:cubicBezTo>
                  <a:cubicBezTo>
                    <a:pt x="27" y="45"/>
                    <a:pt x="32" y="42"/>
                    <a:pt x="35" y="37"/>
                  </a:cubicBezTo>
                  <a:cubicBezTo>
                    <a:pt x="43" y="29"/>
                    <a:pt x="45" y="19"/>
                    <a:pt x="45" y="12"/>
                  </a:cubicBezTo>
                  <a:cubicBezTo>
                    <a:pt x="46" y="4"/>
                    <a:pt x="46" y="0"/>
                    <a:pt x="46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7" name="任意多边形: 形状 696">
              <a:extLst>
                <a:ext uri="{FF2B5EF4-FFF2-40B4-BE49-F238E27FC236}">
                  <a16:creationId xmlns:a16="http://schemas.microsoft.com/office/drawing/2014/main" id="{1313C520-7872-4FE9-B3CA-BC589F1EB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0488" y="2943226"/>
              <a:ext cx="392113" cy="381000"/>
            </a:xfrm>
            <a:custGeom>
              <a:avLst/>
              <a:gdLst>
                <a:gd name="T0" fmla="*/ 105 w 247"/>
                <a:gd name="T1" fmla="*/ 1 h 240"/>
                <a:gd name="T2" fmla="*/ 0 w 247"/>
                <a:gd name="T3" fmla="*/ 240 h 240"/>
                <a:gd name="T4" fmla="*/ 144 w 247"/>
                <a:gd name="T5" fmla="*/ 240 h 240"/>
                <a:gd name="T6" fmla="*/ 247 w 247"/>
                <a:gd name="T7" fmla="*/ 0 h 240"/>
                <a:gd name="T8" fmla="*/ 105 w 247"/>
                <a:gd name="T9" fmla="*/ 1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40">
                  <a:moveTo>
                    <a:pt x="105" y="1"/>
                  </a:moveTo>
                  <a:lnTo>
                    <a:pt x="0" y="240"/>
                  </a:lnTo>
                  <a:lnTo>
                    <a:pt x="144" y="240"/>
                  </a:lnTo>
                  <a:lnTo>
                    <a:pt x="247" y="0"/>
                  </a:lnTo>
                  <a:lnTo>
                    <a:pt x="105" y="1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8" name="任意多边形: 形状 697">
              <a:extLst>
                <a:ext uri="{FF2B5EF4-FFF2-40B4-BE49-F238E27FC236}">
                  <a16:creationId xmlns:a16="http://schemas.microsoft.com/office/drawing/2014/main" id="{CF87838C-039B-48A9-82AA-C4F53533C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176" y="2516188"/>
              <a:ext cx="784225" cy="395288"/>
            </a:xfrm>
            <a:custGeom>
              <a:avLst/>
              <a:gdLst>
                <a:gd name="T0" fmla="*/ 3 w 343"/>
                <a:gd name="T1" fmla="*/ 12 h 173"/>
                <a:gd name="T2" fmla="*/ 85 w 343"/>
                <a:gd name="T3" fmla="*/ 173 h 173"/>
                <a:gd name="T4" fmla="*/ 343 w 343"/>
                <a:gd name="T5" fmla="*/ 173 h 173"/>
                <a:gd name="T6" fmla="*/ 333 w 343"/>
                <a:gd name="T7" fmla="*/ 152 h 173"/>
                <a:gd name="T8" fmla="*/ 258 w 343"/>
                <a:gd name="T9" fmla="*/ 150 h 173"/>
                <a:gd name="T10" fmla="*/ 197 w 343"/>
                <a:gd name="T11" fmla="*/ 14 h 173"/>
                <a:gd name="T12" fmla="*/ 175 w 343"/>
                <a:gd name="T13" fmla="*/ 0 h 173"/>
                <a:gd name="T14" fmla="*/ 10 w 343"/>
                <a:gd name="T15" fmla="*/ 0 h 173"/>
                <a:gd name="T16" fmla="*/ 3 w 343"/>
                <a:gd name="T17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173">
                  <a:moveTo>
                    <a:pt x="3" y="12"/>
                  </a:moveTo>
                  <a:cubicBezTo>
                    <a:pt x="85" y="173"/>
                    <a:pt x="85" y="173"/>
                    <a:pt x="85" y="173"/>
                  </a:cubicBezTo>
                  <a:cubicBezTo>
                    <a:pt x="343" y="173"/>
                    <a:pt x="343" y="173"/>
                    <a:pt x="343" y="173"/>
                  </a:cubicBezTo>
                  <a:cubicBezTo>
                    <a:pt x="333" y="152"/>
                    <a:pt x="333" y="152"/>
                    <a:pt x="333" y="152"/>
                  </a:cubicBezTo>
                  <a:cubicBezTo>
                    <a:pt x="258" y="150"/>
                    <a:pt x="258" y="150"/>
                    <a:pt x="258" y="150"/>
                  </a:cubicBezTo>
                  <a:cubicBezTo>
                    <a:pt x="197" y="14"/>
                    <a:pt x="197" y="14"/>
                    <a:pt x="197" y="14"/>
                  </a:cubicBezTo>
                  <a:cubicBezTo>
                    <a:pt x="193" y="5"/>
                    <a:pt x="185" y="0"/>
                    <a:pt x="17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6"/>
                    <a:pt x="3" y="12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9" name="椭圆 698">
              <a:extLst>
                <a:ext uri="{FF2B5EF4-FFF2-40B4-BE49-F238E27FC236}">
                  <a16:creationId xmlns:a16="http://schemas.microsoft.com/office/drawing/2014/main" id="{CB5A2621-F016-4A88-9ABB-031724142F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8938" y="2684463"/>
              <a:ext cx="42863" cy="46038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0" name="矩形 699">
              <a:extLst>
                <a:ext uri="{FF2B5EF4-FFF2-40B4-BE49-F238E27FC236}">
                  <a16:creationId xmlns:a16="http://schemas.microsoft.com/office/drawing/2014/main" id="{FDE7D25B-6996-4BAD-93F5-FA559C0DC5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5588" y="2911476"/>
              <a:ext cx="722313" cy="36513"/>
            </a:xfrm>
            <a:prstGeom prst="rect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1" name="任意多边形: 形状 700">
              <a:extLst>
                <a:ext uri="{FF2B5EF4-FFF2-40B4-BE49-F238E27FC236}">
                  <a16:creationId xmlns:a16="http://schemas.microsoft.com/office/drawing/2014/main" id="{C9BAD6A9-705E-4C51-BE23-437001F83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4063" y="2928938"/>
              <a:ext cx="369888" cy="398463"/>
            </a:xfrm>
            <a:custGeom>
              <a:avLst/>
              <a:gdLst>
                <a:gd name="T0" fmla="*/ 0 w 233"/>
                <a:gd name="T1" fmla="*/ 0 h 251"/>
                <a:gd name="T2" fmla="*/ 138 w 233"/>
                <a:gd name="T3" fmla="*/ 251 h 251"/>
                <a:gd name="T4" fmla="*/ 205 w 233"/>
                <a:gd name="T5" fmla="*/ 251 h 251"/>
                <a:gd name="T6" fmla="*/ 219 w 233"/>
                <a:gd name="T7" fmla="*/ 222 h 251"/>
                <a:gd name="T8" fmla="*/ 233 w 233"/>
                <a:gd name="T9" fmla="*/ 192 h 251"/>
                <a:gd name="T10" fmla="*/ 141 w 233"/>
                <a:gd name="T11" fmla="*/ 12 h 251"/>
                <a:gd name="T12" fmla="*/ 0 w 233"/>
                <a:gd name="T13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3" h="251">
                  <a:moveTo>
                    <a:pt x="0" y="0"/>
                  </a:moveTo>
                  <a:lnTo>
                    <a:pt x="138" y="251"/>
                  </a:lnTo>
                  <a:lnTo>
                    <a:pt x="205" y="251"/>
                  </a:lnTo>
                  <a:lnTo>
                    <a:pt x="219" y="222"/>
                  </a:lnTo>
                  <a:lnTo>
                    <a:pt x="233" y="192"/>
                  </a:lnTo>
                  <a:lnTo>
                    <a:pt x="141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2" name="任意多边形: 形状 701">
              <a:extLst>
                <a:ext uri="{FF2B5EF4-FFF2-40B4-BE49-F238E27FC236}">
                  <a16:creationId xmlns:a16="http://schemas.microsoft.com/office/drawing/2014/main" id="{915419ED-F731-4A78-8939-D35BC3440D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663" y="2247901"/>
              <a:ext cx="153988" cy="254000"/>
            </a:xfrm>
            <a:custGeom>
              <a:avLst/>
              <a:gdLst>
                <a:gd name="T0" fmla="*/ 67 w 67"/>
                <a:gd name="T1" fmla="*/ 0 h 111"/>
                <a:gd name="T2" fmla="*/ 0 w 67"/>
                <a:gd name="T3" fmla="*/ 82 h 111"/>
                <a:gd name="T4" fmla="*/ 58 w 67"/>
                <a:gd name="T5" fmla="*/ 111 h 111"/>
                <a:gd name="T6" fmla="*/ 67 w 67"/>
                <a:gd name="T7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7" h="111">
                  <a:moveTo>
                    <a:pt x="67" y="0"/>
                  </a:moveTo>
                  <a:cubicBezTo>
                    <a:pt x="67" y="0"/>
                    <a:pt x="12" y="20"/>
                    <a:pt x="0" y="82"/>
                  </a:cubicBezTo>
                  <a:cubicBezTo>
                    <a:pt x="58" y="111"/>
                    <a:pt x="58" y="111"/>
                    <a:pt x="58" y="111"/>
                  </a:cubicBezTo>
                  <a:lnTo>
                    <a:pt x="67" y="0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3" name="任意多边形: 形状 702">
              <a:extLst>
                <a:ext uri="{FF2B5EF4-FFF2-40B4-BE49-F238E27FC236}">
                  <a16:creationId xmlns:a16="http://schemas.microsoft.com/office/drawing/2014/main" id="{49250885-070C-4851-84C2-72CC89FBF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6163" y="2220913"/>
              <a:ext cx="485775" cy="720725"/>
            </a:xfrm>
            <a:custGeom>
              <a:avLst/>
              <a:gdLst>
                <a:gd name="T0" fmla="*/ 39 w 212"/>
                <a:gd name="T1" fmla="*/ 12 h 315"/>
                <a:gd name="T2" fmla="*/ 2 w 212"/>
                <a:gd name="T3" fmla="*/ 147 h 315"/>
                <a:gd name="T4" fmla="*/ 13 w 212"/>
                <a:gd name="T5" fmla="*/ 207 h 315"/>
                <a:gd name="T6" fmla="*/ 33 w 212"/>
                <a:gd name="T7" fmla="*/ 315 h 315"/>
                <a:gd name="T8" fmla="*/ 192 w 212"/>
                <a:gd name="T9" fmla="*/ 294 h 315"/>
                <a:gd name="T10" fmla="*/ 187 w 212"/>
                <a:gd name="T11" fmla="*/ 205 h 315"/>
                <a:gd name="T12" fmla="*/ 212 w 212"/>
                <a:gd name="T13" fmla="*/ 36 h 315"/>
                <a:gd name="T14" fmla="*/ 148 w 212"/>
                <a:gd name="T15" fmla="*/ 5 h 315"/>
                <a:gd name="T16" fmla="*/ 39 w 212"/>
                <a:gd name="T17" fmla="*/ 1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315">
                  <a:moveTo>
                    <a:pt x="39" y="12"/>
                  </a:moveTo>
                  <a:cubicBezTo>
                    <a:pt x="39" y="12"/>
                    <a:pt x="0" y="99"/>
                    <a:pt x="2" y="147"/>
                  </a:cubicBezTo>
                  <a:cubicBezTo>
                    <a:pt x="2" y="164"/>
                    <a:pt x="13" y="207"/>
                    <a:pt x="13" y="207"/>
                  </a:cubicBezTo>
                  <a:cubicBezTo>
                    <a:pt x="33" y="315"/>
                    <a:pt x="33" y="315"/>
                    <a:pt x="33" y="315"/>
                  </a:cubicBezTo>
                  <a:cubicBezTo>
                    <a:pt x="33" y="315"/>
                    <a:pt x="189" y="294"/>
                    <a:pt x="192" y="294"/>
                  </a:cubicBezTo>
                  <a:cubicBezTo>
                    <a:pt x="196" y="294"/>
                    <a:pt x="187" y="205"/>
                    <a:pt x="187" y="205"/>
                  </a:cubicBezTo>
                  <a:cubicBezTo>
                    <a:pt x="212" y="36"/>
                    <a:pt x="212" y="36"/>
                    <a:pt x="212" y="36"/>
                  </a:cubicBezTo>
                  <a:cubicBezTo>
                    <a:pt x="212" y="36"/>
                    <a:pt x="201" y="13"/>
                    <a:pt x="148" y="5"/>
                  </a:cubicBezTo>
                  <a:cubicBezTo>
                    <a:pt x="117" y="0"/>
                    <a:pt x="39" y="12"/>
                    <a:pt x="39" y="12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4" name="任意多边形: 形状 703">
              <a:extLst>
                <a:ext uri="{FF2B5EF4-FFF2-40B4-BE49-F238E27FC236}">
                  <a16:creationId xmlns:a16="http://schemas.microsoft.com/office/drawing/2014/main" id="{3BDC1BE1-47F4-4D19-9D81-2BF850955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9338" y="2365376"/>
              <a:ext cx="53975" cy="298450"/>
            </a:xfrm>
            <a:custGeom>
              <a:avLst/>
              <a:gdLst>
                <a:gd name="T0" fmla="*/ 24 w 24"/>
                <a:gd name="T1" fmla="*/ 0 h 131"/>
                <a:gd name="T2" fmla="*/ 15 w 24"/>
                <a:gd name="T3" fmla="*/ 18 h 131"/>
                <a:gd name="T4" fmla="*/ 8 w 24"/>
                <a:gd name="T5" fmla="*/ 38 h 131"/>
                <a:gd name="T6" fmla="*/ 3 w 24"/>
                <a:gd name="T7" fmla="*/ 64 h 131"/>
                <a:gd name="T8" fmla="*/ 2 w 24"/>
                <a:gd name="T9" fmla="*/ 90 h 131"/>
                <a:gd name="T10" fmla="*/ 4 w 24"/>
                <a:gd name="T11" fmla="*/ 112 h 131"/>
                <a:gd name="T12" fmla="*/ 9 w 24"/>
                <a:gd name="T13" fmla="*/ 131 h 131"/>
                <a:gd name="T14" fmla="*/ 7 w 24"/>
                <a:gd name="T15" fmla="*/ 126 h 131"/>
                <a:gd name="T16" fmla="*/ 5 w 24"/>
                <a:gd name="T17" fmla="*/ 120 h 131"/>
                <a:gd name="T18" fmla="*/ 3 w 24"/>
                <a:gd name="T19" fmla="*/ 112 h 131"/>
                <a:gd name="T20" fmla="*/ 0 w 24"/>
                <a:gd name="T21" fmla="*/ 90 h 131"/>
                <a:gd name="T22" fmla="*/ 1 w 24"/>
                <a:gd name="T23" fmla="*/ 64 h 131"/>
                <a:gd name="T24" fmla="*/ 6 w 24"/>
                <a:gd name="T25" fmla="*/ 38 h 131"/>
                <a:gd name="T26" fmla="*/ 14 w 24"/>
                <a:gd name="T27" fmla="*/ 17 h 131"/>
                <a:gd name="T28" fmla="*/ 18 w 24"/>
                <a:gd name="T29" fmla="*/ 10 h 131"/>
                <a:gd name="T30" fmla="*/ 21 w 24"/>
                <a:gd name="T31" fmla="*/ 4 h 131"/>
                <a:gd name="T32" fmla="*/ 24 w 24"/>
                <a:gd name="T33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131">
                  <a:moveTo>
                    <a:pt x="24" y="0"/>
                  </a:moveTo>
                  <a:cubicBezTo>
                    <a:pt x="24" y="0"/>
                    <a:pt x="20" y="6"/>
                    <a:pt x="15" y="18"/>
                  </a:cubicBezTo>
                  <a:cubicBezTo>
                    <a:pt x="13" y="23"/>
                    <a:pt x="10" y="30"/>
                    <a:pt x="8" y="38"/>
                  </a:cubicBezTo>
                  <a:cubicBezTo>
                    <a:pt x="6" y="46"/>
                    <a:pt x="4" y="55"/>
                    <a:pt x="3" y="64"/>
                  </a:cubicBezTo>
                  <a:cubicBezTo>
                    <a:pt x="2" y="73"/>
                    <a:pt x="2" y="82"/>
                    <a:pt x="2" y="90"/>
                  </a:cubicBezTo>
                  <a:cubicBezTo>
                    <a:pt x="2" y="98"/>
                    <a:pt x="3" y="106"/>
                    <a:pt x="4" y="112"/>
                  </a:cubicBezTo>
                  <a:cubicBezTo>
                    <a:pt x="7" y="124"/>
                    <a:pt x="9" y="131"/>
                    <a:pt x="9" y="131"/>
                  </a:cubicBezTo>
                  <a:cubicBezTo>
                    <a:pt x="9" y="131"/>
                    <a:pt x="8" y="129"/>
                    <a:pt x="7" y="126"/>
                  </a:cubicBezTo>
                  <a:cubicBezTo>
                    <a:pt x="6" y="125"/>
                    <a:pt x="6" y="123"/>
                    <a:pt x="5" y="120"/>
                  </a:cubicBezTo>
                  <a:cubicBezTo>
                    <a:pt x="4" y="118"/>
                    <a:pt x="4" y="115"/>
                    <a:pt x="3" y="112"/>
                  </a:cubicBezTo>
                  <a:cubicBezTo>
                    <a:pt x="2" y="106"/>
                    <a:pt x="1" y="99"/>
                    <a:pt x="0" y="90"/>
                  </a:cubicBezTo>
                  <a:cubicBezTo>
                    <a:pt x="0" y="82"/>
                    <a:pt x="0" y="73"/>
                    <a:pt x="1" y="64"/>
                  </a:cubicBezTo>
                  <a:cubicBezTo>
                    <a:pt x="2" y="54"/>
                    <a:pt x="4" y="45"/>
                    <a:pt x="6" y="38"/>
                  </a:cubicBezTo>
                  <a:cubicBezTo>
                    <a:pt x="8" y="30"/>
                    <a:pt x="11" y="23"/>
                    <a:pt x="14" y="17"/>
                  </a:cubicBezTo>
                  <a:cubicBezTo>
                    <a:pt x="15" y="14"/>
                    <a:pt x="16" y="12"/>
                    <a:pt x="18" y="10"/>
                  </a:cubicBezTo>
                  <a:cubicBezTo>
                    <a:pt x="19" y="7"/>
                    <a:pt x="20" y="6"/>
                    <a:pt x="21" y="4"/>
                  </a:cubicBezTo>
                  <a:cubicBezTo>
                    <a:pt x="23" y="1"/>
                    <a:pt x="24" y="0"/>
                    <a:pt x="2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5" name="任意多边形: 形状 704">
              <a:extLst>
                <a:ext uri="{FF2B5EF4-FFF2-40B4-BE49-F238E27FC236}">
                  <a16:creationId xmlns:a16="http://schemas.microsoft.com/office/drawing/2014/main" id="{392C0AB1-6213-4870-8A1F-3AD6CA6E9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9513" y="2168526"/>
              <a:ext cx="228600" cy="176213"/>
            </a:xfrm>
            <a:custGeom>
              <a:avLst/>
              <a:gdLst>
                <a:gd name="T0" fmla="*/ 0 w 100"/>
                <a:gd name="T1" fmla="*/ 34 h 77"/>
                <a:gd name="T2" fmla="*/ 2 w 100"/>
                <a:gd name="T3" fmla="*/ 10 h 77"/>
                <a:gd name="T4" fmla="*/ 12 w 100"/>
                <a:gd name="T5" fmla="*/ 1 h 77"/>
                <a:gd name="T6" fmla="*/ 89 w 100"/>
                <a:gd name="T7" fmla="*/ 0 h 77"/>
                <a:gd name="T8" fmla="*/ 98 w 100"/>
                <a:gd name="T9" fmla="*/ 8 h 77"/>
                <a:gd name="T10" fmla="*/ 100 w 100"/>
                <a:gd name="T11" fmla="*/ 34 h 77"/>
                <a:gd name="T12" fmla="*/ 69 w 100"/>
                <a:gd name="T13" fmla="*/ 65 h 77"/>
                <a:gd name="T14" fmla="*/ 12 w 100"/>
                <a:gd name="T15" fmla="*/ 77 h 77"/>
                <a:gd name="T16" fmla="*/ 0 w 100"/>
                <a:gd name="T17" fmla="*/ 3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" h="77">
                  <a:moveTo>
                    <a:pt x="0" y="34"/>
                  </a:moveTo>
                  <a:cubicBezTo>
                    <a:pt x="2" y="10"/>
                    <a:pt x="2" y="10"/>
                    <a:pt x="2" y="10"/>
                  </a:cubicBezTo>
                  <a:cubicBezTo>
                    <a:pt x="3" y="5"/>
                    <a:pt x="7" y="1"/>
                    <a:pt x="12" y="1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4" y="0"/>
                    <a:pt x="98" y="4"/>
                    <a:pt x="98" y="8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92" y="55"/>
                    <a:pt x="69" y="65"/>
                  </a:cubicBezTo>
                  <a:cubicBezTo>
                    <a:pt x="47" y="76"/>
                    <a:pt x="12" y="77"/>
                    <a:pt x="12" y="77"/>
                  </a:cubicBezTo>
                  <a:lnTo>
                    <a:pt x="0" y="34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6" name="任意多边形: 形状 705">
              <a:extLst>
                <a:ext uri="{FF2B5EF4-FFF2-40B4-BE49-F238E27FC236}">
                  <a16:creationId xmlns:a16="http://schemas.microsoft.com/office/drawing/2014/main" id="{926890A2-1352-4DDF-B3A6-9D95FDD50F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6026" y="2170113"/>
              <a:ext cx="9525" cy="71438"/>
            </a:xfrm>
            <a:custGeom>
              <a:avLst/>
              <a:gdLst>
                <a:gd name="T0" fmla="*/ 4 w 4"/>
                <a:gd name="T1" fmla="*/ 0 h 31"/>
                <a:gd name="T2" fmla="*/ 3 w 4"/>
                <a:gd name="T3" fmla="*/ 4 h 31"/>
                <a:gd name="T4" fmla="*/ 3 w 4"/>
                <a:gd name="T5" fmla="*/ 15 h 31"/>
                <a:gd name="T6" fmla="*/ 3 w 4"/>
                <a:gd name="T7" fmla="*/ 31 h 31"/>
                <a:gd name="T8" fmla="*/ 1 w 4"/>
                <a:gd name="T9" fmla="*/ 15 h 31"/>
                <a:gd name="T10" fmla="*/ 1 w 4"/>
                <a:gd name="T11" fmla="*/ 4 h 31"/>
                <a:gd name="T12" fmla="*/ 4 w 4"/>
                <a:gd name="T1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31">
                  <a:moveTo>
                    <a:pt x="4" y="0"/>
                  </a:moveTo>
                  <a:cubicBezTo>
                    <a:pt x="4" y="0"/>
                    <a:pt x="3" y="2"/>
                    <a:pt x="3" y="4"/>
                  </a:cubicBezTo>
                  <a:cubicBezTo>
                    <a:pt x="2" y="7"/>
                    <a:pt x="3" y="11"/>
                    <a:pt x="3" y="15"/>
                  </a:cubicBezTo>
                  <a:cubicBezTo>
                    <a:pt x="4" y="24"/>
                    <a:pt x="4" y="30"/>
                    <a:pt x="3" y="31"/>
                  </a:cubicBezTo>
                  <a:cubicBezTo>
                    <a:pt x="2" y="31"/>
                    <a:pt x="1" y="24"/>
                    <a:pt x="1" y="15"/>
                  </a:cubicBezTo>
                  <a:cubicBezTo>
                    <a:pt x="1" y="11"/>
                    <a:pt x="0" y="7"/>
                    <a:pt x="1" y="4"/>
                  </a:cubicBezTo>
                  <a:cubicBezTo>
                    <a:pt x="2" y="1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7" name="任意多边形: 形状 706">
              <a:extLst>
                <a:ext uri="{FF2B5EF4-FFF2-40B4-BE49-F238E27FC236}">
                  <a16:creationId xmlns:a16="http://schemas.microsoft.com/office/drawing/2014/main" id="{EB06CA22-6724-49CA-8F50-D239471E45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2063" y="2170113"/>
              <a:ext cx="6350" cy="69850"/>
            </a:xfrm>
            <a:custGeom>
              <a:avLst/>
              <a:gdLst>
                <a:gd name="T0" fmla="*/ 3 w 3"/>
                <a:gd name="T1" fmla="*/ 30 h 30"/>
                <a:gd name="T2" fmla="*/ 1 w 3"/>
                <a:gd name="T3" fmla="*/ 15 h 30"/>
                <a:gd name="T4" fmla="*/ 1 w 3"/>
                <a:gd name="T5" fmla="*/ 4 h 30"/>
                <a:gd name="T6" fmla="*/ 2 w 3"/>
                <a:gd name="T7" fmla="*/ 0 h 30"/>
                <a:gd name="T8" fmla="*/ 2 w 3"/>
                <a:gd name="T9" fmla="*/ 4 h 30"/>
                <a:gd name="T10" fmla="*/ 3 w 3"/>
                <a:gd name="T11" fmla="*/ 15 h 30"/>
                <a:gd name="T12" fmla="*/ 3 w 3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0">
                  <a:moveTo>
                    <a:pt x="3" y="30"/>
                  </a:moveTo>
                  <a:cubicBezTo>
                    <a:pt x="2" y="30"/>
                    <a:pt x="1" y="23"/>
                    <a:pt x="1" y="15"/>
                  </a:cubicBezTo>
                  <a:cubicBezTo>
                    <a:pt x="0" y="11"/>
                    <a:pt x="0" y="7"/>
                    <a:pt x="1" y="4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3" y="0"/>
                    <a:pt x="2" y="2"/>
                    <a:pt x="2" y="4"/>
                  </a:cubicBezTo>
                  <a:cubicBezTo>
                    <a:pt x="2" y="7"/>
                    <a:pt x="3" y="11"/>
                    <a:pt x="3" y="15"/>
                  </a:cubicBezTo>
                  <a:cubicBezTo>
                    <a:pt x="3" y="23"/>
                    <a:pt x="3" y="30"/>
                    <a:pt x="3" y="3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8" name="任意多边形: 形状 707">
              <a:extLst>
                <a:ext uri="{FF2B5EF4-FFF2-40B4-BE49-F238E27FC236}">
                  <a16:creationId xmlns:a16="http://schemas.microsoft.com/office/drawing/2014/main" id="{1D2FDC87-C7D9-4D9C-B285-F10D1C5BE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9688" y="2170113"/>
              <a:ext cx="11113" cy="66675"/>
            </a:xfrm>
            <a:custGeom>
              <a:avLst/>
              <a:gdLst>
                <a:gd name="T0" fmla="*/ 5 w 5"/>
                <a:gd name="T1" fmla="*/ 29 h 29"/>
                <a:gd name="T2" fmla="*/ 2 w 5"/>
                <a:gd name="T3" fmla="*/ 15 h 29"/>
                <a:gd name="T4" fmla="*/ 1 w 5"/>
                <a:gd name="T5" fmla="*/ 0 h 29"/>
                <a:gd name="T6" fmla="*/ 4 w 5"/>
                <a:gd name="T7" fmla="*/ 14 h 29"/>
                <a:gd name="T8" fmla="*/ 5 w 5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9">
                  <a:moveTo>
                    <a:pt x="5" y="29"/>
                  </a:moveTo>
                  <a:cubicBezTo>
                    <a:pt x="4" y="29"/>
                    <a:pt x="3" y="23"/>
                    <a:pt x="2" y="15"/>
                  </a:cubicBezTo>
                  <a:cubicBezTo>
                    <a:pt x="0" y="6"/>
                    <a:pt x="0" y="0"/>
                    <a:pt x="1" y="0"/>
                  </a:cubicBezTo>
                  <a:cubicBezTo>
                    <a:pt x="1" y="0"/>
                    <a:pt x="3" y="6"/>
                    <a:pt x="4" y="14"/>
                  </a:cubicBezTo>
                  <a:cubicBezTo>
                    <a:pt x="5" y="23"/>
                    <a:pt x="5" y="29"/>
                    <a:pt x="5" y="2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9" name="任意多边形: 形状 708">
              <a:extLst>
                <a:ext uri="{FF2B5EF4-FFF2-40B4-BE49-F238E27FC236}">
                  <a16:creationId xmlns:a16="http://schemas.microsoft.com/office/drawing/2014/main" id="{BB20D276-3E3D-481B-8EA1-ABD6238BCA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7313" y="2165351"/>
              <a:ext cx="9525" cy="76200"/>
            </a:xfrm>
            <a:custGeom>
              <a:avLst/>
              <a:gdLst>
                <a:gd name="T0" fmla="*/ 3 w 4"/>
                <a:gd name="T1" fmla="*/ 33 h 33"/>
                <a:gd name="T2" fmla="*/ 1 w 4"/>
                <a:gd name="T3" fmla="*/ 17 h 33"/>
                <a:gd name="T4" fmla="*/ 1 w 4"/>
                <a:gd name="T5" fmla="*/ 0 h 33"/>
                <a:gd name="T6" fmla="*/ 3 w 4"/>
                <a:gd name="T7" fmla="*/ 17 h 33"/>
                <a:gd name="T8" fmla="*/ 3 w 4"/>
                <a:gd name="T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3">
                  <a:moveTo>
                    <a:pt x="3" y="33"/>
                  </a:moveTo>
                  <a:cubicBezTo>
                    <a:pt x="3" y="33"/>
                    <a:pt x="1" y="26"/>
                    <a:pt x="1" y="17"/>
                  </a:cubicBezTo>
                  <a:cubicBezTo>
                    <a:pt x="0" y="8"/>
                    <a:pt x="0" y="0"/>
                    <a:pt x="1" y="0"/>
                  </a:cubicBezTo>
                  <a:cubicBezTo>
                    <a:pt x="2" y="0"/>
                    <a:pt x="2" y="8"/>
                    <a:pt x="3" y="17"/>
                  </a:cubicBezTo>
                  <a:cubicBezTo>
                    <a:pt x="3" y="26"/>
                    <a:pt x="4" y="33"/>
                    <a:pt x="3" y="3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0" name="任意多边形: 形状 709">
              <a:extLst>
                <a:ext uri="{FF2B5EF4-FFF2-40B4-BE49-F238E27FC236}">
                  <a16:creationId xmlns:a16="http://schemas.microsoft.com/office/drawing/2014/main" id="{5EFDA069-4290-414A-ADFF-782363DE2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5426" y="2497138"/>
              <a:ext cx="26988" cy="55563"/>
            </a:xfrm>
            <a:custGeom>
              <a:avLst/>
              <a:gdLst>
                <a:gd name="T0" fmla="*/ 4 w 17"/>
                <a:gd name="T1" fmla="*/ 0 h 35"/>
                <a:gd name="T2" fmla="*/ 0 w 17"/>
                <a:gd name="T3" fmla="*/ 35 h 35"/>
                <a:gd name="T4" fmla="*/ 17 w 17"/>
                <a:gd name="T5" fmla="*/ 6 h 35"/>
                <a:gd name="T6" fmla="*/ 4 w 17"/>
                <a:gd name="T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35">
                  <a:moveTo>
                    <a:pt x="4" y="0"/>
                  </a:moveTo>
                  <a:lnTo>
                    <a:pt x="0" y="35"/>
                  </a:lnTo>
                  <a:lnTo>
                    <a:pt x="17" y="6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1" name="任意多边形: 形状 710">
              <a:extLst>
                <a:ext uri="{FF2B5EF4-FFF2-40B4-BE49-F238E27FC236}">
                  <a16:creationId xmlns:a16="http://schemas.microsoft.com/office/drawing/2014/main" id="{5BD1F185-B9F5-44BC-B18F-54AB84BCF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5426" y="2497138"/>
              <a:ext cx="26988" cy="55563"/>
            </a:xfrm>
            <a:custGeom>
              <a:avLst/>
              <a:gdLst>
                <a:gd name="T0" fmla="*/ 4 w 17"/>
                <a:gd name="T1" fmla="*/ 0 h 35"/>
                <a:gd name="T2" fmla="*/ 0 w 17"/>
                <a:gd name="T3" fmla="*/ 35 h 35"/>
                <a:gd name="T4" fmla="*/ 17 w 17"/>
                <a:gd name="T5" fmla="*/ 6 h 35"/>
                <a:gd name="T6" fmla="*/ 4 w 17"/>
                <a:gd name="T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35">
                  <a:moveTo>
                    <a:pt x="4" y="0"/>
                  </a:moveTo>
                  <a:lnTo>
                    <a:pt x="0" y="35"/>
                  </a:lnTo>
                  <a:lnTo>
                    <a:pt x="17" y="6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2" name="任意多边形: 形状 711">
              <a:extLst>
                <a:ext uri="{FF2B5EF4-FFF2-40B4-BE49-F238E27FC236}">
                  <a16:creationId xmlns:a16="http://schemas.microsoft.com/office/drawing/2014/main" id="{782EA4F1-F14E-4399-93CD-F1BA8BE86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3826" y="2449513"/>
              <a:ext cx="107950" cy="227013"/>
            </a:xfrm>
            <a:custGeom>
              <a:avLst/>
              <a:gdLst>
                <a:gd name="T0" fmla="*/ 3 w 47"/>
                <a:gd name="T1" fmla="*/ 0 h 99"/>
                <a:gd name="T2" fmla="*/ 11 w 47"/>
                <a:gd name="T3" fmla="*/ 99 h 99"/>
                <a:gd name="T4" fmla="*/ 44 w 47"/>
                <a:gd name="T5" fmla="*/ 45 h 99"/>
                <a:gd name="T6" fmla="*/ 47 w 47"/>
                <a:gd name="T7" fmla="*/ 21 h 99"/>
                <a:gd name="T8" fmla="*/ 3 w 47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99">
                  <a:moveTo>
                    <a:pt x="3" y="0"/>
                  </a:moveTo>
                  <a:cubicBezTo>
                    <a:pt x="0" y="27"/>
                    <a:pt x="2" y="74"/>
                    <a:pt x="11" y="99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0A3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3" name="任意多边形: 形状 712">
              <a:extLst>
                <a:ext uri="{FF2B5EF4-FFF2-40B4-BE49-F238E27FC236}">
                  <a16:creationId xmlns:a16="http://schemas.microsoft.com/office/drawing/2014/main" id="{66A4EDCC-7CB6-44E1-BF96-9BE1E6636E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888" y="2289176"/>
              <a:ext cx="219075" cy="227013"/>
            </a:xfrm>
            <a:custGeom>
              <a:avLst/>
              <a:gdLst>
                <a:gd name="T0" fmla="*/ 60 w 96"/>
                <a:gd name="T1" fmla="*/ 0 h 99"/>
                <a:gd name="T2" fmla="*/ 60 w 96"/>
                <a:gd name="T3" fmla="*/ 1 h 99"/>
                <a:gd name="T4" fmla="*/ 87 w 96"/>
                <a:gd name="T5" fmla="*/ 48 h 99"/>
                <a:gd name="T6" fmla="*/ 96 w 96"/>
                <a:gd name="T7" fmla="*/ 85 h 99"/>
                <a:gd name="T8" fmla="*/ 8 w 96"/>
                <a:gd name="T9" fmla="*/ 99 h 99"/>
                <a:gd name="T10" fmla="*/ 4 w 96"/>
                <a:gd name="T11" fmla="*/ 50 h 99"/>
                <a:gd name="T12" fmla="*/ 60 w 96"/>
                <a:gd name="T13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99">
                  <a:moveTo>
                    <a:pt x="60" y="0"/>
                  </a:moveTo>
                  <a:cubicBezTo>
                    <a:pt x="60" y="1"/>
                    <a:pt x="60" y="1"/>
                    <a:pt x="60" y="1"/>
                  </a:cubicBezTo>
                  <a:cubicBezTo>
                    <a:pt x="73" y="14"/>
                    <a:pt x="82" y="30"/>
                    <a:pt x="87" y="48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8" y="99"/>
                    <a:pt x="0" y="78"/>
                    <a:pt x="4" y="50"/>
                  </a:cubicBezTo>
                  <a:cubicBezTo>
                    <a:pt x="8" y="21"/>
                    <a:pt x="60" y="0"/>
                    <a:pt x="60" y="0"/>
                  </a:cubicBez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4" name="任意多边形: 形状 713">
              <a:extLst>
                <a:ext uri="{FF2B5EF4-FFF2-40B4-BE49-F238E27FC236}">
                  <a16:creationId xmlns:a16="http://schemas.microsoft.com/office/drawing/2014/main" id="{F1647708-2269-463F-BB5A-A7D2E44E0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3826" y="2262188"/>
              <a:ext cx="211138" cy="255588"/>
            </a:xfrm>
            <a:custGeom>
              <a:avLst/>
              <a:gdLst>
                <a:gd name="T0" fmla="*/ 92 w 92"/>
                <a:gd name="T1" fmla="*/ 97 h 112"/>
                <a:gd name="T2" fmla="*/ 90 w 92"/>
                <a:gd name="T3" fmla="*/ 98 h 112"/>
                <a:gd name="T4" fmla="*/ 85 w 92"/>
                <a:gd name="T5" fmla="*/ 99 h 112"/>
                <a:gd name="T6" fmla="*/ 66 w 92"/>
                <a:gd name="T7" fmla="*/ 102 h 112"/>
                <a:gd name="T8" fmla="*/ 2 w 92"/>
                <a:gd name="T9" fmla="*/ 112 h 112"/>
                <a:gd name="T10" fmla="*/ 1 w 92"/>
                <a:gd name="T11" fmla="*/ 112 h 112"/>
                <a:gd name="T12" fmla="*/ 1 w 92"/>
                <a:gd name="T13" fmla="*/ 111 h 112"/>
                <a:gd name="T14" fmla="*/ 1 w 92"/>
                <a:gd name="T15" fmla="*/ 94 h 112"/>
                <a:gd name="T16" fmla="*/ 1 w 92"/>
                <a:gd name="T17" fmla="*/ 52 h 112"/>
                <a:gd name="T18" fmla="*/ 12 w 92"/>
                <a:gd name="T19" fmla="*/ 20 h 112"/>
                <a:gd name="T20" fmla="*/ 28 w 92"/>
                <a:gd name="T21" fmla="*/ 4 h 112"/>
                <a:gd name="T22" fmla="*/ 34 w 92"/>
                <a:gd name="T23" fmla="*/ 1 h 112"/>
                <a:gd name="T24" fmla="*/ 36 w 92"/>
                <a:gd name="T25" fmla="*/ 0 h 112"/>
                <a:gd name="T26" fmla="*/ 28 w 92"/>
                <a:gd name="T27" fmla="*/ 4 h 112"/>
                <a:gd name="T28" fmla="*/ 13 w 92"/>
                <a:gd name="T29" fmla="*/ 21 h 112"/>
                <a:gd name="T30" fmla="*/ 3 w 92"/>
                <a:gd name="T31" fmla="*/ 52 h 112"/>
                <a:gd name="T32" fmla="*/ 3 w 92"/>
                <a:gd name="T33" fmla="*/ 94 h 112"/>
                <a:gd name="T34" fmla="*/ 3 w 92"/>
                <a:gd name="T35" fmla="*/ 110 h 112"/>
                <a:gd name="T36" fmla="*/ 2 w 92"/>
                <a:gd name="T37" fmla="*/ 109 h 112"/>
                <a:gd name="T38" fmla="*/ 66 w 92"/>
                <a:gd name="T39" fmla="*/ 100 h 112"/>
                <a:gd name="T40" fmla="*/ 85 w 92"/>
                <a:gd name="T41" fmla="*/ 98 h 112"/>
                <a:gd name="T42" fmla="*/ 90 w 92"/>
                <a:gd name="T43" fmla="*/ 97 h 112"/>
                <a:gd name="T44" fmla="*/ 92 w 92"/>
                <a:gd name="T45" fmla="*/ 9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2" h="112">
                  <a:moveTo>
                    <a:pt x="92" y="97"/>
                  </a:moveTo>
                  <a:cubicBezTo>
                    <a:pt x="92" y="97"/>
                    <a:pt x="91" y="98"/>
                    <a:pt x="90" y="98"/>
                  </a:cubicBezTo>
                  <a:cubicBezTo>
                    <a:pt x="88" y="98"/>
                    <a:pt x="87" y="98"/>
                    <a:pt x="85" y="99"/>
                  </a:cubicBezTo>
                  <a:cubicBezTo>
                    <a:pt x="80" y="100"/>
                    <a:pt x="74" y="101"/>
                    <a:pt x="66" y="102"/>
                  </a:cubicBezTo>
                  <a:cubicBezTo>
                    <a:pt x="50" y="104"/>
                    <a:pt x="27" y="108"/>
                    <a:pt x="2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05"/>
                    <a:pt x="1" y="100"/>
                    <a:pt x="1" y="94"/>
                  </a:cubicBezTo>
                  <a:cubicBezTo>
                    <a:pt x="0" y="79"/>
                    <a:pt x="0" y="65"/>
                    <a:pt x="1" y="52"/>
                  </a:cubicBezTo>
                  <a:cubicBezTo>
                    <a:pt x="2" y="39"/>
                    <a:pt x="6" y="28"/>
                    <a:pt x="12" y="20"/>
                  </a:cubicBezTo>
                  <a:cubicBezTo>
                    <a:pt x="17" y="12"/>
                    <a:pt x="23" y="6"/>
                    <a:pt x="28" y="4"/>
                  </a:cubicBezTo>
                  <a:cubicBezTo>
                    <a:pt x="30" y="2"/>
                    <a:pt x="32" y="2"/>
                    <a:pt x="34" y="1"/>
                  </a:cubicBezTo>
                  <a:cubicBezTo>
                    <a:pt x="35" y="1"/>
                    <a:pt x="36" y="0"/>
                    <a:pt x="36" y="0"/>
                  </a:cubicBezTo>
                  <a:cubicBezTo>
                    <a:pt x="36" y="1"/>
                    <a:pt x="33" y="2"/>
                    <a:pt x="28" y="4"/>
                  </a:cubicBezTo>
                  <a:cubicBezTo>
                    <a:pt x="24" y="7"/>
                    <a:pt x="18" y="12"/>
                    <a:pt x="13" y="21"/>
                  </a:cubicBezTo>
                  <a:cubicBezTo>
                    <a:pt x="8" y="29"/>
                    <a:pt x="4" y="40"/>
                    <a:pt x="3" y="52"/>
                  </a:cubicBezTo>
                  <a:cubicBezTo>
                    <a:pt x="2" y="65"/>
                    <a:pt x="2" y="79"/>
                    <a:pt x="3" y="94"/>
                  </a:cubicBezTo>
                  <a:cubicBezTo>
                    <a:pt x="3" y="100"/>
                    <a:pt x="3" y="105"/>
                    <a:pt x="3" y="110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27" y="106"/>
                    <a:pt x="49" y="103"/>
                    <a:pt x="66" y="100"/>
                  </a:cubicBezTo>
                  <a:cubicBezTo>
                    <a:pt x="74" y="99"/>
                    <a:pt x="80" y="99"/>
                    <a:pt x="85" y="98"/>
                  </a:cubicBezTo>
                  <a:cubicBezTo>
                    <a:pt x="87" y="98"/>
                    <a:pt x="88" y="98"/>
                    <a:pt x="90" y="97"/>
                  </a:cubicBezTo>
                  <a:cubicBezTo>
                    <a:pt x="91" y="97"/>
                    <a:pt x="92" y="97"/>
                    <a:pt x="92" y="9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5" name="任意多边形: 形状 714">
              <a:extLst>
                <a:ext uri="{FF2B5EF4-FFF2-40B4-BE49-F238E27FC236}">
                  <a16:creationId xmlns:a16="http://schemas.microsoft.com/office/drawing/2014/main" id="{8677FFB8-3039-45D4-9356-C9B5D4E79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3951" y="2309813"/>
              <a:ext cx="55563" cy="50800"/>
            </a:xfrm>
            <a:custGeom>
              <a:avLst/>
              <a:gdLst>
                <a:gd name="T0" fmla="*/ 24 w 24"/>
                <a:gd name="T1" fmla="*/ 21 h 22"/>
                <a:gd name="T2" fmla="*/ 11 w 24"/>
                <a:gd name="T3" fmla="*/ 12 h 22"/>
                <a:gd name="T4" fmla="*/ 1 w 24"/>
                <a:gd name="T5" fmla="*/ 1 h 22"/>
                <a:gd name="T6" fmla="*/ 13 w 24"/>
                <a:gd name="T7" fmla="*/ 10 h 22"/>
                <a:gd name="T8" fmla="*/ 24 w 24"/>
                <a:gd name="T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2">
                  <a:moveTo>
                    <a:pt x="24" y="21"/>
                  </a:moveTo>
                  <a:cubicBezTo>
                    <a:pt x="23" y="22"/>
                    <a:pt x="18" y="17"/>
                    <a:pt x="11" y="12"/>
                  </a:cubicBezTo>
                  <a:cubicBezTo>
                    <a:pt x="5" y="6"/>
                    <a:pt x="0" y="1"/>
                    <a:pt x="1" y="1"/>
                  </a:cubicBezTo>
                  <a:cubicBezTo>
                    <a:pt x="1" y="0"/>
                    <a:pt x="6" y="5"/>
                    <a:pt x="13" y="10"/>
                  </a:cubicBezTo>
                  <a:cubicBezTo>
                    <a:pt x="19" y="16"/>
                    <a:pt x="24" y="21"/>
                    <a:pt x="24" y="2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6" name="任意多边形: 形状 715">
              <a:extLst>
                <a:ext uri="{FF2B5EF4-FFF2-40B4-BE49-F238E27FC236}">
                  <a16:creationId xmlns:a16="http://schemas.microsoft.com/office/drawing/2014/main" id="{A17DD21A-7CD0-4D34-8545-FC3A4992E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0138" y="2463801"/>
              <a:ext cx="52388" cy="33338"/>
            </a:xfrm>
            <a:custGeom>
              <a:avLst/>
              <a:gdLst>
                <a:gd name="T0" fmla="*/ 23 w 23"/>
                <a:gd name="T1" fmla="*/ 1 h 15"/>
                <a:gd name="T2" fmla="*/ 12 w 23"/>
                <a:gd name="T3" fmla="*/ 8 h 15"/>
                <a:gd name="T4" fmla="*/ 0 w 23"/>
                <a:gd name="T5" fmla="*/ 15 h 15"/>
                <a:gd name="T6" fmla="*/ 11 w 23"/>
                <a:gd name="T7" fmla="*/ 7 h 15"/>
                <a:gd name="T8" fmla="*/ 23 w 23"/>
                <a:gd name="T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5">
                  <a:moveTo>
                    <a:pt x="23" y="1"/>
                  </a:moveTo>
                  <a:cubicBezTo>
                    <a:pt x="23" y="1"/>
                    <a:pt x="18" y="5"/>
                    <a:pt x="12" y="8"/>
                  </a:cubicBezTo>
                  <a:cubicBezTo>
                    <a:pt x="6" y="12"/>
                    <a:pt x="0" y="15"/>
                    <a:pt x="0" y="15"/>
                  </a:cubicBezTo>
                  <a:cubicBezTo>
                    <a:pt x="0" y="14"/>
                    <a:pt x="5" y="11"/>
                    <a:pt x="11" y="7"/>
                  </a:cubicBezTo>
                  <a:cubicBezTo>
                    <a:pt x="17" y="3"/>
                    <a:pt x="23" y="0"/>
                    <a:pt x="23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7" name="任意多边形: 形状 716">
              <a:extLst>
                <a:ext uri="{FF2B5EF4-FFF2-40B4-BE49-F238E27FC236}">
                  <a16:creationId xmlns:a16="http://schemas.microsoft.com/office/drawing/2014/main" id="{967F5790-810A-406D-A312-CD0A47B687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2063" y="2413001"/>
              <a:ext cx="9525" cy="77788"/>
            </a:xfrm>
            <a:custGeom>
              <a:avLst/>
              <a:gdLst>
                <a:gd name="T0" fmla="*/ 1 w 4"/>
                <a:gd name="T1" fmla="*/ 34 h 34"/>
                <a:gd name="T2" fmla="*/ 1 w 4"/>
                <a:gd name="T3" fmla="*/ 17 h 34"/>
                <a:gd name="T4" fmla="*/ 3 w 4"/>
                <a:gd name="T5" fmla="*/ 0 h 34"/>
                <a:gd name="T6" fmla="*/ 3 w 4"/>
                <a:gd name="T7" fmla="*/ 17 h 34"/>
                <a:gd name="T8" fmla="*/ 1 w 4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4">
                  <a:moveTo>
                    <a:pt x="1" y="34"/>
                  </a:moveTo>
                  <a:cubicBezTo>
                    <a:pt x="0" y="34"/>
                    <a:pt x="0" y="26"/>
                    <a:pt x="1" y="17"/>
                  </a:cubicBezTo>
                  <a:cubicBezTo>
                    <a:pt x="1" y="7"/>
                    <a:pt x="2" y="0"/>
                    <a:pt x="3" y="0"/>
                  </a:cubicBezTo>
                  <a:cubicBezTo>
                    <a:pt x="4" y="0"/>
                    <a:pt x="4" y="7"/>
                    <a:pt x="3" y="17"/>
                  </a:cubicBezTo>
                  <a:cubicBezTo>
                    <a:pt x="2" y="26"/>
                    <a:pt x="1" y="34"/>
                    <a:pt x="1" y="34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8" name="任意多边形: 形状 717">
              <a:extLst>
                <a:ext uri="{FF2B5EF4-FFF2-40B4-BE49-F238E27FC236}">
                  <a16:creationId xmlns:a16="http://schemas.microsoft.com/office/drawing/2014/main" id="{EE08A81C-B99E-40AB-BFA6-CC5D6E6F1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0801" y="2541588"/>
              <a:ext cx="52388" cy="57150"/>
            </a:xfrm>
            <a:custGeom>
              <a:avLst/>
              <a:gdLst>
                <a:gd name="T0" fmla="*/ 23 w 23"/>
                <a:gd name="T1" fmla="*/ 24 h 25"/>
                <a:gd name="T2" fmla="*/ 12 w 23"/>
                <a:gd name="T3" fmla="*/ 12 h 25"/>
                <a:gd name="T4" fmla="*/ 1 w 23"/>
                <a:gd name="T5" fmla="*/ 0 h 25"/>
                <a:gd name="T6" fmla="*/ 13 w 23"/>
                <a:gd name="T7" fmla="*/ 11 h 25"/>
                <a:gd name="T8" fmla="*/ 23 w 23"/>
                <a:gd name="T9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5">
                  <a:moveTo>
                    <a:pt x="23" y="24"/>
                  </a:moveTo>
                  <a:cubicBezTo>
                    <a:pt x="22" y="25"/>
                    <a:pt x="18" y="19"/>
                    <a:pt x="12" y="12"/>
                  </a:cubicBezTo>
                  <a:cubicBezTo>
                    <a:pt x="5" y="5"/>
                    <a:pt x="0" y="0"/>
                    <a:pt x="1" y="0"/>
                  </a:cubicBezTo>
                  <a:cubicBezTo>
                    <a:pt x="1" y="0"/>
                    <a:pt x="7" y="4"/>
                    <a:pt x="13" y="11"/>
                  </a:cubicBezTo>
                  <a:cubicBezTo>
                    <a:pt x="19" y="17"/>
                    <a:pt x="23" y="24"/>
                    <a:pt x="23" y="24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9" name="任意多边形: 形状 718">
              <a:extLst>
                <a:ext uri="{FF2B5EF4-FFF2-40B4-BE49-F238E27FC236}">
                  <a16:creationId xmlns:a16="http://schemas.microsoft.com/office/drawing/2014/main" id="{659829C1-AFCD-48D3-A43B-876D5B18D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3500" y="2373313"/>
              <a:ext cx="57150" cy="39688"/>
            </a:xfrm>
            <a:custGeom>
              <a:avLst/>
              <a:gdLst>
                <a:gd name="T0" fmla="*/ 24 w 25"/>
                <a:gd name="T1" fmla="*/ 0 h 17"/>
                <a:gd name="T2" fmla="*/ 13 w 25"/>
                <a:gd name="T3" fmla="*/ 10 h 17"/>
                <a:gd name="T4" fmla="*/ 0 w 25"/>
                <a:gd name="T5" fmla="*/ 17 h 17"/>
                <a:gd name="T6" fmla="*/ 12 w 25"/>
                <a:gd name="T7" fmla="*/ 8 h 17"/>
                <a:gd name="T8" fmla="*/ 24 w 25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24" y="0"/>
                  </a:moveTo>
                  <a:cubicBezTo>
                    <a:pt x="25" y="1"/>
                    <a:pt x="19" y="5"/>
                    <a:pt x="13" y="10"/>
                  </a:cubicBezTo>
                  <a:cubicBezTo>
                    <a:pt x="6" y="14"/>
                    <a:pt x="0" y="17"/>
                    <a:pt x="0" y="17"/>
                  </a:cubicBezTo>
                  <a:cubicBezTo>
                    <a:pt x="0" y="16"/>
                    <a:pt x="5" y="12"/>
                    <a:pt x="12" y="8"/>
                  </a:cubicBezTo>
                  <a:cubicBezTo>
                    <a:pt x="18" y="3"/>
                    <a:pt x="24" y="0"/>
                    <a:pt x="24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0" name="任意多边形: 形状 719">
              <a:extLst>
                <a:ext uri="{FF2B5EF4-FFF2-40B4-BE49-F238E27FC236}">
                  <a16:creationId xmlns:a16="http://schemas.microsoft.com/office/drawing/2014/main" id="{ABF4957D-CC68-43F1-B373-6EC46EC5C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138" y="2293938"/>
              <a:ext cx="65088" cy="41275"/>
            </a:xfrm>
            <a:custGeom>
              <a:avLst/>
              <a:gdLst>
                <a:gd name="T0" fmla="*/ 27 w 28"/>
                <a:gd name="T1" fmla="*/ 0 h 18"/>
                <a:gd name="T2" fmla="*/ 15 w 28"/>
                <a:gd name="T3" fmla="*/ 10 h 18"/>
                <a:gd name="T4" fmla="*/ 1 w 28"/>
                <a:gd name="T5" fmla="*/ 17 h 18"/>
                <a:gd name="T6" fmla="*/ 13 w 28"/>
                <a:gd name="T7" fmla="*/ 8 h 18"/>
                <a:gd name="T8" fmla="*/ 27 w 2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8">
                  <a:moveTo>
                    <a:pt x="27" y="0"/>
                  </a:moveTo>
                  <a:cubicBezTo>
                    <a:pt x="28" y="1"/>
                    <a:pt x="22" y="5"/>
                    <a:pt x="15" y="10"/>
                  </a:cubicBezTo>
                  <a:cubicBezTo>
                    <a:pt x="7" y="15"/>
                    <a:pt x="1" y="18"/>
                    <a:pt x="1" y="17"/>
                  </a:cubicBezTo>
                  <a:cubicBezTo>
                    <a:pt x="0" y="17"/>
                    <a:pt x="6" y="13"/>
                    <a:pt x="13" y="8"/>
                  </a:cubicBezTo>
                  <a:cubicBezTo>
                    <a:pt x="21" y="3"/>
                    <a:pt x="27" y="0"/>
                    <a:pt x="27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1" name="任意多边形: 形状 720">
              <a:extLst>
                <a:ext uri="{FF2B5EF4-FFF2-40B4-BE49-F238E27FC236}">
                  <a16:creationId xmlns:a16="http://schemas.microsoft.com/office/drawing/2014/main" id="{103D5A85-A766-4E90-96AE-4C70FCED5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2550" y="2266951"/>
              <a:ext cx="28575" cy="61913"/>
            </a:xfrm>
            <a:custGeom>
              <a:avLst/>
              <a:gdLst>
                <a:gd name="T0" fmla="*/ 11 w 12"/>
                <a:gd name="T1" fmla="*/ 26 h 27"/>
                <a:gd name="T2" fmla="*/ 5 w 12"/>
                <a:gd name="T3" fmla="*/ 14 h 27"/>
                <a:gd name="T4" fmla="*/ 1 w 12"/>
                <a:gd name="T5" fmla="*/ 0 h 27"/>
                <a:gd name="T6" fmla="*/ 7 w 12"/>
                <a:gd name="T7" fmla="*/ 13 h 27"/>
                <a:gd name="T8" fmla="*/ 11 w 12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7">
                  <a:moveTo>
                    <a:pt x="11" y="26"/>
                  </a:moveTo>
                  <a:cubicBezTo>
                    <a:pt x="11" y="27"/>
                    <a:pt x="8" y="21"/>
                    <a:pt x="5" y="14"/>
                  </a:cubicBezTo>
                  <a:cubicBezTo>
                    <a:pt x="2" y="7"/>
                    <a:pt x="0" y="1"/>
                    <a:pt x="1" y="0"/>
                  </a:cubicBezTo>
                  <a:cubicBezTo>
                    <a:pt x="1" y="0"/>
                    <a:pt x="4" y="6"/>
                    <a:pt x="7" y="13"/>
                  </a:cubicBezTo>
                  <a:cubicBezTo>
                    <a:pt x="10" y="20"/>
                    <a:pt x="12" y="26"/>
                    <a:pt x="11" y="26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2" name="任意多边形: 形状 721">
              <a:extLst>
                <a:ext uri="{FF2B5EF4-FFF2-40B4-BE49-F238E27FC236}">
                  <a16:creationId xmlns:a16="http://schemas.microsoft.com/office/drawing/2014/main" id="{499A1F85-EC1E-49C8-A12F-0313E6B28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3675" y="2328863"/>
              <a:ext cx="38100" cy="38100"/>
            </a:xfrm>
            <a:custGeom>
              <a:avLst/>
              <a:gdLst>
                <a:gd name="T0" fmla="*/ 17 w 17"/>
                <a:gd name="T1" fmla="*/ 17 h 17"/>
                <a:gd name="T2" fmla="*/ 8 w 17"/>
                <a:gd name="T3" fmla="*/ 9 h 17"/>
                <a:gd name="T4" fmla="*/ 0 w 17"/>
                <a:gd name="T5" fmla="*/ 1 h 17"/>
                <a:gd name="T6" fmla="*/ 9 w 17"/>
                <a:gd name="T7" fmla="*/ 8 h 17"/>
                <a:gd name="T8" fmla="*/ 17 w 17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16" y="17"/>
                    <a:pt x="12" y="14"/>
                    <a:pt x="8" y="9"/>
                  </a:cubicBezTo>
                  <a:cubicBezTo>
                    <a:pt x="3" y="5"/>
                    <a:pt x="0" y="1"/>
                    <a:pt x="0" y="1"/>
                  </a:cubicBezTo>
                  <a:cubicBezTo>
                    <a:pt x="1" y="0"/>
                    <a:pt x="5" y="3"/>
                    <a:pt x="9" y="8"/>
                  </a:cubicBezTo>
                  <a:cubicBezTo>
                    <a:pt x="14" y="12"/>
                    <a:pt x="17" y="16"/>
                    <a:pt x="17" y="17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3" name="任意多边形: 形状 722">
              <a:extLst>
                <a:ext uri="{FF2B5EF4-FFF2-40B4-BE49-F238E27FC236}">
                  <a16:creationId xmlns:a16="http://schemas.microsoft.com/office/drawing/2014/main" id="{9B5BFAEB-8119-4805-9640-A4105E052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7800" y="2398713"/>
              <a:ext cx="3175" cy="57150"/>
            </a:xfrm>
            <a:custGeom>
              <a:avLst/>
              <a:gdLst>
                <a:gd name="T0" fmla="*/ 2 w 2"/>
                <a:gd name="T1" fmla="*/ 25 h 25"/>
                <a:gd name="T2" fmla="*/ 0 w 2"/>
                <a:gd name="T3" fmla="*/ 13 h 25"/>
                <a:gd name="T4" fmla="*/ 0 w 2"/>
                <a:gd name="T5" fmla="*/ 0 h 25"/>
                <a:gd name="T6" fmla="*/ 2 w 2"/>
                <a:gd name="T7" fmla="*/ 13 h 25"/>
                <a:gd name="T8" fmla="*/ 2 w 2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5">
                  <a:moveTo>
                    <a:pt x="2" y="25"/>
                  </a:moveTo>
                  <a:cubicBezTo>
                    <a:pt x="1" y="25"/>
                    <a:pt x="0" y="19"/>
                    <a:pt x="0" y="13"/>
                  </a:cubicBezTo>
                  <a:cubicBezTo>
                    <a:pt x="0" y="6"/>
                    <a:pt x="0" y="0"/>
                    <a:pt x="0" y="0"/>
                  </a:cubicBezTo>
                  <a:cubicBezTo>
                    <a:pt x="1" y="0"/>
                    <a:pt x="2" y="6"/>
                    <a:pt x="2" y="13"/>
                  </a:cubicBezTo>
                  <a:cubicBezTo>
                    <a:pt x="2" y="19"/>
                    <a:pt x="2" y="25"/>
                    <a:pt x="2" y="25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4" name="任意多边形: 形状 723">
              <a:extLst>
                <a:ext uri="{FF2B5EF4-FFF2-40B4-BE49-F238E27FC236}">
                  <a16:creationId xmlns:a16="http://schemas.microsoft.com/office/drawing/2014/main" id="{BBEB3A49-94FA-439E-8391-345E8B224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7488" y="2427288"/>
              <a:ext cx="65088" cy="12700"/>
            </a:xfrm>
            <a:custGeom>
              <a:avLst/>
              <a:gdLst>
                <a:gd name="T0" fmla="*/ 28 w 28"/>
                <a:gd name="T1" fmla="*/ 5 h 6"/>
                <a:gd name="T2" fmla="*/ 14 w 28"/>
                <a:gd name="T3" fmla="*/ 4 h 6"/>
                <a:gd name="T4" fmla="*/ 1 w 28"/>
                <a:gd name="T5" fmla="*/ 1 h 6"/>
                <a:gd name="T6" fmla="*/ 14 w 28"/>
                <a:gd name="T7" fmla="*/ 2 h 6"/>
                <a:gd name="T8" fmla="*/ 28 w 28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6">
                  <a:moveTo>
                    <a:pt x="28" y="5"/>
                  </a:moveTo>
                  <a:cubicBezTo>
                    <a:pt x="28" y="5"/>
                    <a:pt x="22" y="6"/>
                    <a:pt x="14" y="4"/>
                  </a:cubicBezTo>
                  <a:cubicBezTo>
                    <a:pt x="6" y="3"/>
                    <a:pt x="0" y="1"/>
                    <a:pt x="1" y="1"/>
                  </a:cubicBezTo>
                  <a:cubicBezTo>
                    <a:pt x="1" y="0"/>
                    <a:pt x="7" y="1"/>
                    <a:pt x="14" y="2"/>
                  </a:cubicBezTo>
                  <a:cubicBezTo>
                    <a:pt x="22" y="3"/>
                    <a:pt x="28" y="4"/>
                    <a:pt x="28" y="5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5" name="任意多边形: 形状 724">
              <a:extLst>
                <a:ext uri="{FF2B5EF4-FFF2-40B4-BE49-F238E27FC236}">
                  <a16:creationId xmlns:a16="http://schemas.microsoft.com/office/drawing/2014/main" id="{B37C8CE5-105B-45DF-84FC-6B7BDB1EF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8075" y="2552701"/>
              <a:ext cx="34925" cy="69850"/>
            </a:xfrm>
            <a:custGeom>
              <a:avLst/>
              <a:gdLst>
                <a:gd name="T0" fmla="*/ 15 w 15"/>
                <a:gd name="T1" fmla="*/ 30 h 31"/>
                <a:gd name="T2" fmla="*/ 7 w 15"/>
                <a:gd name="T3" fmla="*/ 16 h 31"/>
                <a:gd name="T4" fmla="*/ 1 w 15"/>
                <a:gd name="T5" fmla="*/ 0 h 31"/>
                <a:gd name="T6" fmla="*/ 9 w 15"/>
                <a:gd name="T7" fmla="*/ 15 h 31"/>
                <a:gd name="T8" fmla="*/ 15 w 15"/>
                <a:gd name="T9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31">
                  <a:moveTo>
                    <a:pt x="15" y="30"/>
                  </a:moveTo>
                  <a:cubicBezTo>
                    <a:pt x="14" y="31"/>
                    <a:pt x="11" y="24"/>
                    <a:pt x="7" y="16"/>
                  </a:cubicBezTo>
                  <a:cubicBezTo>
                    <a:pt x="3" y="8"/>
                    <a:pt x="0" y="1"/>
                    <a:pt x="1" y="0"/>
                  </a:cubicBezTo>
                  <a:cubicBezTo>
                    <a:pt x="1" y="0"/>
                    <a:pt x="5" y="7"/>
                    <a:pt x="9" y="15"/>
                  </a:cubicBezTo>
                  <a:cubicBezTo>
                    <a:pt x="13" y="23"/>
                    <a:pt x="15" y="30"/>
                    <a:pt x="15" y="3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6" name="任意多边形: 形状 725">
              <a:extLst>
                <a:ext uri="{FF2B5EF4-FFF2-40B4-BE49-F238E27FC236}">
                  <a16:creationId xmlns:a16="http://schemas.microsoft.com/office/drawing/2014/main" id="{9E746176-BCCE-483F-BA0A-CAE049FE5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5075" y="2709863"/>
              <a:ext cx="42863" cy="57150"/>
            </a:xfrm>
            <a:custGeom>
              <a:avLst/>
              <a:gdLst>
                <a:gd name="T0" fmla="*/ 18 w 19"/>
                <a:gd name="T1" fmla="*/ 25 h 25"/>
                <a:gd name="T2" fmla="*/ 9 w 19"/>
                <a:gd name="T3" fmla="*/ 13 h 25"/>
                <a:gd name="T4" fmla="*/ 1 w 19"/>
                <a:gd name="T5" fmla="*/ 0 h 25"/>
                <a:gd name="T6" fmla="*/ 10 w 19"/>
                <a:gd name="T7" fmla="*/ 12 h 25"/>
                <a:gd name="T8" fmla="*/ 18 w 19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5">
                  <a:moveTo>
                    <a:pt x="18" y="25"/>
                  </a:moveTo>
                  <a:cubicBezTo>
                    <a:pt x="18" y="25"/>
                    <a:pt x="14" y="20"/>
                    <a:pt x="9" y="13"/>
                  </a:cubicBezTo>
                  <a:cubicBezTo>
                    <a:pt x="4" y="6"/>
                    <a:pt x="0" y="0"/>
                    <a:pt x="1" y="0"/>
                  </a:cubicBezTo>
                  <a:cubicBezTo>
                    <a:pt x="1" y="0"/>
                    <a:pt x="5" y="5"/>
                    <a:pt x="10" y="12"/>
                  </a:cubicBezTo>
                  <a:cubicBezTo>
                    <a:pt x="15" y="18"/>
                    <a:pt x="19" y="24"/>
                    <a:pt x="18" y="25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7" name="任意多边形: 形状 726">
              <a:extLst>
                <a:ext uri="{FF2B5EF4-FFF2-40B4-BE49-F238E27FC236}">
                  <a16:creationId xmlns:a16="http://schemas.microsoft.com/office/drawing/2014/main" id="{5B8E5014-3E3F-4CE2-9DF4-550565D8D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5563" y="2705101"/>
              <a:ext cx="61913" cy="25400"/>
            </a:xfrm>
            <a:custGeom>
              <a:avLst/>
              <a:gdLst>
                <a:gd name="T0" fmla="*/ 27 w 27"/>
                <a:gd name="T1" fmla="*/ 0 h 11"/>
                <a:gd name="T2" fmla="*/ 14 w 27"/>
                <a:gd name="T3" fmla="*/ 6 h 11"/>
                <a:gd name="T4" fmla="*/ 0 w 27"/>
                <a:gd name="T5" fmla="*/ 11 h 11"/>
                <a:gd name="T6" fmla="*/ 13 w 27"/>
                <a:gd name="T7" fmla="*/ 4 h 11"/>
                <a:gd name="T8" fmla="*/ 27 w 27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1">
                  <a:moveTo>
                    <a:pt x="27" y="0"/>
                  </a:moveTo>
                  <a:cubicBezTo>
                    <a:pt x="27" y="1"/>
                    <a:pt x="21" y="3"/>
                    <a:pt x="14" y="6"/>
                  </a:cubicBezTo>
                  <a:cubicBezTo>
                    <a:pt x="6" y="9"/>
                    <a:pt x="0" y="11"/>
                    <a:pt x="0" y="11"/>
                  </a:cubicBezTo>
                  <a:cubicBezTo>
                    <a:pt x="0" y="10"/>
                    <a:pt x="6" y="7"/>
                    <a:pt x="13" y="4"/>
                  </a:cubicBezTo>
                  <a:cubicBezTo>
                    <a:pt x="21" y="1"/>
                    <a:pt x="27" y="0"/>
                    <a:pt x="27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8" name="任意多边形: 形状 727">
              <a:extLst>
                <a:ext uri="{FF2B5EF4-FFF2-40B4-BE49-F238E27FC236}">
                  <a16:creationId xmlns:a16="http://schemas.microsoft.com/office/drawing/2014/main" id="{F3D5DB71-27E8-44AE-9DB3-7EB93F9CB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2838" y="2773363"/>
              <a:ext cx="25400" cy="49213"/>
            </a:xfrm>
            <a:custGeom>
              <a:avLst/>
              <a:gdLst>
                <a:gd name="T0" fmla="*/ 0 w 11"/>
                <a:gd name="T1" fmla="*/ 21 h 21"/>
                <a:gd name="T2" fmla="*/ 4 w 11"/>
                <a:gd name="T3" fmla="*/ 10 h 21"/>
                <a:gd name="T4" fmla="*/ 10 w 11"/>
                <a:gd name="T5" fmla="*/ 0 h 21"/>
                <a:gd name="T6" fmla="*/ 6 w 11"/>
                <a:gd name="T7" fmla="*/ 11 h 21"/>
                <a:gd name="T8" fmla="*/ 0 w 11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1">
                  <a:moveTo>
                    <a:pt x="0" y="21"/>
                  </a:moveTo>
                  <a:cubicBezTo>
                    <a:pt x="0" y="21"/>
                    <a:pt x="2" y="16"/>
                    <a:pt x="4" y="10"/>
                  </a:cubicBezTo>
                  <a:cubicBezTo>
                    <a:pt x="7" y="4"/>
                    <a:pt x="10" y="0"/>
                    <a:pt x="10" y="0"/>
                  </a:cubicBezTo>
                  <a:cubicBezTo>
                    <a:pt x="11" y="0"/>
                    <a:pt x="9" y="5"/>
                    <a:pt x="6" y="11"/>
                  </a:cubicBezTo>
                  <a:cubicBezTo>
                    <a:pt x="4" y="17"/>
                    <a:pt x="1" y="21"/>
                    <a:pt x="0" y="2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9" name="任意多边形: 形状 728">
              <a:extLst>
                <a:ext uri="{FF2B5EF4-FFF2-40B4-BE49-F238E27FC236}">
                  <a16:creationId xmlns:a16="http://schemas.microsoft.com/office/drawing/2014/main" id="{2D690F74-8C1B-4C5F-B9E4-D35C8EB29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588" y="2360613"/>
              <a:ext cx="11113" cy="50800"/>
            </a:xfrm>
            <a:custGeom>
              <a:avLst/>
              <a:gdLst>
                <a:gd name="T0" fmla="*/ 5 w 5"/>
                <a:gd name="T1" fmla="*/ 21 h 22"/>
                <a:gd name="T2" fmla="*/ 1 w 5"/>
                <a:gd name="T3" fmla="*/ 11 h 22"/>
                <a:gd name="T4" fmla="*/ 1 w 5"/>
                <a:gd name="T5" fmla="*/ 0 h 22"/>
                <a:gd name="T6" fmla="*/ 3 w 5"/>
                <a:gd name="T7" fmla="*/ 11 h 22"/>
                <a:gd name="T8" fmla="*/ 5 w 5"/>
                <a:gd name="T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2">
                  <a:moveTo>
                    <a:pt x="5" y="21"/>
                  </a:moveTo>
                  <a:cubicBezTo>
                    <a:pt x="4" y="22"/>
                    <a:pt x="2" y="17"/>
                    <a:pt x="1" y="11"/>
                  </a:cubicBezTo>
                  <a:cubicBezTo>
                    <a:pt x="0" y="5"/>
                    <a:pt x="1" y="0"/>
                    <a:pt x="1" y="0"/>
                  </a:cubicBezTo>
                  <a:cubicBezTo>
                    <a:pt x="2" y="0"/>
                    <a:pt x="2" y="5"/>
                    <a:pt x="3" y="11"/>
                  </a:cubicBezTo>
                  <a:cubicBezTo>
                    <a:pt x="4" y="17"/>
                    <a:pt x="5" y="21"/>
                    <a:pt x="5" y="2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0" name="任意多边形: 形状 729">
              <a:extLst>
                <a:ext uri="{FF2B5EF4-FFF2-40B4-BE49-F238E27FC236}">
                  <a16:creationId xmlns:a16="http://schemas.microsoft.com/office/drawing/2014/main" id="{C1AA02C0-5D1F-4173-9422-27854D020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713" y="2700338"/>
              <a:ext cx="52388" cy="30163"/>
            </a:xfrm>
            <a:custGeom>
              <a:avLst/>
              <a:gdLst>
                <a:gd name="T0" fmla="*/ 23 w 23"/>
                <a:gd name="T1" fmla="*/ 13 h 13"/>
                <a:gd name="T2" fmla="*/ 11 w 23"/>
                <a:gd name="T3" fmla="*/ 7 h 13"/>
                <a:gd name="T4" fmla="*/ 0 w 23"/>
                <a:gd name="T5" fmla="*/ 0 h 13"/>
                <a:gd name="T6" fmla="*/ 12 w 23"/>
                <a:gd name="T7" fmla="*/ 5 h 13"/>
                <a:gd name="T8" fmla="*/ 23 w 23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3">
                  <a:moveTo>
                    <a:pt x="23" y="13"/>
                  </a:moveTo>
                  <a:cubicBezTo>
                    <a:pt x="22" y="13"/>
                    <a:pt x="17" y="11"/>
                    <a:pt x="11" y="7"/>
                  </a:cubicBezTo>
                  <a:cubicBezTo>
                    <a:pt x="5" y="4"/>
                    <a:pt x="0" y="1"/>
                    <a:pt x="0" y="0"/>
                  </a:cubicBezTo>
                  <a:cubicBezTo>
                    <a:pt x="0" y="0"/>
                    <a:pt x="6" y="2"/>
                    <a:pt x="12" y="5"/>
                  </a:cubicBezTo>
                  <a:cubicBezTo>
                    <a:pt x="18" y="9"/>
                    <a:pt x="23" y="12"/>
                    <a:pt x="23" y="13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1" name="任意多边形: 形状 730">
              <a:extLst>
                <a:ext uri="{FF2B5EF4-FFF2-40B4-BE49-F238E27FC236}">
                  <a16:creationId xmlns:a16="http://schemas.microsoft.com/office/drawing/2014/main" id="{5EB241A9-9FED-4BA6-A8EA-61C75CE12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6025" y="2578101"/>
              <a:ext cx="55563" cy="47625"/>
            </a:xfrm>
            <a:custGeom>
              <a:avLst/>
              <a:gdLst>
                <a:gd name="T0" fmla="*/ 23 w 24"/>
                <a:gd name="T1" fmla="*/ 0 h 21"/>
                <a:gd name="T2" fmla="*/ 13 w 24"/>
                <a:gd name="T3" fmla="*/ 11 h 21"/>
                <a:gd name="T4" fmla="*/ 1 w 24"/>
                <a:gd name="T5" fmla="*/ 21 h 21"/>
                <a:gd name="T6" fmla="*/ 11 w 24"/>
                <a:gd name="T7" fmla="*/ 10 h 21"/>
                <a:gd name="T8" fmla="*/ 23 w 24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1">
                  <a:moveTo>
                    <a:pt x="23" y="0"/>
                  </a:moveTo>
                  <a:cubicBezTo>
                    <a:pt x="24" y="0"/>
                    <a:pt x="19" y="5"/>
                    <a:pt x="13" y="11"/>
                  </a:cubicBezTo>
                  <a:cubicBezTo>
                    <a:pt x="6" y="17"/>
                    <a:pt x="1" y="21"/>
                    <a:pt x="1" y="21"/>
                  </a:cubicBezTo>
                  <a:cubicBezTo>
                    <a:pt x="0" y="20"/>
                    <a:pt x="5" y="15"/>
                    <a:pt x="11" y="10"/>
                  </a:cubicBezTo>
                  <a:cubicBezTo>
                    <a:pt x="18" y="4"/>
                    <a:pt x="23" y="0"/>
                    <a:pt x="23" y="0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2" name="矩形 731">
              <a:extLst>
                <a:ext uri="{FF2B5EF4-FFF2-40B4-BE49-F238E27FC236}">
                  <a16:creationId xmlns:a16="http://schemas.microsoft.com/office/drawing/2014/main" id="{8447B385-6039-486B-97F8-7EF4E06FB4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6025" y="2574926"/>
              <a:ext cx="144463" cy="1127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3" name="任意多边形: 形状 732">
              <a:extLst>
                <a:ext uri="{FF2B5EF4-FFF2-40B4-BE49-F238E27FC236}">
                  <a16:creationId xmlns:a16="http://schemas.microsoft.com/office/drawing/2014/main" id="{B5EACB87-8275-4FFC-84F1-EC357BAFA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550" y="2605088"/>
              <a:ext cx="12700" cy="14288"/>
            </a:xfrm>
            <a:custGeom>
              <a:avLst/>
              <a:gdLst>
                <a:gd name="T0" fmla="*/ 5 w 6"/>
                <a:gd name="T1" fmla="*/ 0 h 6"/>
                <a:gd name="T2" fmla="*/ 0 w 6"/>
                <a:gd name="T3" fmla="*/ 4 h 6"/>
                <a:gd name="T4" fmla="*/ 1 w 6"/>
                <a:gd name="T5" fmla="*/ 6 h 6"/>
                <a:gd name="T6" fmla="*/ 6 w 6"/>
                <a:gd name="T7" fmla="*/ 1 h 6"/>
                <a:gd name="T8" fmla="*/ 5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0"/>
                  </a:moveTo>
                  <a:cubicBezTo>
                    <a:pt x="3" y="1"/>
                    <a:pt x="2" y="3"/>
                    <a:pt x="0" y="4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3" y="4"/>
                    <a:pt x="4" y="3"/>
                    <a:pt x="6" y="1"/>
                  </a:cubicBezTo>
                  <a:cubicBezTo>
                    <a:pt x="6" y="1"/>
                    <a:pt x="5" y="1"/>
                    <a:pt x="5" y="0"/>
                  </a:cubicBezTo>
                </a:path>
              </a:pathLst>
            </a:custGeom>
            <a:solidFill>
              <a:srgbClr val="AF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4" name="任意多边形: 形状 733">
              <a:extLst>
                <a:ext uri="{FF2B5EF4-FFF2-40B4-BE49-F238E27FC236}">
                  <a16:creationId xmlns:a16="http://schemas.microsoft.com/office/drawing/2014/main" id="{50CB6340-7A52-4418-BD6C-3881EDE32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4438" y="2565401"/>
              <a:ext cx="120650" cy="85725"/>
            </a:xfrm>
            <a:custGeom>
              <a:avLst/>
              <a:gdLst>
                <a:gd name="T0" fmla="*/ 53 w 53"/>
                <a:gd name="T1" fmla="*/ 36 h 37"/>
                <a:gd name="T2" fmla="*/ 50 w 53"/>
                <a:gd name="T3" fmla="*/ 37 h 37"/>
                <a:gd name="T4" fmla="*/ 43 w 53"/>
                <a:gd name="T5" fmla="*/ 36 h 37"/>
                <a:gd name="T6" fmla="*/ 32 w 53"/>
                <a:gd name="T7" fmla="*/ 34 h 37"/>
                <a:gd name="T8" fmla="*/ 20 w 53"/>
                <a:gd name="T9" fmla="*/ 28 h 37"/>
                <a:gd name="T10" fmla="*/ 10 w 53"/>
                <a:gd name="T11" fmla="*/ 18 h 37"/>
                <a:gd name="T12" fmla="*/ 4 w 53"/>
                <a:gd name="T13" fmla="*/ 9 h 37"/>
                <a:gd name="T14" fmla="*/ 1 w 53"/>
                <a:gd name="T15" fmla="*/ 2 h 37"/>
                <a:gd name="T16" fmla="*/ 0 w 53"/>
                <a:gd name="T17" fmla="*/ 0 h 37"/>
                <a:gd name="T18" fmla="*/ 5 w 53"/>
                <a:gd name="T19" fmla="*/ 9 h 37"/>
                <a:gd name="T20" fmla="*/ 11 w 53"/>
                <a:gd name="T21" fmla="*/ 17 h 37"/>
                <a:gd name="T22" fmla="*/ 21 w 53"/>
                <a:gd name="T23" fmla="*/ 26 h 37"/>
                <a:gd name="T24" fmla="*/ 32 w 53"/>
                <a:gd name="T25" fmla="*/ 32 h 37"/>
                <a:gd name="T26" fmla="*/ 43 w 53"/>
                <a:gd name="T27" fmla="*/ 35 h 37"/>
                <a:gd name="T28" fmla="*/ 53 w 53"/>
                <a:gd name="T29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37">
                  <a:moveTo>
                    <a:pt x="53" y="36"/>
                  </a:moveTo>
                  <a:cubicBezTo>
                    <a:pt x="53" y="36"/>
                    <a:pt x="52" y="36"/>
                    <a:pt x="50" y="37"/>
                  </a:cubicBezTo>
                  <a:cubicBezTo>
                    <a:pt x="48" y="37"/>
                    <a:pt x="46" y="37"/>
                    <a:pt x="43" y="36"/>
                  </a:cubicBezTo>
                  <a:cubicBezTo>
                    <a:pt x="39" y="36"/>
                    <a:pt x="36" y="35"/>
                    <a:pt x="32" y="34"/>
                  </a:cubicBezTo>
                  <a:cubicBezTo>
                    <a:pt x="28" y="32"/>
                    <a:pt x="24" y="30"/>
                    <a:pt x="20" y="28"/>
                  </a:cubicBezTo>
                  <a:cubicBezTo>
                    <a:pt x="16" y="25"/>
                    <a:pt x="12" y="22"/>
                    <a:pt x="10" y="18"/>
                  </a:cubicBezTo>
                  <a:cubicBezTo>
                    <a:pt x="7" y="15"/>
                    <a:pt x="5" y="12"/>
                    <a:pt x="4" y="9"/>
                  </a:cubicBezTo>
                  <a:cubicBezTo>
                    <a:pt x="2" y="6"/>
                    <a:pt x="1" y="4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2" y="3"/>
                    <a:pt x="5" y="9"/>
                  </a:cubicBezTo>
                  <a:cubicBezTo>
                    <a:pt x="6" y="11"/>
                    <a:pt x="8" y="14"/>
                    <a:pt x="11" y="17"/>
                  </a:cubicBezTo>
                  <a:cubicBezTo>
                    <a:pt x="14" y="20"/>
                    <a:pt x="17" y="23"/>
                    <a:pt x="21" y="26"/>
                  </a:cubicBezTo>
                  <a:cubicBezTo>
                    <a:pt x="25" y="29"/>
                    <a:pt x="29" y="31"/>
                    <a:pt x="32" y="32"/>
                  </a:cubicBezTo>
                  <a:cubicBezTo>
                    <a:pt x="36" y="33"/>
                    <a:pt x="40" y="34"/>
                    <a:pt x="43" y="35"/>
                  </a:cubicBezTo>
                  <a:cubicBezTo>
                    <a:pt x="49" y="36"/>
                    <a:pt x="53" y="36"/>
                    <a:pt x="53" y="3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5" name="任意多边形: 形状 734">
              <a:extLst>
                <a:ext uri="{FF2B5EF4-FFF2-40B4-BE49-F238E27FC236}">
                  <a16:creationId xmlns:a16="http://schemas.microsoft.com/office/drawing/2014/main" id="{1B430665-948B-43AB-A634-30363C3F9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225" y="2490788"/>
              <a:ext cx="795338" cy="430213"/>
            </a:xfrm>
            <a:custGeom>
              <a:avLst/>
              <a:gdLst>
                <a:gd name="T0" fmla="*/ 20 w 348"/>
                <a:gd name="T1" fmla="*/ 134 h 188"/>
                <a:gd name="T2" fmla="*/ 78 w 348"/>
                <a:gd name="T3" fmla="*/ 127 h 188"/>
                <a:gd name="T4" fmla="*/ 119 w 348"/>
                <a:gd name="T5" fmla="*/ 153 h 188"/>
                <a:gd name="T6" fmla="*/ 275 w 348"/>
                <a:gd name="T7" fmla="*/ 116 h 188"/>
                <a:gd name="T8" fmla="*/ 279 w 348"/>
                <a:gd name="T9" fmla="*/ 9 h 188"/>
                <a:gd name="T10" fmla="*/ 348 w 348"/>
                <a:gd name="T11" fmla="*/ 0 h 188"/>
                <a:gd name="T12" fmla="*/ 348 w 348"/>
                <a:gd name="T13" fmla="*/ 129 h 188"/>
                <a:gd name="T14" fmla="*/ 287 w 348"/>
                <a:gd name="T15" fmla="*/ 187 h 188"/>
                <a:gd name="T16" fmla="*/ 59 w 348"/>
                <a:gd name="T17" fmla="*/ 181 h 188"/>
                <a:gd name="T18" fmla="*/ 49 w 348"/>
                <a:gd name="T19" fmla="*/ 162 h 188"/>
                <a:gd name="T20" fmla="*/ 0 w 348"/>
                <a:gd name="T21" fmla="*/ 160 h 188"/>
                <a:gd name="T22" fmla="*/ 20 w 348"/>
                <a:gd name="T23" fmla="*/ 13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8" h="188">
                  <a:moveTo>
                    <a:pt x="20" y="134"/>
                  </a:moveTo>
                  <a:cubicBezTo>
                    <a:pt x="78" y="127"/>
                    <a:pt x="78" y="127"/>
                    <a:pt x="78" y="127"/>
                  </a:cubicBezTo>
                  <a:cubicBezTo>
                    <a:pt x="119" y="153"/>
                    <a:pt x="119" y="153"/>
                    <a:pt x="119" y="153"/>
                  </a:cubicBezTo>
                  <a:cubicBezTo>
                    <a:pt x="275" y="116"/>
                    <a:pt x="275" y="116"/>
                    <a:pt x="275" y="116"/>
                  </a:cubicBezTo>
                  <a:cubicBezTo>
                    <a:pt x="279" y="9"/>
                    <a:pt x="279" y="9"/>
                    <a:pt x="279" y="9"/>
                  </a:cubicBezTo>
                  <a:cubicBezTo>
                    <a:pt x="348" y="0"/>
                    <a:pt x="348" y="0"/>
                    <a:pt x="348" y="0"/>
                  </a:cubicBezTo>
                  <a:cubicBezTo>
                    <a:pt x="348" y="129"/>
                    <a:pt x="348" y="129"/>
                    <a:pt x="348" y="129"/>
                  </a:cubicBezTo>
                  <a:cubicBezTo>
                    <a:pt x="348" y="162"/>
                    <a:pt x="320" y="188"/>
                    <a:pt x="287" y="187"/>
                  </a:cubicBezTo>
                  <a:cubicBezTo>
                    <a:pt x="59" y="181"/>
                    <a:pt x="59" y="181"/>
                    <a:pt x="59" y="181"/>
                  </a:cubicBezTo>
                  <a:cubicBezTo>
                    <a:pt x="49" y="162"/>
                    <a:pt x="49" y="162"/>
                    <a:pt x="49" y="162"/>
                  </a:cubicBezTo>
                  <a:cubicBezTo>
                    <a:pt x="0" y="160"/>
                    <a:pt x="0" y="160"/>
                    <a:pt x="0" y="160"/>
                  </a:cubicBezTo>
                  <a:lnTo>
                    <a:pt x="20" y="134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6" name="任意多边形: 形状 735">
              <a:extLst>
                <a:ext uri="{FF2B5EF4-FFF2-40B4-BE49-F238E27FC236}">
                  <a16:creationId xmlns:a16="http://schemas.microsoft.com/office/drawing/2014/main" id="{19F89977-309F-425E-A305-B035FD88BA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9463" y="2755901"/>
              <a:ext cx="628650" cy="100013"/>
            </a:xfrm>
            <a:custGeom>
              <a:avLst/>
              <a:gdLst>
                <a:gd name="T0" fmla="*/ 275 w 275"/>
                <a:gd name="T1" fmla="*/ 0 h 44"/>
                <a:gd name="T2" fmla="*/ 272 w 275"/>
                <a:gd name="T3" fmla="*/ 1 h 44"/>
                <a:gd name="T4" fmla="*/ 264 w 275"/>
                <a:gd name="T5" fmla="*/ 3 h 44"/>
                <a:gd name="T6" fmla="*/ 233 w 275"/>
                <a:gd name="T7" fmla="*/ 11 h 44"/>
                <a:gd name="T8" fmla="*/ 129 w 275"/>
                <a:gd name="T9" fmla="*/ 36 h 44"/>
                <a:gd name="T10" fmla="*/ 119 w 275"/>
                <a:gd name="T11" fmla="*/ 38 h 44"/>
                <a:gd name="T12" fmla="*/ 119 w 275"/>
                <a:gd name="T13" fmla="*/ 38 h 44"/>
                <a:gd name="T14" fmla="*/ 119 w 275"/>
                <a:gd name="T15" fmla="*/ 38 h 44"/>
                <a:gd name="T16" fmla="*/ 78 w 275"/>
                <a:gd name="T17" fmla="*/ 11 h 44"/>
                <a:gd name="T18" fmla="*/ 78 w 275"/>
                <a:gd name="T19" fmla="*/ 11 h 44"/>
                <a:gd name="T20" fmla="*/ 21 w 275"/>
                <a:gd name="T21" fmla="*/ 18 h 44"/>
                <a:gd name="T22" fmla="*/ 21 w 275"/>
                <a:gd name="T23" fmla="*/ 18 h 44"/>
                <a:gd name="T24" fmla="*/ 6 w 275"/>
                <a:gd name="T25" fmla="*/ 37 h 44"/>
                <a:gd name="T26" fmla="*/ 1 w 275"/>
                <a:gd name="T27" fmla="*/ 42 h 44"/>
                <a:gd name="T28" fmla="*/ 0 w 275"/>
                <a:gd name="T29" fmla="*/ 44 h 44"/>
                <a:gd name="T30" fmla="*/ 1 w 275"/>
                <a:gd name="T31" fmla="*/ 42 h 44"/>
                <a:gd name="T32" fmla="*/ 5 w 275"/>
                <a:gd name="T33" fmla="*/ 37 h 44"/>
                <a:gd name="T34" fmla="*/ 20 w 275"/>
                <a:gd name="T35" fmla="*/ 17 h 44"/>
                <a:gd name="T36" fmla="*/ 20 w 275"/>
                <a:gd name="T37" fmla="*/ 17 h 44"/>
                <a:gd name="T38" fmla="*/ 20 w 275"/>
                <a:gd name="T39" fmla="*/ 17 h 44"/>
                <a:gd name="T40" fmla="*/ 78 w 275"/>
                <a:gd name="T41" fmla="*/ 10 h 44"/>
                <a:gd name="T42" fmla="*/ 79 w 275"/>
                <a:gd name="T43" fmla="*/ 10 h 44"/>
                <a:gd name="T44" fmla="*/ 79 w 275"/>
                <a:gd name="T45" fmla="*/ 10 h 44"/>
                <a:gd name="T46" fmla="*/ 120 w 275"/>
                <a:gd name="T47" fmla="*/ 37 h 44"/>
                <a:gd name="T48" fmla="*/ 119 w 275"/>
                <a:gd name="T49" fmla="*/ 36 h 44"/>
                <a:gd name="T50" fmla="*/ 129 w 275"/>
                <a:gd name="T51" fmla="*/ 34 h 44"/>
                <a:gd name="T52" fmla="*/ 232 w 275"/>
                <a:gd name="T53" fmla="*/ 10 h 44"/>
                <a:gd name="T54" fmla="*/ 264 w 275"/>
                <a:gd name="T55" fmla="*/ 2 h 44"/>
                <a:gd name="T56" fmla="*/ 272 w 275"/>
                <a:gd name="T57" fmla="*/ 0 h 44"/>
                <a:gd name="T58" fmla="*/ 275 w 275"/>
                <a:gd name="T5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5" h="44">
                  <a:moveTo>
                    <a:pt x="275" y="0"/>
                  </a:moveTo>
                  <a:cubicBezTo>
                    <a:pt x="275" y="0"/>
                    <a:pt x="274" y="0"/>
                    <a:pt x="272" y="1"/>
                  </a:cubicBezTo>
                  <a:cubicBezTo>
                    <a:pt x="270" y="1"/>
                    <a:pt x="267" y="2"/>
                    <a:pt x="264" y="3"/>
                  </a:cubicBezTo>
                  <a:cubicBezTo>
                    <a:pt x="256" y="5"/>
                    <a:pt x="246" y="8"/>
                    <a:pt x="233" y="11"/>
                  </a:cubicBezTo>
                  <a:cubicBezTo>
                    <a:pt x="206" y="17"/>
                    <a:pt x="169" y="26"/>
                    <a:pt x="129" y="36"/>
                  </a:cubicBezTo>
                  <a:cubicBezTo>
                    <a:pt x="126" y="37"/>
                    <a:pt x="123" y="37"/>
                    <a:pt x="119" y="38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04" y="29"/>
                    <a:pt x="91" y="20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56" y="14"/>
                    <a:pt x="36" y="16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4" y="26"/>
                    <a:pt x="9" y="33"/>
                    <a:pt x="6" y="37"/>
                  </a:cubicBezTo>
                  <a:cubicBezTo>
                    <a:pt x="4" y="39"/>
                    <a:pt x="2" y="41"/>
                    <a:pt x="1" y="42"/>
                  </a:cubicBezTo>
                  <a:cubicBezTo>
                    <a:pt x="1" y="44"/>
                    <a:pt x="0" y="44"/>
                    <a:pt x="0" y="44"/>
                  </a:cubicBezTo>
                  <a:cubicBezTo>
                    <a:pt x="0" y="44"/>
                    <a:pt x="0" y="43"/>
                    <a:pt x="1" y="42"/>
                  </a:cubicBezTo>
                  <a:cubicBezTo>
                    <a:pt x="2" y="41"/>
                    <a:pt x="3" y="39"/>
                    <a:pt x="5" y="37"/>
                  </a:cubicBezTo>
                  <a:cubicBezTo>
                    <a:pt x="9" y="32"/>
                    <a:pt x="14" y="26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36" y="15"/>
                    <a:pt x="55" y="13"/>
                    <a:pt x="78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91" y="18"/>
                    <a:pt x="105" y="27"/>
                    <a:pt x="120" y="37"/>
                  </a:cubicBezTo>
                  <a:cubicBezTo>
                    <a:pt x="119" y="36"/>
                    <a:pt x="119" y="36"/>
                    <a:pt x="119" y="36"/>
                  </a:cubicBezTo>
                  <a:cubicBezTo>
                    <a:pt x="122" y="36"/>
                    <a:pt x="125" y="35"/>
                    <a:pt x="129" y="34"/>
                  </a:cubicBezTo>
                  <a:cubicBezTo>
                    <a:pt x="169" y="25"/>
                    <a:pt x="206" y="16"/>
                    <a:pt x="232" y="10"/>
                  </a:cubicBezTo>
                  <a:cubicBezTo>
                    <a:pt x="245" y="7"/>
                    <a:pt x="256" y="4"/>
                    <a:pt x="264" y="2"/>
                  </a:cubicBezTo>
                  <a:cubicBezTo>
                    <a:pt x="267" y="2"/>
                    <a:pt x="270" y="1"/>
                    <a:pt x="272" y="0"/>
                  </a:cubicBezTo>
                  <a:cubicBezTo>
                    <a:pt x="274" y="0"/>
                    <a:pt x="275" y="0"/>
                    <a:pt x="275" y="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7" name="任意多边形: 形状 736">
              <a:extLst>
                <a:ext uri="{FF2B5EF4-FFF2-40B4-BE49-F238E27FC236}">
                  <a16:creationId xmlns:a16="http://schemas.microsoft.com/office/drawing/2014/main" id="{0180FB5D-FE24-44E7-A009-706E22513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625" y="2830513"/>
              <a:ext cx="93663" cy="30163"/>
            </a:xfrm>
            <a:custGeom>
              <a:avLst/>
              <a:gdLst>
                <a:gd name="T0" fmla="*/ 41 w 41"/>
                <a:gd name="T1" fmla="*/ 1 h 13"/>
                <a:gd name="T2" fmla="*/ 19 w 41"/>
                <a:gd name="T3" fmla="*/ 2 h 13"/>
                <a:gd name="T4" fmla="*/ 14 w 41"/>
                <a:gd name="T5" fmla="*/ 2 h 13"/>
                <a:gd name="T6" fmla="*/ 15 w 41"/>
                <a:gd name="T7" fmla="*/ 2 h 13"/>
                <a:gd name="T8" fmla="*/ 0 w 41"/>
                <a:gd name="T9" fmla="*/ 13 h 13"/>
                <a:gd name="T10" fmla="*/ 14 w 41"/>
                <a:gd name="T11" fmla="*/ 0 h 13"/>
                <a:gd name="T12" fmla="*/ 14 w 41"/>
                <a:gd name="T13" fmla="*/ 0 h 13"/>
                <a:gd name="T14" fmla="*/ 14 w 41"/>
                <a:gd name="T15" fmla="*/ 0 h 13"/>
                <a:gd name="T16" fmla="*/ 19 w 41"/>
                <a:gd name="T17" fmla="*/ 0 h 13"/>
                <a:gd name="T18" fmla="*/ 41 w 41"/>
                <a:gd name="T19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13">
                  <a:moveTo>
                    <a:pt x="41" y="1"/>
                  </a:moveTo>
                  <a:cubicBezTo>
                    <a:pt x="41" y="2"/>
                    <a:pt x="31" y="2"/>
                    <a:pt x="19" y="2"/>
                  </a:cubicBezTo>
                  <a:cubicBezTo>
                    <a:pt x="17" y="2"/>
                    <a:pt x="16" y="2"/>
                    <a:pt x="14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7" y="9"/>
                    <a:pt x="1" y="13"/>
                    <a:pt x="0" y="13"/>
                  </a:cubicBezTo>
                  <a:cubicBezTo>
                    <a:pt x="0" y="13"/>
                    <a:pt x="6" y="7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6" y="0"/>
                    <a:pt x="17" y="0"/>
                    <a:pt x="19" y="0"/>
                  </a:cubicBezTo>
                  <a:cubicBezTo>
                    <a:pt x="31" y="0"/>
                    <a:pt x="41" y="1"/>
                    <a:pt x="41" y="1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8" name="任意多边形: 形状 737">
              <a:extLst>
                <a:ext uri="{FF2B5EF4-FFF2-40B4-BE49-F238E27FC236}">
                  <a16:creationId xmlns:a16="http://schemas.microsoft.com/office/drawing/2014/main" id="{43F8AB28-D479-4009-BDD0-02EF1046C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875" y="2755901"/>
              <a:ext cx="61913" cy="41275"/>
            </a:xfrm>
            <a:custGeom>
              <a:avLst/>
              <a:gdLst>
                <a:gd name="T0" fmla="*/ 27 w 27"/>
                <a:gd name="T1" fmla="*/ 17 h 18"/>
                <a:gd name="T2" fmla="*/ 16 w 27"/>
                <a:gd name="T3" fmla="*/ 5 h 18"/>
                <a:gd name="T4" fmla="*/ 0 w 27"/>
                <a:gd name="T5" fmla="*/ 0 h 18"/>
                <a:gd name="T6" fmla="*/ 5 w 27"/>
                <a:gd name="T7" fmla="*/ 0 h 18"/>
                <a:gd name="T8" fmla="*/ 17 w 27"/>
                <a:gd name="T9" fmla="*/ 4 h 18"/>
                <a:gd name="T10" fmla="*/ 25 w 27"/>
                <a:gd name="T11" fmla="*/ 13 h 18"/>
                <a:gd name="T12" fmla="*/ 27 w 27"/>
                <a:gd name="T1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8">
                  <a:moveTo>
                    <a:pt x="27" y="17"/>
                  </a:moveTo>
                  <a:cubicBezTo>
                    <a:pt x="27" y="18"/>
                    <a:pt x="24" y="10"/>
                    <a:pt x="16" y="5"/>
                  </a:cubicBezTo>
                  <a:cubicBezTo>
                    <a:pt x="8" y="0"/>
                    <a:pt x="0" y="1"/>
                    <a:pt x="0" y="0"/>
                  </a:cubicBezTo>
                  <a:cubicBezTo>
                    <a:pt x="0" y="0"/>
                    <a:pt x="2" y="0"/>
                    <a:pt x="5" y="0"/>
                  </a:cubicBezTo>
                  <a:cubicBezTo>
                    <a:pt x="8" y="0"/>
                    <a:pt x="13" y="1"/>
                    <a:pt x="17" y="4"/>
                  </a:cubicBezTo>
                  <a:cubicBezTo>
                    <a:pt x="21" y="7"/>
                    <a:pt x="24" y="10"/>
                    <a:pt x="25" y="13"/>
                  </a:cubicBezTo>
                  <a:cubicBezTo>
                    <a:pt x="27" y="15"/>
                    <a:pt x="27" y="17"/>
                    <a:pt x="27" y="17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9" name="矩形 738">
              <a:extLst>
                <a:ext uri="{FF2B5EF4-FFF2-40B4-BE49-F238E27FC236}">
                  <a16:creationId xmlns:a16="http://schemas.microsoft.com/office/drawing/2014/main" id="{850B2750-4424-4AB3-A384-13A0BE6EB6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0300" y="4748213"/>
              <a:ext cx="596900" cy="82550"/>
            </a:xfrm>
            <a:prstGeom prst="rect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0" name="任意多边形: 形状 739">
              <a:extLst>
                <a:ext uri="{FF2B5EF4-FFF2-40B4-BE49-F238E27FC236}">
                  <a16:creationId xmlns:a16="http://schemas.microsoft.com/office/drawing/2014/main" id="{1187C5E8-ABC3-4F09-8BE1-E0E94C2B4C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8713" y="4746626"/>
              <a:ext cx="598488" cy="84138"/>
            </a:xfrm>
            <a:custGeom>
              <a:avLst/>
              <a:gdLst>
                <a:gd name="T0" fmla="*/ 377 w 377"/>
                <a:gd name="T1" fmla="*/ 53 h 53"/>
                <a:gd name="T2" fmla="*/ 0 w 377"/>
                <a:gd name="T3" fmla="*/ 53 h 53"/>
                <a:gd name="T4" fmla="*/ 0 w 377"/>
                <a:gd name="T5" fmla="*/ 0 h 53"/>
                <a:gd name="T6" fmla="*/ 377 w 377"/>
                <a:gd name="T7" fmla="*/ 0 h 53"/>
                <a:gd name="T8" fmla="*/ 377 w 377"/>
                <a:gd name="T9" fmla="*/ 53 h 53"/>
                <a:gd name="T10" fmla="*/ 1 w 377"/>
                <a:gd name="T11" fmla="*/ 52 h 53"/>
                <a:gd name="T12" fmla="*/ 376 w 377"/>
                <a:gd name="T13" fmla="*/ 52 h 53"/>
                <a:gd name="T14" fmla="*/ 376 w 377"/>
                <a:gd name="T15" fmla="*/ 1 h 53"/>
                <a:gd name="T16" fmla="*/ 1 w 377"/>
                <a:gd name="T17" fmla="*/ 1 h 53"/>
                <a:gd name="T18" fmla="*/ 1 w 377"/>
                <a:gd name="T19" fmla="*/ 5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7" h="53">
                  <a:moveTo>
                    <a:pt x="377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377" y="0"/>
                  </a:lnTo>
                  <a:lnTo>
                    <a:pt x="377" y="53"/>
                  </a:lnTo>
                  <a:close/>
                  <a:moveTo>
                    <a:pt x="1" y="52"/>
                  </a:moveTo>
                  <a:lnTo>
                    <a:pt x="376" y="52"/>
                  </a:lnTo>
                  <a:lnTo>
                    <a:pt x="376" y="1"/>
                  </a:lnTo>
                  <a:lnTo>
                    <a:pt x="1" y="1"/>
                  </a:lnTo>
                  <a:lnTo>
                    <a:pt x="1" y="52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1" name="任意多边形: 形状 740">
              <a:extLst>
                <a:ext uri="{FF2B5EF4-FFF2-40B4-BE49-F238E27FC236}">
                  <a16:creationId xmlns:a16="http://schemas.microsoft.com/office/drawing/2014/main" id="{8F8CBF1D-C128-4A59-A778-8FF3D6E5C8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5863" y="4803776"/>
              <a:ext cx="487363" cy="422275"/>
            </a:xfrm>
            <a:custGeom>
              <a:avLst/>
              <a:gdLst>
                <a:gd name="T0" fmla="*/ 0 w 307"/>
                <a:gd name="T1" fmla="*/ 0 h 266"/>
                <a:gd name="T2" fmla="*/ 53 w 307"/>
                <a:gd name="T3" fmla="*/ 266 h 266"/>
                <a:gd name="T4" fmla="*/ 253 w 307"/>
                <a:gd name="T5" fmla="*/ 266 h 266"/>
                <a:gd name="T6" fmla="*/ 307 w 307"/>
                <a:gd name="T7" fmla="*/ 17 h 266"/>
                <a:gd name="T8" fmla="*/ 0 w 307"/>
                <a:gd name="T9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7" h="266">
                  <a:moveTo>
                    <a:pt x="0" y="0"/>
                  </a:moveTo>
                  <a:lnTo>
                    <a:pt x="53" y="266"/>
                  </a:lnTo>
                  <a:lnTo>
                    <a:pt x="253" y="266"/>
                  </a:lnTo>
                  <a:lnTo>
                    <a:pt x="307" y="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2" name="任意多边形: 形状 741">
              <a:extLst>
                <a:ext uri="{FF2B5EF4-FFF2-40B4-BE49-F238E27FC236}">
                  <a16:creationId xmlns:a16="http://schemas.microsoft.com/office/drawing/2014/main" id="{5DB388DF-F6B4-4022-AE75-190DC4DE1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5863" y="5187951"/>
              <a:ext cx="487363" cy="61913"/>
            </a:xfrm>
            <a:custGeom>
              <a:avLst/>
              <a:gdLst>
                <a:gd name="T0" fmla="*/ 0 w 307"/>
                <a:gd name="T1" fmla="*/ 0 h 39"/>
                <a:gd name="T2" fmla="*/ 29 w 307"/>
                <a:gd name="T3" fmla="*/ 39 h 39"/>
                <a:gd name="T4" fmla="*/ 272 w 307"/>
                <a:gd name="T5" fmla="*/ 39 h 39"/>
                <a:gd name="T6" fmla="*/ 307 w 307"/>
                <a:gd name="T7" fmla="*/ 0 h 39"/>
                <a:gd name="T8" fmla="*/ 0 w 307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7" h="39">
                  <a:moveTo>
                    <a:pt x="0" y="0"/>
                  </a:moveTo>
                  <a:lnTo>
                    <a:pt x="29" y="39"/>
                  </a:lnTo>
                  <a:lnTo>
                    <a:pt x="272" y="39"/>
                  </a:lnTo>
                  <a:lnTo>
                    <a:pt x="30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3" name="任意多边形: 形状 742">
              <a:extLst>
                <a:ext uri="{FF2B5EF4-FFF2-40B4-BE49-F238E27FC236}">
                  <a16:creationId xmlns:a16="http://schemas.microsoft.com/office/drawing/2014/main" id="{25421A86-FEDB-41B0-B87C-4B6CBF258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350" y="3937001"/>
              <a:ext cx="4763" cy="877888"/>
            </a:xfrm>
            <a:custGeom>
              <a:avLst/>
              <a:gdLst>
                <a:gd name="T0" fmla="*/ 1 w 2"/>
                <a:gd name="T1" fmla="*/ 384 h 384"/>
                <a:gd name="T2" fmla="*/ 0 w 2"/>
                <a:gd name="T3" fmla="*/ 192 h 384"/>
                <a:gd name="T4" fmla="*/ 0 w 2"/>
                <a:gd name="T5" fmla="*/ 0 h 384"/>
                <a:gd name="T6" fmla="*/ 2 w 2"/>
                <a:gd name="T7" fmla="*/ 192 h 384"/>
                <a:gd name="T8" fmla="*/ 1 w 2"/>
                <a:gd name="T9" fmla="*/ 38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84">
                  <a:moveTo>
                    <a:pt x="1" y="384"/>
                  </a:moveTo>
                  <a:cubicBezTo>
                    <a:pt x="1" y="384"/>
                    <a:pt x="0" y="298"/>
                    <a:pt x="0" y="192"/>
                  </a:cubicBezTo>
                  <a:cubicBezTo>
                    <a:pt x="0" y="86"/>
                    <a:pt x="0" y="0"/>
                    <a:pt x="0" y="0"/>
                  </a:cubicBezTo>
                  <a:cubicBezTo>
                    <a:pt x="1" y="0"/>
                    <a:pt x="1" y="86"/>
                    <a:pt x="2" y="192"/>
                  </a:cubicBezTo>
                  <a:cubicBezTo>
                    <a:pt x="2" y="298"/>
                    <a:pt x="2" y="384"/>
                    <a:pt x="1" y="38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4" name="任意多边形: 形状 743">
              <a:extLst>
                <a:ext uri="{FF2B5EF4-FFF2-40B4-BE49-F238E27FC236}">
                  <a16:creationId xmlns:a16="http://schemas.microsoft.com/office/drawing/2014/main" id="{64B08E57-9D8E-4D41-A8E3-9C630326A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725" y="4324351"/>
              <a:ext cx="57150" cy="465138"/>
            </a:xfrm>
            <a:custGeom>
              <a:avLst/>
              <a:gdLst>
                <a:gd name="T0" fmla="*/ 25 w 25"/>
                <a:gd name="T1" fmla="*/ 0 h 204"/>
                <a:gd name="T2" fmla="*/ 24 w 25"/>
                <a:gd name="T3" fmla="*/ 2 h 204"/>
                <a:gd name="T4" fmla="*/ 22 w 25"/>
                <a:gd name="T5" fmla="*/ 8 h 204"/>
                <a:gd name="T6" fmla="*/ 20 w 25"/>
                <a:gd name="T7" fmla="*/ 12 h 204"/>
                <a:gd name="T8" fmla="*/ 18 w 25"/>
                <a:gd name="T9" fmla="*/ 17 h 204"/>
                <a:gd name="T10" fmla="*/ 16 w 25"/>
                <a:gd name="T11" fmla="*/ 22 h 204"/>
                <a:gd name="T12" fmla="*/ 14 w 25"/>
                <a:gd name="T13" fmla="*/ 29 h 204"/>
                <a:gd name="T14" fmla="*/ 7 w 25"/>
                <a:gd name="T15" fmla="*/ 61 h 204"/>
                <a:gd name="T16" fmla="*/ 3 w 25"/>
                <a:gd name="T17" fmla="*/ 101 h 204"/>
                <a:gd name="T18" fmla="*/ 5 w 25"/>
                <a:gd name="T19" fmla="*/ 174 h 204"/>
                <a:gd name="T20" fmla="*/ 7 w 25"/>
                <a:gd name="T21" fmla="*/ 196 h 204"/>
                <a:gd name="T22" fmla="*/ 8 w 25"/>
                <a:gd name="T23" fmla="*/ 202 h 204"/>
                <a:gd name="T24" fmla="*/ 8 w 25"/>
                <a:gd name="T25" fmla="*/ 204 h 204"/>
                <a:gd name="T26" fmla="*/ 7 w 25"/>
                <a:gd name="T27" fmla="*/ 202 h 204"/>
                <a:gd name="T28" fmla="*/ 6 w 25"/>
                <a:gd name="T29" fmla="*/ 196 h 204"/>
                <a:gd name="T30" fmla="*/ 4 w 25"/>
                <a:gd name="T31" fmla="*/ 174 h 204"/>
                <a:gd name="T32" fmla="*/ 1 w 25"/>
                <a:gd name="T33" fmla="*/ 100 h 204"/>
                <a:gd name="T34" fmla="*/ 5 w 25"/>
                <a:gd name="T35" fmla="*/ 60 h 204"/>
                <a:gd name="T36" fmla="*/ 13 w 25"/>
                <a:gd name="T37" fmla="*/ 28 h 204"/>
                <a:gd name="T38" fmla="*/ 15 w 25"/>
                <a:gd name="T39" fmla="*/ 22 h 204"/>
                <a:gd name="T40" fmla="*/ 17 w 25"/>
                <a:gd name="T41" fmla="*/ 16 h 204"/>
                <a:gd name="T42" fmla="*/ 19 w 25"/>
                <a:gd name="T43" fmla="*/ 11 h 204"/>
                <a:gd name="T44" fmla="*/ 21 w 25"/>
                <a:gd name="T45" fmla="*/ 7 h 204"/>
                <a:gd name="T46" fmla="*/ 24 w 25"/>
                <a:gd name="T47" fmla="*/ 2 h 204"/>
                <a:gd name="T48" fmla="*/ 25 w 2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" h="204">
                  <a:moveTo>
                    <a:pt x="25" y="0"/>
                  </a:moveTo>
                  <a:cubicBezTo>
                    <a:pt x="25" y="0"/>
                    <a:pt x="24" y="1"/>
                    <a:pt x="24" y="2"/>
                  </a:cubicBezTo>
                  <a:cubicBezTo>
                    <a:pt x="23" y="4"/>
                    <a:pt x="22" y="5"/>
                    <a:pt x="22" y="8"/>
                  </a:cubicBezTo>
                  <a:cubicBezTo>
                    <a:pt x="21" y="9"/>
                    <a:pt x="20" y="10"/>
                    <a:pt x="20" y="12"/>
                  </a:cubicBezTo>
                  <a:cubicBezTo>
                    <a:pt x="19" y="13"/>
                    <a:pt x="19" y="15"/>
                    <a:pt x="18" y="17"/>
                  </a:cubicBezTo>
                  <a:cubicBezTo>
                    <a:pt x="17" y="18"/>
                    <a:pt x="17" y="20"/>
                    <a:pt x="16" y="22"/>
                  </a:cubicBezTo>
                  <a:cubicBezTo>
                    <a:pt x="15" y="24"/>
                    <a:pt x="15" y="26"/>
                    <a:pt x="14" y="29"/>
                  </a:cubicBezTo>
                  <a:cubicBezTo>
                    <a:pt x="11" y="38"/>
                    <a:pt x="9" y="48"/>
                    <a:pt x="7" y="61"/>
                  </a:cubicBezTo>
                  <a:cubicBezTo>
                    <a:pt x="5" y="73"/>
                    <a:pt x="3" y="86"/>
                    <a:pt x="3" y="101"/>
                  </a:cubicBezTo>
                  <a:cubicBezTo>
                    <a:pt x="2" y="129"/>
                    <a:pt x="3" y="155"/>
                    <a:pt x="5" y="174"/>
                  </a:cubicBezTo>
                  <a:cubicBezTo>
                    <a:pt x="6" y="183"/>
                    <a:pt x="7" y="191"/>
                    <a:pt x="7" y="196"/>
                  </a:cubicBezTo>
                  <a:cubicBezTo>
                    <a:pt x="7" y="198"/>
                    <a:pt x="8" y="200"/>
                    <a:pt x="8" y="202"/>
                  </a:cubicBezTo>
                  <a:cubicBezTo>
                    <a:pt x="8" y="203"/>
                    <a:pt x="8" y="204"/>
                    <a:pt x="8" y="204"/>
                  </a:cubicBezTo>
                  <a:cubicBezTo>
                    <a:pt x="8" y="204"/>
                    <a:pt x="8" y="203"/>
                    <a:pt x="7" y="202"/>
                  </a:cubicBezTo>
                  <a:cubicBezTo>
                    <a:pt x="7" y="200"/>
                    <a:pt x="7" y="198"/>
                    <a:pt x="6" y="196"/>
                  </a:cubicBezTo>
                  <a:cubicBezTo>
                    <a:pt x="6" y="191"/>
                    <a:pt x="5" y="183"/>
                    <a:pt x="4" y="174"/>
                  </a:cubicBezTo>
                  <a:cubicBezTo>
                    <a:pt x="1" y="155"/>
                    <a:pt x="0" y="129"/>
                    <a:pt x="1" y="100"/>
                  </a:cubicBezTo>
                  <a:cubicBezTo>
                    <a:pt x="2" y="86"/>
                    <a:pt x="3" y="73"/>
                    <a:pt x="5" y="60"/>
                  </a:cubicBezTo>
                  <a:cubicBezTo>
                    <a:pt x="7" y="48"/>
                    <a:pt x="10" y="37"/>
                    <a:pt x="13" y="28"/>
                  </a:cubicBezTo>
                  <a:cubicBezTo>
                    <a:pt x="14" y="26"/>
                    <a:pt x="14" y="24"/>
                    <a:pt x="15" y="22"/>
                  </a:cubicBezTo>
                  <a:cubicBezTo>
                    <a:pt x="16" y="20"/>
                    <a:pt x="16" y="18"/>
                    <a:pt x="17" y="16"/>
                  </a:cubicBezTo>
                  <a:cubicBezTo>
                    <a:pt x="18" y="15"/>
                    <a:pt x="18" y="13"/>
                    <a:pt x="19" y="11"/>
                  </a:cubicBezTo>
                  <a:cubicBezTo>
                    <a:pt x="20" y="10"/>
                    <a:pt x="20" y="9"/>
                    <a:pt x="21" y="7"/>
                  </a:cubicBezTo>
                  <a:cubicBezTo>
                    <a:pt x="22" y="5"/>
                    <a:pt x="23" y="3"/>
                    <a:pt x="24" y="2"/>
                  </a:cubicBezTo>
                  <a:cubicBezTo>
                    <a:pt x="24" y="1"/>
                    <a:pt x="24" y="0"/>
                    <a:pt x="2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5" name="任意多边形: 形状 744">
              <a:extLst>
                <a:ext uri="{FF2B5EF4-FFF2-40B4-BE49-F238E27FC236}">
                  <a16:creationId xmlns:a16="http://schemas.microsoft.com/office/drawing/2014/main" id="{E3171E0A-1AC1-4314-9C22-221072B2F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6213" y="4165601"/>
              <a:ext cx="77788" cy="654050"/>
            </a:xfrm>
            <a:custGeom>
              <a:avLst/>
              <a:gdLst>
                <a:gd name="T0" fmla="*/ 34 w 34"/>
                <a:gd name="T1" fmla="*/ 0 h 286"/>
                <a:gd name="T2" fmla="*/ 33 w 34"/>
                <a:gd name="T3" fmla="*/ 3 h 286"/>
                <a:gd name="T4" fmla="*/ 30 w 34"/>
                <a:gd name="T5" fmla="*/ 11 h 286"/>
                <a:gd name="T6" fmla="*/ 28 w 34"/>
                <a:gd name="T7" fmla="*/ 16 h 286"/>
                <a:gd name="T8" fmla="*/ 26 w 34"/>
                <a:gd name="T9" fmla="*/ 23 h 286"/>
                <a:gd name="T10" fmla="*/ 21 w 34"/>
                <a:gd name="T11" fmla="*/ 40 h 286"/>
                <a:gd name="T12" fmla="*/ 19 w 34"/>
                <a:gd name="T13" fmla="*/ 50 h 286"/>
                <a:gd name="T14" fmla="*/ 16 w 34"/>
                <a:gd name="T15" fmla="*/ 61 h 286"/>
                <a:gd name="T16" fmla="*/ 11 w 34"/>
                <a:gd name="T17" fmla="*/ 85 h 286"/>
                <a:gd name="T18" fmla="*/ 4 w 34"/>
                <a:gd name="T19" fmla="*/ 141 h 286"/>
                <a:gd name="T20" fmla="*/ 2 w 34"/>
                <a:gd name="T21" fmla="*/ 197 h 286"/>
                <a:gd name="T22" fmla="*/ 3 w 34"/>
                <a:gd name="T23" fmla="*/ 243 h 286"/>
                <a:gd name="T24" fmla="*/ 4 w 34"/>
                <a:gd name="T25" fmla="*/ 261 h 286"/>
                <a:gd name="T26" fmla="*/ 4 w 34"/>
                <a:gd name="T27" fmla="*/ 274 h 286"/>
                <a:gd name="T28" fmla="*/ 5 w 34"/>
                <a:gd name="T29" fmla="*/ 283 h 286"/>
                <a:gd name="T30" fmla="*/ 5 w 34"/>
                <a:gd name="T31" fmla="*/ 286 h 286"/>
                <a:gd name="T32" fmla="*/ 5 w 34"/>
                <a:gd name="T33" fmla="*/ 283 h 286"/>
                <a:gd name="T34" fmla="*/ 4 w 34"/>
                <a:gd name="T35" fmla="*/ 274 h 286"/>
                <a:gd name="T36" fmla="*/ 2 w 34"/>
                <a:gd name="T37" fmla="*/ 261 h 286"/>
                <a:gd name="T38" fmla="*/ 1 w 34"/>
                <a:gd name="T39" fmla="*/ 243 h 286"/>
                <a:gd name="T40" fmla="*/ 0 w 34"/>
                <a:gd name="T41" fmla="*/ 197 h 286"/>
                <a:gd name="T42" fmla="*/ 2 w 34"/>
                <a:gd name="T43" fmla="*/ 141 h 286"/>
                <a:gd name="T44" fmla="*/ 10 w 34"/>
                <a:gd name="T45" fmla="*/ 85 h 286"/>
                <a:gd name="T46" fmla="*/ 15 w 34"/>
                <a:gd name="T47" fmla="*/ 61 h 286"/>
                <a:gd name="T48" fmla="*/ 17 w 34"/>
                <a:gd name="T49" fmla="*/ 50 h 286"/>
                <a:gd name="T50" fmla="*/ 20 w 34"/>
                <a:gd name="T51" fmla="*/ 40 h 286"/>
                <a:gd name="T52" fmla="*/ 25 w 34"/>
                <a:gd name="T53" fmla="*/ 23 h 286"/>
                <a:gd name="T54" fmla="*/ 27 w 34"/>
                <a:gd name="T55" fmla="*/ 16 h 286"/>
                <a:gd name="T56" fmla="*/ 30 w 34"/>
                <a:gd name="T57" fmla="*/ 10 h 286"/>
                <a:gd name="T58" fmla="*/ 33 w 34"/>
                <a:gd name="T59" fmla="*/ 2 h 286"/>
                <a:gd name="T60" fmla="*/ 34 w 34"/>
                <a:gd name="T61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4" h="286">
                  <a:moveTo>
                    <a:pt x="34" y="0"/>
                  </a:moveTo>
                  <a:cubicBezTo>
                    <a:pt x="34" y="0"/>
                    <a:pt x="34" y="1"/>
                    <a:pt x="33" y="3"/>
                  </a:cubicBezTo>
                  <a:cubicBezTo>
                    <a:pt x="32" y="5"/>
                    <a:pt x="31" y="7"/>
                    <a:pt x="30" y="11"/>
                  </a:cubicBezTo>
                  <a:cubicBezTo>
                    <a:pt x="30" y="12"/>
                    <a:pt x="29" y="14"/>
                    <a:pt x="28" y="16"/>
                  </a:cubicBezTo>
                  <a:cubicBezTo>
                    <a:pt x="28" y="18"/>
                    <a:pt x="27" y="21"/>
                    <a:pt x="26" y="23"/>
                  </a:cubicBezTo>
                  <a:cubicBezTo>
                    <a:pt x="25" y="28"/>
                    <a:pt x="23" y="34"/>
                    <a:pt x="21" y="40"/>
                  </a:cubicBezTo>
                  <a:cubicBezTo>
                    <a:pt x="21" y="43"/>
                    <a:pt x="20" y="47"/>
                    <a:pt x="19" y="50"/>
                  </a:cubicBezTo>
                  <a:cubicBezTo>
                    <a:pt x="18" y="54"/>
                    <a:pt x="17" y="57"/>
                    <a:pt x="16" y="61"/>
                  </a:cubicBezTo>
                  <a:cubicBezTo>
                    <a:pt x="14" y="68"/>
                    <a:pt x="13" y="77"/>
                    <a:pt x="11" y="85"/>
                  </a:cubicBezTo>
                  <a:cubicBezTo>
                    <a:pt x="9" y="102"/>
                    <a:pt x="6" y="121"/>
                    <a:pt x="4" y="141"/>
                  </a:cubicBezTo>
                  <a:cubicBezTo>
                    <a:pt x="3" y="161"/>
                    <a:pt x="2" y="180"/>
                    <a:pt x="2" y="197"/>
                  </a:cubicBezTo>
                  <a:cubicBezTo>
                    <a:pt x="2" y="214"/>
                    <a:pt x="2" y="230"/>
                    <a:pt x="3" y="243"/>
                  </a:cubicBezTo>
                  <a:cubicBezTo>
                    <a:pt x="3" y="250"/>
                    <a:pt x="3" y="256"/>
                    <a:pt x="4" y="261"/>
                  </a:cubicBezTo>
                  <a:cubicBezTo>
                    <a:pt x="4" y="266"/>
                    <a:pt x="4" y="270"/>
                    <a:pt x="4" y="274"/>
                  </a:cubicBezTo>
                  <a:cubicBezTo>
                    <a:pt x="5" y="278"/>
                    <a:pt x="5" y="280"/>
                    <a:pt x="5" y="283"/>
                  </a:cubicBezTo>
                  <a:cubicBezTo>
                    <a:pt x="5" y="284"/>
                    <a:pt x="5" y="286"/>
                    <a:pt x="5" y="286"/>
                  </a:cubicBezTo>
                  <a:cubicBezTo>
                    <a:pt x="5" y="286"/>
                    <a:pt x="5" y="285"/>
                    <a:pt x="5" y="283"/>
                  </a:cubicBezTo>
                  <a:cubicBezTo>
                    <a:pt x="5" y="281"/>
                    <a:pt x="4" y="278"/>
                    <a:pt x="4" y="274"/>
                  </a:cubicBezTo>
                  <a:cubicBezTo>
                    <a:pt x="3" y="271"/>
                    <a:pt x="3" y="266"/>
                    <a:pt x="2" y="261"/>
                  </a:cubicBezTo>
                  <a:cubicBezTo>
                    <a:pt x="2" y="256"/>
                    <a:pt x="2" y="250"/>
                    <a:pt x="1" y="243"/>
                  </a:cubicBezTo>
                  <a:cubicBezTo>
                    <a:pt x="0" y="230"/>
                    <a:pt x="0" y="215"/>
                    <a:pt x="0" y="197"/>
                  </a:cubicBezTo>
                  <a:cubicBezTo>
                    <a:pt x="0" y="180"/>
                    <a:pt x="1" y="161"/>
                    <a:pt x="2" y="141"/>
                  </a:cubicBezTo>
                  <a:cubicBezTo>
                    <a:pt x="4" y="121"/>
                    <a:pt x="7" y="102"/>
                    <a:pt x="10" y="85"/>
                  </a:cubicBezTo>
                  <a:cubicBezTo>
                    <a:pt x="11" y="76"/>
                    <a:pt x="13" y="68"/>
                    <a:pt x="15" y="61"/>
                  </a:cubicBezTo>
                  <a:cubicBezTo>
                    <a:pt x="16" y="57"/>
                    <a:pt x="17" y="53"/>
                    <a:pt x="17" y="50"/>
                  </a:cubicBezTo>
                  <a:cubicBezTo>
                    <a:pt x="18" y="46"/>
                    <a:pt x="19" y="43"/>
                    <a:pt x="20" y="40"/>
                  </a:cubicBezTo>
                  <a:cubicBezTo>
                    <a:pt x="22" y="33"/>
                    <a:pt x="24" y="28"/>
                    <a:pt x="25" y="23"/>
                  </a:cubicBezTo>
                  <a:cubicBezTo>
                    <a:pt x="26" y="20"/>
                    <a:pt x="27" y="18"/>
                    <a:pt x="27" y="16"/>
                  </a:cubicBezTo>
                  <a:cubicBezTo>
                    <a:pt x="28" y="14"/>
                    <a:pt x="29" y="12"/>
                    <a:pt x="30" y="10"/>
                  </a:cubicBezTo>
                  <a:cubicBezTo>
                    <a:pt x="31" y="7"/>
                    <a:pt x="32" y="4"/>
                    <a:pt x="33" y="2"/>
                  </a:cubicBezTo>
                  <a:cubicBezTo>
                    <a:pt x="33" y="1"/>
                    <a:pt x="34" y="0"/>
                    <a:pt x="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6" name="任意多边形: 形状 745">
              <a:extLst>
                <a:ext uri="{FF2B5EF4-FFF2-40B4-BE49-F238E27FC236}">
                  <a16:creationId xmlns:a16="http://schemas.microsoft.com/office/drawing/2014/main" id="{C7E276C3-53E5-4672-82B7-E4D64AFD1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4125" y="3965576"/>
              <a:ext cx="114300" cy="884238"/>
            </a:xfrm>
            <a:custGeom>
              <a:avLst/>
              <a:gdLst>
                <a:gd name="T0" fmla="*/ 50 w 50"/>
                <a:gd name="T1" fmla="*/ 387 h 387"/>
                <a:gd name="T2" fmla="*/ 50 w 50"/>
                <a:gd name="T3" fmla="*/ 386 h 387"/>
                <a:gd name="T4" fmla="*/ 49 w 50"/>
                <a:gd name="T5" fmla="*/ 383 h 387"/>
                <a:gd name="T6" fmla="*/ 49 w 50"/>
                <a:gd name="T7" fmla="*/ 372 h 387"/>
                <a:gd name="T8" fmla="*/ 46 w 50"/>
                <a:gd name="T9" fmla="*/ 330 h 387"/>
                <a:gd name="T10" fmla="*/ 35 w 50"/>
                <a:gd name="T11" fmla="*/ 192 h 387"/>
                <a:gd name="T12" fmla="*/ 24 w 50"/>
                <a:gd name="T13" fmla="*/ 117 h 387"/>
                <a:gd name="T14" fmla="*/ 19 w 50"/>
                <a:gd name="T15" fmla="*/ 84 h 387"/>
                <a:gd name="T16" fmla="*/ 13 w 50"/>
                <a:gd name="T17" fmla="*/ 56 h 387"/>
                <a:gd name="T18" fmla="*/ 8 w 50"/>
                <a:gd name="T19" fmla="*/ 33 h 387"/>
                <a:gd name="T20" fmla="*/ 4 w 50"/>
                <a:gd name="T21" fmla="*/ 15 h 387"/>
                <a:gd name="T22" fmla="*/ 1 w 50"/>
                <a:gd name="T23" fmla="*/ 4 h 387"/>
                <a:gd name="T24" fmla="*/ 0 w 50"/>
                <a:gd name="T25" fmla="*/ 1 h 387"/>
                <a:gd name="T26" fmla="*/ 0 w 50"/>
                <a:gd name="T27" fmla="*/ 0 h 387"/>
                <a:gd name="T28" fmla="*/ 0 w 50"/>
                <a:gd name="T29" fmla="*/ 1 h 387"/>
                <a:gd name="T30" fmla="*/ 1 w 50"/>
                <a:gd name="T31" fmla="*/ 4 h 387"/>
                <a:gd name="T32" fmla="*/ 4 w 50"/>
                <a:gd name="T33" fmla="*/ 15 h 387"/>
                <a:gd name="T34" fmla="*/ 9 w 50"/>
                <a:gd name="T35" fmla="*/ 32 h 387"/>
                <a:gd name="T36" fmla="*/ 14 w 50"/>
                <a:gd name="T37" fmla="*/ 56 h 387"/>
                <a:gd name="T38" fmla="*/ 20 w 50"/>
                <a:gd name="T39" fmla="*/ 84 h 387"/>
                <a:gd name="T40" fmla="*/ 26 w 50"/>
                <a:gd name="T41" fmla="*/ 117 h 387"/>
                <a:gd name="T42" fmla="*/ 36 w 50"/>
                <a:gd name="T43" fmla="*/ 192 h 387"/>
                <a:gd name="T44" fmla="*/ 47 w 50"/>
                <a:gd name="T45" fmla="*/ 330 h 387"/>
                <a:gd name="T46" fmla="*/ 49 w 50"/>
                <a:gd name="T47" fmla="*/ 372 h 387"/>
                <a:gd name="T48" fmla="*/ 50 w 50"/>
                <a:gd name="T49" fmla="*/ 383 h 387"/>
                <a:gd name="T50" fmla="*/ 50 w 50"/>
                <a:gd name="T51" fmla="*/ 386 h 387"/>
                <a:gd name="T52" fmla="*/ 50 w 50"/>
                <a:gd name="T53" fmla="*/ 387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0" h="387">
                  <a:moveTo>
                    <a:pt x="50" y="387"/>
                  </a:moveTo>
                  <a:cubicBezTo>
                    <a:pt x="50" y="387"/>
                    <a:pt x="50" y="387"/>
                    <a:pt x="50" y="386"/>
                  </a:cubicBezTo>
                  <a:cubicBezTo>
                    <a:pt x="50" y="386"/>
                    <a:pt x="50" y="385"/>
                    <a:pt x="49" y="383"/>
                  </a:cubicBezTo>
                  <a:cubicBezTo>
                    <a:pt x="49" y="381"/>
                    <a:pt x="49" y="377"/>
                    <a:pt x="49" y="372"/>
                  </a:cubicBezTo>
                  <a:cubicBezTo>
                    <a:pt x="48" y="362"/>
                    <a:pt x="47" y="348"/>
                    <a:pt x="46" y="330"/>
                  </a:cubicBezTo>
                  <a:cubicBezTo>
                    <a:pt x="44" y="295"/>
                    <a:pt x="41" y="246"/>
                    <a:pt x="35" y="192"/>
                  </a:cubicBezTo>
                  <a:cubicBezTo>
                    <a:pt x="32" y="166"/>
                    <a:pt x="28" y="140"/>
                    <a:pt x="24" y="117"/>
                  </a:cubicBezTo>
                  <a:cubicBezTo>
                    <a:pt x="22" y="105"/>
                    <a:pt x="21" y="94"/>
                    <a:pt x="19" y="84"/>
                  </a:cubicBezTo>
                  <a:cubicBezTo>
                    <a:pt x="17" y="74"/>
                    <a:pt x="15" y="65"/>
                    <a:pt x="13" y="56"/>
                  </a:cubicBezTo>
                  <a:cubicBezTo>
                    <a:pt x="11" y="47"/>
                    <a:pt x="9" y="39"/>
                    <a:pt x="8" y="33"/>
                  </a:cubicBezTo>
                  <a:cubicBezTo>
                    <a:pt x="6" y="26"/>
                    <a:pt x="5" y="20"/>
                    <a:pt x="4" y="15"/>
                  </a:cubicBezTo>
                  <a:cubicBezTo>
                    <a:pt x="2" y="10"/>
                    <a:pt x="2" y="7"/>
                    <a:pt x="1" y="4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2"/>
                    <a:pt x="1" y="3"/>
                    <a:pt x="1" y="4"/>
                  </a:cubicBezTo>
                  <a:cubicBezTo>
                    <a:pt x="2" y="6"/>
                    <a:pt x="3" y="10"/>
                    <a:pt x="4" y="15"/>
                  </a:cubicBezTo>
                  <a:cubicBezTo>
                    <a:pt x="6" y="20"/>
                    <a:pt x="7" y="25"/>
                    <a:pt x="9" y="32"/>
                  </a:cubicBezTo>
                  <a:cubicBezTo>
                    <a:pt x="10" y="39"/>
                    <a:pt x="12" y="47"/>
                    <a:pt x="14" y="56"/>
                  </a:cubicBezTo>
                  <a:cubicBezTo>
                    <a:pt x="16" y="64"/>
                    <a:pt x="18" y="74"/>
                    <a:pt x="20" y="84"/>
                  </a:cubicBezTo>
                  <a:cubicBezTo>
                    <a:pt x="22" y="94"/>
                    <a:pt x="24" y="105"/>
                    <a:pt x="26" y="117"/>
                  </a:cubicBezTo>
                  <a:cubicBezTo>
                    <a:pt x="30" y="140"/>
                    <a:pt x="33" y="165"/>
                    <a:pt x="36" y="192"/>
                  </a:cubicBezTo>
                  <a:cubicBezTo>
                    <a:pt x="42" y="246"/>
                    <a:pt x="45" y="295"/>
                    <a:pt x="47" y="330"/>
                  </a:cubicBezTo>
                  <a:cubicBezTo>
                    <a:pt x="48" y="348"/>
                    <a:pt x="49" y="362"/>
                    <a:pt x="49" y="372"/>
                  </a:cubicBezTo>
                  <a:cubicBezTo>
                    <a:pt x="50" y="377"/>
                    <a:pt x="50" y="381"/>
                    <a:pt x="50" y="383"/>
                  </a:cubicBezTo>
                  <a:cubicBezTo>
                    <a:pt x="50" y="385"/>
                    <a:pt x="50" y="386"/>
                    <a:pt x="50" y="386"/>
                  </a:cubicBezTo>
                  <a:cubicBezTo>
                    <a:pt x="50" y="387"/>
                    <a:pt x="50" y="387"/>
                    <a:pt x="50" y="38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7" name="任意多边形: 形状 746">
              <a:extLst>
                <a:ext uri="{FF2B5EF4-FFF2-40B4-BE49-F238E27FC236}">
                  <a16:creationId xmlns:a16="http://schemas.microsoft.com/office/drawing/2014/main" id="{FA30B82D-002E-4AB1-A432-805541B1A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8088" y="3983038"/>
              <a:ext cx="285750" cy="514350"/>
            </a:xfrm>
            <a:custGeom>
              <a:avLst/>
              <a:gdLst>
                <a:gd name="T0" fmla="*/ 84 w 125"/>
                <a:gd name="T1" fmla="*/ 22 h 225"/>
                <a:gd name="T2" fmla="*/ 59 w 125"/>
                <a:gd name="T3" fmla="*/ 0 h 225"/>
                <a:gd name="T4" fmla="*/ 27 w 125"/>
                <a:gd name="T5" fmla="*/ 17 h 225"/>
                <a:gd name="T6" fmla="*/ 12 w 125"/>
                <a:gd name="T7" fmla="*/ 50 h 225"/>
                <a:gd name="T8" fmla="*/ 3 w 125"/>
                <a:gd name="T9" fmla="*/ 139 h 225"/>
                <a:gd name="T10" fmla="*/ 40 w 125"/>
                <a:gd name="T11" fmla="*/ 219 h 225"/>
                <a:gd name="T12" fmla="*/ 53 w 125"/>
                <a:gd name="T13" fmla="*/ 224 h 225"/>
                <a:gd name="T14" fmla="*/ 59 w 125"/>
                <a:gd name="T15" fmla="*/ 220 h 225"/>
                <a:gd name="T16" fmla="*/ 124 w 125"/>
                <a:gd name="T17" fmla="*/ 70 h 225"/>
                <a:gd name="T18" fmla="*/ 116 w 125"/>
                <a:gd name="T19" fmla="*/ 37 h 225"/>
                <a:gd name="T20" fmla="*/ 84 w 125"/>
                <a:gd name="T21" fmla="*/ 2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" h="225">
                  <a:moveTo>
                    <a:pt x="84" y="22"/>
                  </a:moveTo>
                  <a:cubicBezTo>
                    <a:pt x="83" y="10"/>
                    <a:pt x="71" y="0"/>
                    <a:pt x="59" y="0"/>
                  </a:cubicBezTo>
                  <a:cubicBezTo>
                    <a:pt x="46" y="0"/>
                    <a:pt x="35" y="7"/>
                    <a:pt x="27" y="17"/>
                  </a:cubicBezTo>
                  <a:cubicBezTo>
                    <a:pt x="20" y="27"/>
                    <a:pt x="16" y="39"/>
                    <a:pt x="12" y="50"/>
                  </a:cubicBezTo>
                  <a:cubicBezTo>
                    <a:pt x="4" y="79"/>
                    <a:pt x="0" y="109"/>
                    <a:pt x="3" y="139"/>
                  </a:cubicBezTo>
                  <a:cubicBezTo>
                    <a:pt x="7" y="168"/>
                    <a:pt x="19" y="198"/>
                    <a:pt x="40" y="219"/>
                  </a:cubicBezTo>
                  <a:cubicBezTo>
                    <a:pt x="44" y="222"/>
                    <a:pt x="48" y="225"/>
                    <a:pt x="53" y="224"/>
                  </a:cubicBezTo>
                  <a:cubicBezTo>
                    <a:pt x="55" y="224"/>
                    <a:pt x="57" y="222"/>
                    <a:pt x="59" y="220"/>
                  </a:cubicBezTo>
                  <a:cubicBezTo>
                    <a:pt x="101" y="182"/>
                    <a:pt x="125" y="126"/>
                    <a:pt x="124" y="70"/>
                  </a:cubicBezTo>
                  <a:cubicBezTo>
                    <a:pt x="123" y="58"/>
                    <a:pt x="122" y="47"/>
                    <a:pt x="116" y="37"/>
                  </a:cubicBezTo>
                  <a:cubicBezTo>
                    <a:pt x="109" y="28"/>
                    <a:pt x="95" y="18"/>
                    <a:pt x="84" y="22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8" name="任意多边形: 形状 747">
              <a:extLst>
                <a:ext uri="{FF2B5EF4-FFF2-40B4-BE49-F238E27FC236}">
                  <a16:creationId xmlns:a16="http://schemas.microsoft.com/office/drawing/2014/main" id="{F8C4FC44-BDC8-4BA7-9E24-B7D930B7F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813" y="3708401"/>
              <a:ext cx="152400" cy="176213"/>
            </a:xfrm>
            <a:custGeom>
              <a:avLst/>
              <a:gdLst>
                <a:gd name="T0" fmla="*/ 67 w 67"/>
                <a:gd name="T1" fmla="*/ 44 h 77"/>
                <a:gd name="T2" fmla="*/ 50 w 67"/>
                <a:gd name="T3" fmla="*/ 75 h 77"/>
                <a:gd name="T4" fmla="*/ 48 w 67"/>
                <a:gd name="T5" fmla="*/ 77 h 77"/>
                <a:gd name="T6" fmla="*/ 46 w 67"/>
                <a:gd name="T7" fmla="*/ 75 h 77"/>
                <a:gd name="T8" fmla="*/ 0 w 67"/>
                <a:gd name="T9" fmla="*/ 6 h 77"/>
                <a:gd name="T10" fmla="*/ 11 w 67"/>
                <a:gd name="T11" fmla="*/ 0 h 77"/>
                <a:gd name="T12" fmla="*/ 67 w 67"/>
                <a:gd name="T13" fmla="*/ 4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77">
                  <a:moveTo>
                    <a:pt x="67" y="44"/>
                  </a:moveTo>
                  <a:cubicBezTo>
                    <a:pt x="61" y="55"/>
                    <a:pt x="55" y="65"/>
                    <a:pt x="50" y="75"/>
                  </a:cubicBezTo>
                  <a:cubicBezTo>
                    <a:pt x="49" y="76"/>
                    <a:pt x="49" y="77"/>
                    <a:pt x="48" y="77"/>
                  </a:cubicBezTo>
                  <a:cubicBezTo>
                    <a:pt x="47" y="77"/>
                    <a:pt x="46" y="76"/>
                    <a:pt x="46" y="75"/>
                  </a:cubicBezTo>
                  <a:cubicBezTo>
                    <a:pt x="31" y="52"/>
                    <a:pt x="16" y="29"/>
                    <a:pt x="0" y="6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67" y="44"/>
                    <a:pt x="67" y="44"/>
                    <a:pt x="67" y="44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9" name="任意多边形: 形状 748">
              <a:extLst>
                <a:ext uri="{FF2B5EF4-FFF2-40B4-BE49-F238E27FC236}">
                  <a16:creationId xmlns:a16="http://schemas.microsoft.com/office/drawing/2014/main" id="{A5DAB0BA-7D9D-4C9A-9BE6-D591491CE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813" y="3708401"/>
              <a:ext cx="152400" cy="176213"/>
            </a:xfrm>
            <a:custGeom>
              <a:avLst/>
              <a:gdLst>
                <a:gd name="T0" fmla="*/ 11 w 67"/>
                <a:gd name="T1" fmla="*/ 0 h 77"/>
                <a:gd name="T2" fmla="*/ 0 w 67"/>
                <a:gd name="T3" fmla="*/ 6 h 77"/>
                <a:gd name="T4" fmla="*/ 46 w 67"/>
                <a:gd name="T5" fmla="*/ 75 h 77"/>
                <a:gd name="T6" fmla="*/ 48 w 67"/>
                <a:gd name="T7" fmla="*/ 77 h 77"/>
                <a:gd name="T8" fmla="*/ 48 w 67"/>
                <a:gd name="T9" fmla="*/ 77 h 77"/>
                <a:gd name="T10" fmla="*/ 50 w 67"/>
                <a:gd name="T11" fmla="*/ 75 h 77"/>
                <a:gd name="T12" fmla="*/ 67 w 67"/>
                <a:gd name="T13" fmla="*/ 44 h 77"/>
                <a:gd name="T14" fmla="*/ 11 w 67"/>
                <a:gd name="T15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77">
                  <a:moveTo>
                    <a:pt x="11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16" y="29"/>
                    <a:pt x="31" y="52"/>
                    <a:pt x="46" y="75"/>
                  </a:cubicBezTo>
                  <a:cubicBezTo>
                    <a:pt x="46" y="76"/>
                    <a:pt x="47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ubicBezTo>
                    <a:pt x="49" y="77"/>
                    <a:pt x="49" y="76"/>
                    <a:pt x="50" y="75"/>
                  </a:cubicBezTo>
                  <a:cubicBezTo>
                    <a:pt x="55" y="65"/>
                    <a:pt x="61" y="55"/>
                    <a:pt x="67" y="44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rgbClr val="0C3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0" name="任意多边形: 形状 749">
              <a:extLst>
                <a:ext uri="{FF2B5EF4-FFF2-40B4-BE49-F238E27FC236}">
                  <a16:creationId xmlns:a16="http://schemas.microsoft.com/office/drawing/2014/main" id="{B881BF4D-CD69-4107-ADA7-F11D6C8A2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813" y="3625851"/>
              <a:ext cx="401638" cy="311150"/>
            </a:xfrm>
            <a:custGeom>
              <a:avLst/>
              <a:gdLst>
                <a:gd name="T0" fmla="*/ 159 w 176"/>
                <a:gd name="T1" fmla="*/ 136 h 136"/>
                <a:gd name="T2" fmla="*/ 4 w 176"/>
                <a:gd name="T3" fmla="*/ 45 h 136"/>
                <a:gd name="T4" fmla="*/ 0 w 176"/>
                <a:gd name="T5" fmla="*/ 41 h 136"/>
                <a:gd name="T6" fmla="*/ 3 w 176"/>
                <a:gd name="T7" fmla="*/ 35 h 136"/>
                <a:gd name="T8" fmla="*/ 86 w 176"/>
                <a:gd name="T9" fmla="*/ 2 h 136"/>
                <a:gd name="T10" fmla="*/ 161 w 176"/>
                <a:gd name="T11" fmla="*/ 49 h 136"/>
                <a:gd name="T12" fmla="*/ 159 w 176"/>
                <a:gd name="T1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136">
                  <a:moveTo>
                    <a:pt x="159" y="136"/>
                  </a:moveTo>
                  <a:cubicBezTo>
                    <a:pt x="108" y="106"/>
                    <a:pt x="56" y="75"/>
                    <a:pt x="4" y="45"/>
                  </a:cubicBezTo>
                  <a:cubicBezTo>
                    <a:pt x="2" y="44"/>
                    <a:pt x="1" y="43"/>
                    <a:pt x="0" y="41"/>
                  </a:cubicBezTo>
                  <a:cubicBezTo>
                    <a:pt x="0" y="39"/>
                    <a:pt x="1" y="36"/>
                    <a:pt x="3" y="35"/>
                  </a:cubicBezTo>
                  <a:cubicBezTo>
                    <a:pt x="24" y="13"/>
                    <a:pt x="55" y="0"/>
                    <a:pt x="86" y="2"/>
                  </a:cubicBezTo>
                  <a:cubicBezTo>
                    <a:pt x="117" y="4"/>
                    <a:pt x="146" y="22"/>
                    <a:pt x="161" y="49"/>
                  </a:cubicBezTo>
                  <a:cubicBezTo>
                    <a:pt x="176" y="76"/>
                    <a:pt x="176" y="111"/>
                    <a:pt x="159" y="136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1" name="任意多边形: 形状 750">
              <a:extLst>
                <a:ext uri="{FF2B5EF4-FFF2-40B4-BE49-F238E27FC236}">
                  <a16:creationId xmlns:a16="http://schemas.microsoft.com/office/drawing/2014/main" id="{CB2BEEB4-FC2B-4BBA-942E-0B7D0370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8550" y="3660776"/>
              <a:ext cx="309563" cy="279400"/>
            </a:xfrm>
            <a:custGeom>
              <a:avLst/>
              <a:gdLst>
                <a:gd name="T0" fmla="*/ 0 w 135"/>
                <a:gd name="T1" fmla="*/ 1 h 122"/>
                <a:gd name="T2" fmla="*/ 2 w 135"/>
                <a:gd name="T3" fmla="*/ 0 h 122"/>
                <a:gd name="T4" fmla="*/ 8 w 135"/>
                <a:gd name="T5" fmla="*/ 0 h 122"/>
                <a:gd name="T6" fmla="*/ 30 w 135"/>
                <a:gd name="T7" fmla="*/ 2 h 122"/>
                <a:gd name="T8" fmla="*/ 61 w 135"/>
                <a:gd name="T9" fmla="*/ 11 h 122"/>
                <a:gd name="T10" fmla="*/ 93 w 135"/>
                <a:gd name="T11" fmla="*/ 32 h 122"/>
                <a:gd name="T12" fmla="*/ 118 w 135"/>
                <a:gd name="T13" fmla="*/ 63 h 122"/>
                <a:gd name="T14" fmla="*/ 130 w 135"/>
                <a:gd name="T15" fmla="*/ 93 h 122"/>
                <a:gd name="T16" fmla="*/ 134 w 135"/>
                <a:gd name="T17" fmla="*/ 114 h 122"/>
                <a:gd name="T18" fmla="*/ 134 w 135"/>
                <a:gd name="T19" fmla="*/ 120 h 122"/>
                <a:gd name="T20" fmla="*/ 134 w 135"/>
                <a:gd name="T21" fmla="*/ 122 h 122"/>
                <a:gd name="T22" fmla="*/ 133 w 135"/>
                <a:gd name="T23" fmla="*/ 114 h 122"/>
                <a:gd name="T24" fmla="*/ 129 w 135"/>
                <a:gd name="T25" fmla="*/ 93 h 122"/>
                <a:gd name="T26" fmla="*/ 92 w 135"/>
                <a:gd name="T27" fmla="*/ 34 h 122"/>
                <a:gd name="T28" fmla="*/ 30 w 135"/>
                <a:gd name="T29" fmla="*/ 3 h 122"/>
                <a:gd name="T30" fmla="*/ 8 w 135"/>
                <a:gd name="T31" fmla="*/ 1 h 122"/>
                <a:gd name="T32" fmla="*/ 0 w 135"/>
                <a:gd name="T33" fmla="*/ 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22">
                  <a:moveTo>
                    <a:pt x="0" y="1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3" y="0"/>
                    <a:pt x="21" y="0"/>
                    <a:pt x="30" y="2"/>
                  </a:cubicBezTo>
                  <a:cubicBezTo>
                    <a:pt x="39" y="3"/>
                    <a:pt x="49" y="6"/>
                    <a:pt x="61" y="11"/>
                  </a:cubicBezTo>
                  <a:cubicBezTo>
                    <a:pt x="72" y="16"/>
                    <a:pt x="83" y="23"/>
                    <a:pt x="93" y="32"/>
                  </a:cubicBezTo>
                  <a:cubicBezTo>
                    <a:pt x="104" y="42"/>
                    <a:pt x="112" y="53"/>
                    <a:pt x="118" y="63"/>
                  </a:cubicBezTo>
                  <a:cubicBezTo>
                    <a:pt x="124" y="74"/>
                    <a:pt x="128" y="84"/>
                    <a:pt x="130" y="93"/>
                  </a:cubicBezTo>
                  <a:cubicBezTo>
                    <a:pt x="133" y="101"/>
                    <a:pt x="134" y="109"/>
                    <a:pt x="134" y="114"/>
                  </a:cubicBezTo>
                  <a:cubicBezTo>
                    <a:pt x="134" y="116"/>
                    <a:pt x="134" y="118"/>
                    <a:pt x="134" y="120"/>
                  </a:cubicBezTo>
                  <a:cubicBezTo>
                    <a:pt x="135" y="121"/>
                    <a:pt x="134" y="122"/>
                    <a:pt x="134" y="122"/>
                  </a:cubicBezTo>
                  <a:cubicBezTo>
                    <a:pt x="134" y="122"/>
                    <a:pt x="134" y="119"/>
                    <a:pt x="133" y="114"/>
                  </a:cubicBezTo>
                  <a:cubicBezTo>
                    <a:pt x="133" y="109"/>
                    <a:pt x="132" y="102"/>
                    <a:pt x="129" y="93"/>
                  </a:cubicBezTo>
                  <a:cubicBezTo>
                    <a:pt x="124" y="76"/>
                    <a:pt x="113" y="52"/>
                    <a:pt x="92" y="34"/>
                  </a:cubicBezTo>
                  <a:cubicBezTo>
                    <a:pt x="72" y="15"/>
                    <a:pt x="47" y="6"/>
                    <a:pt x="30" y="3"/>
                  </a:cubicBezTo>
                  <a:cubicBezTo>
                    <a:pt x="21" y="1"/>
                    <a:pt x="13" y="1"/>
                    <a:pt x="8" y="1"/>
                  </a:cubicBezTo>
                  <a:cubicBezTo>
                    <a:pt x="3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2" name="任意多边形: 形状 751">
              <a:extLst>
                <a:ext uri="{FF2B5EF4-FFF2-40B4-BE49-F238E27FC236}">
                  <a16:creationId xmlns:a16="http://schemas.microsoft.com/office/drawing/2014/main" id="{FE486963-D71D-4EED-90D6-0E5B413BA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7138" y="3794126"/>
              <a:ext cx="127000" cy="39688"/>
            </a:xfrm>
            <a:custGeom>
              <a:avLst/>
              <a:gdLst>
                <a:gd name="T0" fmla="*/ 56 w 56"/>
                <a:gd name="T1" fmla="*/ 0 h 18"/>
                <a:gd name="T2" fmla="*/ 48 w 56"/>
                <a:gd name="T3" fmla="*/ 4 h 18"/>
                <a:gd name="T4" fmla="*/ 29 w 56"/>
                <a:gd name="T5" fmla="*/ 11 h 18"/>
                <a:gd name="T6" fmla="*/ 9 w 56"/>
                <a:gd name="T7" fmla="*/ 16 h 18"/>
                <a:gd name="T8" fmla="*/ 0 w 56"/>
                <a:gd name="T9" fmla="*/ 18 h 18"/>
                <a:gd name="T10" fmla="*/ 8 w 56"/>
                <a:gd name="T11" fmla="*/ 15 h 18"/>
                <a:gd name="T12" fmla="*/ 28 w 56"/>
                <a:gd name="T13" fmla="*/ 9 h 18"/>
                <a:gd name="T14" fmla="*/ 48 w 56"/>
                <a:gd name="T15" fmla="*/ 2 h 18"/>
                <a:gd name="T16" fmla="*/ 56 w 56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18">
                  <a:moveTo>
                    <a:pt x="56" y="0"/>
                  </a:moveTo>
                  <a:cubicBezTo>
                    <a:pt x="56" y="0"/>
                    <a:pt x="53" y="2"/>
                    <a:pt x="48" y="4"/>
                  </a:cubicBezTo>
                  <a:cubicBezTo>
                    <a:pt x="43" y="6"/>
                    <a:pt x="37" y="8"/>
                    <a:pt x="29" y="11"/>
                  </a:cubicBezTo>
                  <a:cubicBezTo>
                    <a:pt x="21" y="13"/>
                    <a:pt x="14" y="15"/>
                    <a:pt x="9" y="16"/>
                  </a:cubicBezTo>
                  <a:cubicBezTo>
                    <a:pt x="4" y="18"/>
                    <a:pt x="0" y="18"/>
                    <a:pt x="0" y="18"/>
                  </a:cubicBezTo>
                  <a:cubicBezTo>
                    <a:pt x="0" y="18"/>
                    <a:pt x="3" y="17"/>
                    <a:pt x="8" y="15"/>
                  </a:cubicBezTo>
                  <a:cubicBezTo>
                    <a:pt x="14" y="13"/>
                    <a:pt x="21" y="11"/>
                    <a:pt x="28" y="9"/>
                  </a:cubicBezTo>
                  <a:cubicBezTo>
                    <a:pt x="36" y="6"/>
                    <a:pt x="42" y="4"/>
                    <a:pt x="48" y="2"/>
                  </a:cubicBezTo>
                  <a:cubicBezTo>
                    <a:pt x="53" y="1"/>
                    <a:pt x="56" y="0"/>
                    <a:pt x="5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3" name="任意多边形: 形状 752">
              <a:extLst>
                <a:ext uri="{FF2B5EF4-FFF2-40B4-BE49-F238E27FC236}">
                  <a16:creationId xmlns:a16="http://schemas.microsoft.com/office/drawing/2014/main" id="{9CFAC9C7-63F0-417C-BD88-5D04361E9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3643313"/>
              <a:ext cx="7938" cy="79375"/>
            </a:xfrm>
            <a:custGeom>
              <a:avLst/>
              <a:gdLst>
                <a:gd name="T0" fmla="*/ 1 w 3"/>
                <a:gd name="T1" fmla="*/ 0 h 35"/>
                <a:gd name="T2" fmla="*/ 3 w 3"/>
                <a:gd name="T3" fmla="*/ 18 h 35"/>
                <a:gd name="T4" fmla="*/ 2 w 3"/>
                <a:gd name="T5" fmla="*/ 35 h 35"/>
                <a:gd name="T6" fmla="*/ 1 w 3"/>
                <a:gd name="T7" fmla="*/ 18 h 35"/>
                <a:gd name="T8" fmla="*/ 1 w 3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5">
                  <a:moveTo>
                    <a:pt x="1" y="0"/>
                  </a:moveTo>
                  <a:cubicBezTo>
                    <a:pt x="1" y="0"/>
                    <a:pt x="2" y="8"/>
                    <a:pt x="3" y="18"/>
                  </a:cubicBezTo>
                  <a:cubicBezTo>
                    <a:pt x="3" y="27"/>
                    <a:pt x="2" y="35"/>
                    <a:pt x="2" y="35"/>
                  </a:cubicBezTo>
                  <a:cubicBezTo>
                    <a:pt x="1" y="35"/>
                    <a:pt x="1" y="27"/>
                    <a:pt x="1" y="18"/>
                  </a:cubicBezTo>
                  <a:cubicBezTo>
                    <a:pt x="1" y="8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4" name="任意多边形: 形状 753">
              <a:extLst>
                <a:ext uri="{FF2B5EF4-FFF2-40B4-BE49-F238E27FC236}">
                  <a16:creationId xmlns:a16="http://schemas.microsoft.com/office/drawing/2014/main" id="{B9E5F240-835E-4DBF-9BC8-D5E84C9F2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163" y="3681413"/>
              <a:ext cx="180975" cy="42863"/>
            </a:xfrm>
            <a:custGeom>
              <a:avLst/>
              <a:gdLst>
                <a:gd name="T0" fmla="*/ 0 w 79"/>
                <a:gd name="T1" fmla="*/ 19 h 19"/>
                <a:gd name="T2" fmla="*/ 11 w 79"/>
                <a:gd name="T3" fmla="*/ 15 h 19"/>
                <a:gd name="T4" fmla="*/ 39 w 79"/>
                <a:gd name="T5" fmla="*/ 7 h 19"/>
                <a:gd name="T6" fmla="*/ 67 w 79"/>
                <a:gd name="T7" fmla="*/ 2 h 19"/>
                <a:gd name="T8" fmla="*/ 79 w 79"/>
                <a:gd name="T9" fmla="*/ 0 h 19"/>
                <a:gd name="T10" fmla="*/ 67 w 79"/>
                <a:gd name="T11" fmla="*/ 3 h 19"/>
                <a:gd name="T12" fmla="*/ 39 w 79"/>
                <a:gd name="T13" fmla="*/ 9 h 19"/>
                <a:gd name="T14" fmla="*/ 11 w 79"/>
                <a:gd name="T15" fmla="*/ 16 h 19"/>
                <a:gd name="T16" fmla="*/ 0 w 79"/>
                <a:gd name="T1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19">
                  <a:moveTo>
                    <a:pt x="0" y="19"/>
                  </a:moveTo>
                  <a:cubicBezTo>
                    <a:pt x="0" y="19"/>
                    <a:pt x="4" y="17"/>
                    <a:pt x="11" y="15"/>
                  </a:cubicBezTo>
                  <a:cubicBezTo>
                    <a:pt x="18" y="13"/>
                    <a:pt x="28" y="10"/>
                    <a:pt x="39" y="7"/>
                  </a:cubicBezTo>
                  <a:cubicBezTo>
                    <a:pt x="50" y="5"/>
                    <a:pt x="60" y="3"/>
                    <a:pt x="67" y="2"/>
                  </a:cubicBezTo>
                  <a:cubicBezTo>
                    <a:pt x="74" y="0"/>
                    <a:pt x="79" y="0"/>
                    <a:pt x="79" y="0"/>
                  </a:cubicBezTo>
                  <a:cubicBezTo>
                    <a:pt x="79" y="0"/>
                    <a:pt x="74" y="1"/>
                    <a:pt x="67" y="3"/>
                  </a:cubicBezTo>
                  <a:cubicBezTo>
                    <a:pt x="60" y="4"/>
                    <a:pt x="50" y="7"/>
                    <a:pt x="39" y="9"/>
                  </a:cubicBezTo>
                  <a:cubicBezTo>
                    <a:pt x="28" y="12"/>
                    <a:pt x="18" y="14"/>
                    <a:pt x="11" y="16"/>
                  </a:cubicBezTo>
                  <a:cubicBezTo>
                    <a:pt x="4" y="18"/>
                    <a:pt x="0" y="19"/>
                    <a:pt x="0" y="1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5" name="任意多边形: 形状 754">
              <a:extLst>
                <a:ext uri="{FF2B5EF4-FFF2-40B4-BE49-F238E27FC236}">
                  <a16:creationId xmlns:a16="http://schemas.microsoft.com/office/drawing/2014/main" id="{30D63710-052D-42FF-BA99-F7F58FFAA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7088" y="3940176"/>
              <a:ext cx="430213" cy="354013"/>
            </a:xfrm>
            <a:custGeom>
              <a:avLst/>
              <a:gdLst>
                <a:gd name="T0" fmla="*/ 181 w 188"/>
                <a:gd name="T1" fmla="*/ 12 h 155"/>
                <a:gd name="T2" fmla="*/ 136 w 188"/>
                <a:gd name="T3" fmla="*/ 0 h 155"/>
                <a:gd name="T4" fmla="*/ 88 w 188"/>
                <a:gd name="T5" fmla="*/ 13 h 155"/>
                <a:gd name="T6" fmla="*/ 22 w 188"/>
                <a:gd name="T7" fmla="*/ 65 h 155"/>
                <a:gd name="T8" fmla="*/ 12 w 188"/>
                <a:gd name="T9" fmla="*/ 147 h 155"/>
                <a:gd name="T10" fmla="*/ 18 w 188"/>
                <a:gd name="T11" fmla="*/ 153 h 155"/>
                <a:gd name="T12" fmla="*/ 26 w 188"/>
                <a:gd name="T13" fmla="*/ 153 h 155"/>
                <a:gd name="T14" fmla="*/ 113 w 188"/>
                <a:gd name="T15" fmla="*/ 118 h 155"/>
                <a:gd name="T16" fmla="*/ 180 w 188"/>
                <a:gd name="T17" fmla="*/ 54 h 155"/>
                <a:gd name="T18" fmla="*/ 188 w 188"/>
                <a:gd name="T19" fmla="*/ 33 h 155"/>
                <a:gd name="T20" fmla="*/ 181 w 188"/>
                <a:gd name="T21" fmla="*/ 12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8" h="155">
                  <a:moveTo>
                    <a:pt x="181" y="12"/>
                  </a:moveTo>
                  <a:cubicBezTo>
                    <a:pt x="167" y="2"/>
                    <a:pt x="153" y="0"/>
                    <a:pt x="136" y="0"/>
                  </a:cubicBezTo>
                  <a:cubicBezTo>
                    <a:pt x="120" y="1"/>
                    <a:pt x="103" y="6"/>
                    <a:pt x="88" y="13"/>
                  </a:cubicBezTo>
                  <a:cubicBezTo>
                    <a:pt x="62" y="24"/>
                    <a:pt x="37" y="41"/>
                    <a:pt x="22" y="65"/>
                  </a:cubicBezTo>
                  <a:cubicBezTo>
                    <a:pt x="6" y="89"/>
                    <a:pt x="0" y="121"/>
                    <a:pt x="12" y="147"/>
                  </a:cubicBezTo>
                  <a:cubicBezTo>
                    <a:pt x="13" y="149"/>
                    <a:pt x="15" y="152"/>
                    <a:pt x="18" y="153"/>
                  </a:cubicBezTo>
                  <a:cubicBezTo>
                    <a:pt x="20" y="155"/>
                    <a:pt x="23" y="154"/>
                    <a:pt x="26" y="153"/>
                  </a:cubicBezTo>
                  <a:cubicBezTo>
                    <a:pt x="56" y="143"/>
                    <a:pt x="86" y="133"/>
                    <a:pt x="113" y="118"/>
                  </a:cubicBezTo>
                  <a:cubicBezTo>
                    <a:pt x="141" y="103"/>
                    <a:pt x="166" y="82"/>
                    <a:pt x="180" y="54"/>
                  </a:cubicBezTo>
                  <a:cubicBezTo>
                    <a:pt x="184" y="47"/>
                    <a:pt x="187" y="40"/>
                    <a:pt x="188" y="33"/>
                  </a:cubicBezTo>
                  <a:cubicBezTo>
                    <a:pt x="188" y="25"/>
                    <a:pt x="186" y="17"/>
                    <a:pt x="181" y="12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6" name="任意多边形: 形状 755">
              <a:extLst>
                <a:ext uri="{FF2B5EF4-FFF2-40B4-BE49-F238E27FC236}">
                  <a16:creationId xmlns:a16="http://schemas.microsoft.com/office/drawing/2014/main" id="{DC5080D0-86F9-419B-B352-F4D2ECEF7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3600" y="3960813"/>
              <a:ext cx="376238" cy="330200"/>
            </a:xfrm>
            <a:custGeom>
              <a:avLst/>
              <a:gdLst>
                <a:gd name="T0" fmla="*/ 165 w 165"/>
                <a:gd name="T1" fmla="*/ 0 h 145"/>
                <a:gd name="T2" fmla="*/ 163 w 165"/>
                <a:gd name="T3" fmla="*/ 1 h 145"/>
                <a:gd name="T4" fmla="*/ 157 w 165"/>
                <a:gd name="T5" fmla="*/ 3 h 145"/>
                <a:gd name="T6" fmla="*/ 152 w 165"/>
                <a:gd name="T7" fmla="*/ 4 h 145"/>
                <a:gd name="T8" fmla="*/ 147 w 165"/>
                <a:gd name="T9" fmla="*/ 6 h 145"/>
                <a:gd name="T10" fmla="*/ 134 w 165"/>
                <a:gd name="T11" fmla="*/ 12 h 145"/>
                <a:gd name="T12" fmla="*/ 127 w 165"/>
                <a:gd name="T13" fmla="*/ 15 h 145"/>
                <a:gd name="T14" fmla="*/ 119 w 165"/>
                <a:gd name="T15" fmla="*/ 19 h 145"/>
                <a:gd name="T16" fmla="*/ 102 w 165"/>
                <a:gd name="T17" fmla="*/ 28 h 145"/>
                <a:gd name="T18" fmla="*/ 67 w 165"/>
                <a:gd name="T19" fmla="*/ 55 h 145"/>
                <a:gd name="T20" fmla="*/ 37 w 165"/>
                <a:gd name="T21" fmla="*/ 86 h 145"/>
                <a:gd name="T22" fmla="*/ 25 w 165"/>
                <a:gd name="T23" fmla="*/ 102 h 145"/>
                <a:gd name="T24" fmla="*/ 20 w 165"/>
                <a:gd name="T25" fmla="*/ 109 h 145"/>
                <a:gd name="T26" fmla="*/ 16 w 165"/>
                <a:gd name="T27" fmla="*/ 116 h 145"/>
                <a:gd name="T28" fmla="*/ 9 w 165"/>
                <a:gd name="T29" fmla="*/ 127 h 145"/>
                <a:gd name="T30" fmla="*/ 6 w 165"/>
                <a:gd name="T31" fmla="*/ 132 h 145"/>
                <a:gd name="T32" fmla="*/ 4 w 165"/>
                <a:gd name="T33" fmla="*/ 137 h 145"/>
                <a:gd name="T34" fmla="*/ 1 w 165"/>
                <a:gd name="T35" fmla="*/ 143 h 145"/>
                <a:gd name="T36" fmla="*/ 0 w 165"/>
                <a:gd name="T37" fmla="*/ 145 h 145"/>
                <a:gd name="T38" fmla="*/ 1 w 165"/>
                <a:gd name="T39" fmla="*/ 143 h 145"/>
                <a:gd name="T40" fmla="*/ 4 w 165"/>
                <a:gd name="T41" fmla="*/ 136 h 145"/>
                <a:gd name="T42" fmla="*/ 6 w 165"/>
                <a:gd name="T43" fmla="*/ 132 h 145"/>
                <a:gd name="T44" fmla="*/ 8 w 165"/>
                <a:gd name="T45" fmla="*/ 127 h 145"/>
                <a:gd name="T46" fmla="*/ 15 w 165"/>
                <a:gd name="T47" fmla="*/ 115 h 145"/>
                <a:gd name="T48" fmla="*/ 19 w 165"/>
                <a:gd name="T49" fmla="*/ 108 h 145"/>
                <a:gd name="T50" fmla="*/ 24 w 165"/>
                <a:gd name="T51" fmla="*/ 101 h 145"/>
                <a:gd name="T52" fmla="*/ 35 w 165"/>
                <a:gd name="T53" fmla="*/ 85 h 145"/>
                <a:gd name="T54" fmla="*/ 66 w 165"/>
                <a:gd name="T55" fmla="*/ 53 h 145"/>
                <a:gd name="T56" fmla="*/ 101 w 165"/>
                <a:gd name="T57" fmla="*/ 27 h 145"/>
                <a:gd name="T58" fmla="*/ 118 w 165"/>
                <a:gd name="T59" fmla="*/ 18 h 145"/>
                <a:gd name="T60" fmla="*/ 126 w 165"/>
                <a:gd name="T61" fmla="*/ 14 h 145"/>
                <a:gd name="T62" fmla="*/ 133 w 165"/>
                <a:gd name="T63" fmla="*/ 10 h 145"/>
                <a:gd name="T64" fmla="*/ 146 w 165"/>
                <a:gd name="T65" fmla="*/ 5 h 145"/>
                <a:gd name="T66" fmla="*/ 152 w 165"/>
                <a:gd name="T67" fmla="*/ 3 h 145"/>
                <a:gd name="T68" fmla="*/ 156 w 165"/>
                <a:gd name="T69" fmla="*/ 2 h 145"/>
                <a:gd name="T70" fmla="*/ 163 w 165"/>
                <a:gd name="T71" fmla="*/ 0 h 145"/>
                <a:gd name="T72" fmla="*/ 165 w 165"/>
                <a:gd name="T73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5" h="145">
                  <a:moveTo>
                    <a:pt x="165" y="0"/>
                  </a:moveTo>
                  <a:cubicBezTo>
                    <a:pt x="165" y="0"/>
                    <a:pt x="164" y="0"/>
                    <a:pt x="163" y="1"/>
                  </a:cubicBezTo>
                  <a:cubicBezTo>
                    <a:pt x="161" y="1"/>
                    <a:pt x="159" y="2"/>
                    <a:pt x="157" y="3"/>
                  </a:cubicBezTo>
                  <a:cubicBezTo>
                    <a:pt x="155" y="3"/>
                    <a:pt x="154" y="4"/>
                    <a:pt x="152" y="4"/>
                  </a:cubicBezTo>
                  <a:cubicBezTo>
                    <a:pt x="150" y="5"/>
                    <a:pt x="149" y="6"/>
                    <a:pt x="147" y="6"/>
                  </a:cubicBezTo>
                  <a:cubicBezTo>
                    <a:pt x="143" y="8"/>
                    <a:pt x="139" y="9"/>
                    <a:pt x="134" y="12"/>
                  </a:cubicBezTo>
                  <a:cubicBezTo>
                    <a:pt x="132" y="13"/>
                    <a:pt x="129" y="14"/>
                    <a:pt x="127" y="15"/>
                  </a:cubicBezTo>
                  <a:cubicBezTo>
                    <a:pt x="124" y="16"/>
                    <a:pt x="122" y="18"/>
                    <a:pt x="119" y="19"/>
                  </a:cubicBezTo>
                  <a:cubicBezTo>
                    <a:pt x="114" y="22"/>
                    <a:pt x="108" y="25"/>
                    <a:pt x="102" y="28"/>
                  </a:cubicBezTo>
                  <a:cubicBezTo>
                    <a:pt x="91" y="36"/>
                    <a:pt x="79" y="44"/>
                    <a:pt x="67" y="55"/>
                  </a:cubicBezTo>
                  <a:cubicBezTo>
                    <a:pt x="55" y="65"/>
                    <a:pt x="45" y="76"/>
                    <a:pt x="37" y="86"/>
                  </a:cubicBezTo>
                  <a:cubicBezTo>
                    <a:pt x="32" y="92"/>
                    <a:pt x="28" y="97"/>
                    <a:pt x="25" y="102"/>
                  </a:cubicBezTo>
                  <a:cubicBezTo>
                    <a:pt x="23" y="104"/>
                    <a:pt x="22" y="106"/>
                    <a:pt x="20" y="109"/>
                  </a:cubicBezTo>
                  <a:cubicBezTo>
                    <a:pt x="19" y="111"/>
                    <a:pt x="17" y="113"/>
                    <a:pt x="16" y="116"/>
                  </a:cubicBezTo>
                  <a:cubicBezTo>
                    <a:pt x="13" y="120"/>
                    <a:pt x="11" y="124"/>
                    <a:pt x="9" y="127"/>
                  </a:cubicBezTo>
                  <a:cubicBezTo>
                    <a:pt x="8" y="129"/>
                    <a:pt x="7" y="131"/>
                    <a:pt x="6" y="132"/>
                  </a:cubicBezTo>
                  <a:cubicBezTo>
                    <a:pt x="6" y="134"/>
                    <a:pt x="5" y="135"/>
                    <a:pt x="4" y="137"/>
                  </a:cubicBezTo>
                  <a:cubicBezTo>
                    <a:pt x="3" y="139"/>
                    <a:pt x="2" y="141"/>
                    <a:pt x="1" y="143"/>
                  </a:cubicBezTo>
                  <a:cubicBezTo>
                    <a:pt x="1" y="144"/>
                    <a:pt x="0" y="145"/>
                    <a:pt x="0" y="145"/>
                  </a:cubicBezTo>
                  <a:cubicBezTo>
                    <a:pt x="0" y="145"/>
                    <a:pt x="0" y="144"/>
                    <a:pt x="1" y="143"/>
                  </a:cubicBezTo>
                  <a:cubicBezTo>
                    <a:pt x="2" y="141"/>
                    <a:pt x="3" y="139"/>
                    <a:pt x="4" y="136"/>
                  </a:cubicBezTo>
                  <a:cubicBezTo>
                    <a:pt x="4" y="135"/>
                    <a:pt x="5" y="134"/>
                    <a:pt x="6" y="132"/>
                  </a:cubicBezTo>
                  <a:cubicBezTo>
                    <a:pt x="6" y="130"/>
                    <a:pt x="7" y="129"/>
                    <a:pt x="8" y="127"/>
                  </a:cubicBezTo>
                  <a:cubicBezTo>
                    <a:pt x="10" y="123"/>
                    <a:pt x="12" y="119"/>
                    <a:pt x="15" y="115"/>
                  </a:cubicBezTo>
                  <a:cubicBezTo>
                    <a:pt x="16" y="113"/>
                    <a:pt x="17" y="110"/>
                    <a:pt x="19" y="108"/>
                  </a:cubicBezTo>
                  <a:cubicBezTo>
                    <a:pt x="20" y="106"/>
                    <a:pt x="22" y="103"/>
                    <a:pt x="24" y="101"/>
                  </a:cubicBezTo>
                  <a:cubicBezTo>
                    <a:pt x="27" y="96"/>
                    <a:pt x="31" y="91"/>
                    <a:pt x="35" y="85"/>
                  </a:cubicBezTo>
                  <a:cubicBezTo>
                    <a:pt x="44" y="75"/>
                    <a:pt x="54" y="64"/>
                    <a:pt x="66" y="53"/>
                  </a:cubicBezTo>
                  <a:cubicBezTo>
                    <a:pt x="78" y="43"/>
                    <a:pt x="90" y="34"/>
                    <a:pt x="101" y="27"/>
                  </a:cubicBezTo>
                  <a:cubicBezTo>
                    <a:pt x="107" y="24"/>
                    <a:pt x="113" y="20"/>
                    <a:pt x="118" y="18"/>
                  </a:cubicBezTo>
                  <a:cubicBezTo>
                    <a:pt x="121" y="16"/>
                    <a:pt x="124" y="15"/>
                    <a:pt x="126" y="14"/>
                  </a:cubicBezTo>
                  <a:cubicBezTo>
                    <a:pt x="129" y="13"/>
                    <a:pt x="131" y="11"/>
                    <a:pt x="133" y="10"/>
                  </a:cubicBezTo>
                  <a:cubicBezTo>
                    <a:pt x="138" y="8"/>
                    <a:pt x="143" y="7"/>
                    <a:pt x="146" y="5"/>
                  </a:cubicBezTo>
                  <a:cubicBezTo>
                    <a:pt x="148" y="5"/>
                    <a:pt x="150" y="4"/>
                    <a:pt x="152" y="3"/>
                  </a:cubicBezTo>
                  <a:cubicBezTo>
                    <a:pt x="153" y="3"/>
                    <a:pt x="155" y="2"/>
                    <a:pt x="156" y="2"/>
                  </a:cubicBezTo>
                  <a:cubicBezTo>
                    <a:pt x="159" y="1"/>
                    <a:pt x="161" y="1"/>
                    <a:pt x="163" y="0"/>
                  </a:cubicBezTo>
                  <a:cubicBezTo>
                    <a:pt x="164" y="0"/>
                    <a:pt x="165" y="0"/>
                    <a:pt x="16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7" name="任意多边形: 形状 756">
              <a:extLst>
                <a:ext uri="{FF2B5EF4-FFF2-40B4-BE49-F238E27FC236}">
                  <a16:creationId xmlns:a16="http://schemas.microsoft.com/office/drawing/2014/main" id="{E4F0FF1F-3369-465C-A19B-F7C2BFB18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88" y="4087813"/>
              <a:ext cx="150813" cy="46038"/>
            </a:xfrm>
            <a:custGeom>
              <a:avLst/>
              <a:gdLst>
                <a:gd name="T0" fmla="*/ 66 w 66"/>
                <a:gd name="T1" fmla="*/ 0 h 20"/>
                <a:gd name="T2" fmla="*/ 33 w 66"/>
                <a:gd name="T3" fmla="*/ 11 h 20"/>
                <a:gd name="T4" fmla="*/ 0 w 66"/>
                <a:gd name="T5" fmla="*/ 19 h 20"/>
                <a:gd name="T6" fmla="*/ 33 w 66"/>
                <a:gd name="T7" fmla="*/ 9 h 20"/>
                <a:gd name="T8" fmla="*/ 66 w 66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20">
                  <a:moveTo>
                    <a:pt x="66" y="0"/>
                  </a:moveTo>
                  <a:cubicBezTo>
                    <a:pt x="66" y="1"/>
                    <a:pt x="51" y="5"/>
                    <a:pt x="33" y="11"/>
                  </a:cubicBezTo>
                  <a:cubicBezTo>
                    <a:pt x="15" y="16"/>
                    <a:pt x="0" y="20"/>
                    <a:pt x="0" y="19"/>
                  </a:cubicBezTo>
                  <a:cubicBezTo>
                    <a:pt x="0" y="19"/>
                    <a:pt x="14" y="14"/>
                    <a:pt x="33" y="9"/>
                  </a:cubicBezTo>
                  <a:cubicBezTo>
                    <a:pt x="51" y="4"/>
                    <a:pt x="65" y="0"/>
                    <a:pt x="6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8" name="任意多边形: 形状 757">
              <a:extLst>
                <a:ext uri="{FF2B5EF4-FFF2-40B4-BE49-F238E27FC236}">
                  <a16:creationId xmlns:a16="http://schemas.microsoft.com/office/drawing/2014/main" id="{EE043597-A44C-4B6F-B153-06318A4CC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5363" y="4095751"/>
              <a:ext cx="7938" cy="157163"/>
            </a:xfrm>
            <a:custGeom>
              <a:avLst/>
              <a:gdLst>
                <a:gd name="T0" fmla="*/ 1 w 3"/>
                <a:gd name="T1" fmla="*/ 69 h 69"/>
                <a:gd name="T2" fmla="*/ 1 w 3"/>
                <a:gd name="T3" fmla="*/ 59 h 69"/>
                <a:gd name="T4" fmla="*/ 1 w 3"/>
                <a:gd name="T5" fmla="*/ 34 h 69"/>
                <a:gd name="T6" fmla="*/ 2 w 3"/>
                <a:gd name="T7" fmla="*/ 10 h 69"/>
                <a:gd name="T8" fmla="*/ 3 w 3"/>
                <a:gd name="T9" fmla="*/ 0 h 69"/>
                <a:gd name="T10" fmla="*/ 3 w 3"/>
                <a:gd name="T11" fmla="*/ 10 h 69"/>
                <a:gd name="T12" fmla="*/ 2 w 3"/>
                <a:gd name="T13" fmla="*/ 34 h 69"/>
                <a:gd name="T14" fmla="*/ 2 w 3"/>
                <a:gd name="T15" fmla="*/ 59 h 69"/>
                <a:gd name="T16" fmla="*/ 1 w 3"/>
                <a:gd name="T1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69">
                  <a:moveTo>
                    <a:pt x="1" y="69"/>
                  </a:moveTo>
                  <a:cubicBezTo>
                    <a:pt x="1" y="69"/>
                    <a:pt x="1" y="65"/>
                    <a:pt x="1" y="59"/>
                  </a:cubicBezTo>
                  <a:cubicBezTo>
                    <a:pt x="0" y="53"/>
                    <a:pt x="0" y="44"/>
                    <a:pt x="1" y="34"/>
                  </a:cubicBezTo>
                  <a:cubicBezTo>
                    <a:pt x="1" y="25"/>
                    <a:pt x="1" y="16"/>
                    <a:pt x="2" y="10"/>
                  </a:cubicBezTo>
                  <a:cubicBezTo>
                    <a:pt x="2" y="4"/>
                    <a:pt x="3" y="0"/>
                    <a:pt x="3" y="0"/>
                  </a:cubicBezTo>
                  <a:cubicBezTo>
                    <a:pt x="3" y="0"/>
                    <a:pt x="3" y="4"/>
                    <a:pt x="3" y="10"/>
                  </a:cubicBezTo>
                  <a:cubicBezTo>
                    <a:pt x="3" y="17"/>
                    <a:pt x="3" y="25"/>
                    <a:pt x="2" y="34"/>
                  </a:cubicBezTo>
                  <a:cubicBezTo>
                    <a:pt x="2" y="44"/>
                    <a:pt x="2" y="52"/>
                    <a:pt x="2" y="59"/>
                  </a:cubicBezTo>
                  <a:cubicBezTo>
                    <a:pt x="2" y="65"/>
                    <a:pt x="2" y="69"/>
                    <a:pt x="1" y="6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9" name="任意多边形: 形状 758">
              <a:extLst>
                <a:ext uri="{FF2B5EF4-FFF2-40B4-BE49-F238E27FC236}">
                  <a16:creationId xmlns:a16="http://schemas.microsoft.com/office/drawing/2014/main" id="{E49C316B-8C52-4D95-9584-00744D16C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5538" y="4002088"/>
              <a:ext cx="14288" cy="179388"/>
            </a:xfrm>
            <a:custGeom>
              <a:avLst/>
              <a:gdLst>
                <a:gd name="T0" fmla="*/ 6 w 6"/>
                <a:gd name="T1" fmla="*/ 79 h 79"/>
                <a:gd name="T2" fmla="*/ 2 w 6"/>
                <a:gd name="T3" fmla="*/ 39 h 79"/>
                <a:gd name="T4" fmla="*/ 0 w 6"/>
                <a:gd name="T5" fmla="*/ 0 h 79"/>
                <a:gd name="T6" fmla="*/ 4 w 6"/>
                <a:gd name="T7" fmla="*/ 39 h 79"/>
                <a:gd name="T8" fmla="*/ 6 w 6"/>
                <a:gd name="T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6" y="79"/>
                  </a:moveTo>
                  <a:cubicBezTo>
                    <a:pt x="5" y="79"/>
                    <a:pt x="4" y="61"/>
                    <a:pt x="2" y="39"/>
                  </a:cubicBezTo>
                  <a:cubicBezTo>
                    <a:pt x="1" y="18"/>
                    <a:pt x="0" y="0"/>
                    <a:pt x="0" y="0"/>
                  </a:cubicBezTo>
                  <a:cubicBezTo>
                    <a:pt x="1" y="0"/>
                    <a:pt x="2" y="18"/>
                    <a:pt x="4" y="39"/>
                  </a:cubicBezTo>
                  <a:cubicBezTo>
                    <a:pt x="5" y="61"/>
                    <a:pt x="6" y="79"/>
                    <a:pt x="6" y="7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0" name="任意多边形: 形状 759">
              <a:extLst>
                <a:ext uri="{FF2B5EF4-FFF2-40B4-BE49-F238E27FC236}">
                  <a16:creationId xmlns:a16="http://schemas.microsoft.com/office/drawing/2014/main" id="{99F16A5D-CE56-4C77-B48F-A89DDE6B2F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613" y="3997326"/>
              <a:ext cx="161925" cy="6350"/>
            </a:xfrm>
            <a:custGeom>
              <a:avLst/>
              <a:gdLst>
                <a:gd name="T0" fmla="*/ 0 w 71"/>
                <a:gd name="T1" fmla="*/ 0 h 3"/>
                <a:gd name="T2" fmla="*/ 11 w 71"/>
                <a:gd name="T3" fmla="*/ 0 h 3"/>
                <a:gd name="T4" fmla="*/ 36 w 71"/>
                <a:gd name="T5" fmla="*/ 1 h 3"/>
                <a:gd name="T6" fmla="*/ 61 w 71"/>
                <a:gd name="T7" fmla="*/ 2 h 3"/>
                <a:gd name="T8" fmla="*/ 71 w 71"/>
                <a:gd name="T9" fmla="*/ 3 h 3"/>
                <a:gd name="T10" fmla="*/ 61 w 71"/>
                <a:gd name="T11" fmla="*/ 3 h 3"/>
                <a:gd name="T12" fmla="*/ 36 w 71"/>
                <a:gd name="T13" fmla="*/ 2 h 3"/>
                <a:gd name="T14" fmla="*/ 11 w 71"/>
                <a:gd name="T15" fmla="*/ 1 h 3"/>
                <a:gd name="T16" fmla="*/ 0 w 71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3">
                  <a:moveTo>
                    <a:pt x="0" y="0"/>
                  </a:moveTo>
                  <a:cubicBezTo>
                    <a:pt x="0" y="0"/>
                    <a:pt x="4" y="0"/>
                    <a:pt x="11" y="0"/>
                  </a:cubicBezTo>
                  <a:cubicBezTo>
                    <a:pt x="17" y="0"/>
                    <a:pt x="26" y="0"/>
                    <a:pt x="36" y="1"/>
                  </a:cubicBezTo>
                  <a:cubicBezTo>
                    <a:pt x="45" y="1"/>
                    <a:pt x="54" y="1"/>
                    <a:pt x="61" y="2"/>
                  </a:cubicBezTo>
                  <a:cubicBezTo>
                    <a:pt x="67" y="2"/>
                    <a:pt x="71" y="2"/>
                    <a:pt x="71" y="3"/>
                  </a:cubicBezTo>
                  <a:cubicBezTo>
                    <a:pt x="71" y="3"/>
                    <a:pt x="67" y="3"/>
                    <a:pt x="61" y="3"/>
                  </a:cubicBezTo>
                  <a:cubicBezTo>
                    <a:pt x="54" y="3"/>
                    <a:pt x="45" y="3"/>
                    <a:pt x="36" y="2"/>
                  </a:cubicBezTo>
                  <a:cubicBezTo>
                    <a:pt x="26" y="2"/>
                    <a:pt x="17" y="2"/>
                    <a:pt x="11" y="1"/>
                  </a:cubicBezTo>
                  <a:cubicBezTo>
                    <a:pt x="4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1" name="任意多边形: 形状 760">
              <a:extLst>
                <a:ext uri="{FF2B5EF4-FFF2-40B4-BE49-F238E27FC236}">
                  <a16:creationId xmlns:a16="http://schemas.microsoft.com/office/drawing/2014/main" id="{0E0B1ADF-7DE6-4225-A152-97F8260DA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50" y="4033838"/>
              <a:ext cx="84138" cy="468313"/>
            </a:xfrm>
            <a:custGeom>
              <a:avLst/>
              <a:gdLst>
                <a:gd name="T0" fmla="*/ 1 w 37"/>
                <a:gd name="T1" fmla="*/ 205 h 205"/>
                <a:gd name="T2" fmla="*/ 1 w 37"/>
                <a:gd name="T3" fmla="*/ 203 h 205"/>
                <a:gd name="T4" fmla="*/ 0 w 37"/>
                <a:gd name="T5" fmla="*/ 197 h 205"/>
                <a:gd name="T6" fmla="*/ 0 w 37"/>
                <a:gd name="T7" fmla="*/ 174 h 205"/>
                <a:gd name="T8" fmla="*/ 2 w 37"/>
                <a:gd name="T9" fmla="*/ 141 h 205"/>
                <a:gd name="T10" fmla="*/ 8 w 37"/>
                <a:gd name="T11" fmla="*/ 100 h 205"/>
                <a:gd name="T12" fmla="*/ 16 w 37"/>
                <a:gd name="T13" fmla="*/ 61 h 205"/>
                <a:gd name="T14" fmla="*/ 26 w 37"/>
                <a:gd name="T15" fmla="*/ 29 h 205"/>
                <a:gd name="T16" fmla="*/ 34 w 37"/>
                <a:gd name="T17" fmla="*/ 8 h 205"/>
                <a:gd name="T18" fmla="*/ 36 w 37"/>
                <a:gd name="T19" fmla="*/ 2 h 205"/>
                <a:gd name="T20" fmla="*/ 37 w 37"/>
                <a:gd name="T21" fmla="*/ 0 h 205"/>
                <a:gd name="T22" fmla="*/ 37 w 37"/>
                <a:gd name="T23" fmla="*/ 2 h 205"/>
                <a:gd name="T24" fmla="*/ 35 w 37"/>
                <a:gd name="T25" fmla="*/ 8 h 205"/>
                <a:gd name="T26" fmla="*/ 27 w 37"/>
                <a:gd name="T27" fmla="*/ 29 h 205"/>
                <a:gd name="T28" fmla="*/ 18 w 37"/>
                <a:gd name="T29" fmla="*/ 61 h 205"/>
                <a:gd name="T30" fmla="*/ 9 w 37"/>
                <a:gd name="T31" fmla="*/ 101 h 205"/>
                <a:gd name="T32" fmla="*/ 4 w 37"/>
                <a:gd name="T33" fmla="*/ 141 h 205"/>
                <a:gd name="T34" fmla="*/ 1 w 37"/>
                <a:gd name="T35" fmla="*/ 174 h 205"/>
                <a:gd name="T36" fmla="*/ 1 w 37"/>
                <a:gd name="T37" fmla="*/ 197 h 205"/>
                <a:gd name="T38" fmla="*/ 1 w 37"/>
                <a:gd name="T39" fmla="*/ 203 h 205"/>
                <a:gd name="T40" fmla="*/ 1 w 37"/>
                <a:gd name="T41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7" h="205">
                  <a:moveTo>
                    <a:pt x="1" y="205"/>
                  </a:moveTo>
                  <a:cubicBezTo>
                    <a:pt x="1" y="205"/>
                    <a:pt x="1" y="204"/>
                    <a:pt x="1" y="203"/>
                  </a:cubicBezTo>
                  <a:cubicBezTo>
                    <a:pt x="0" y="201"/>
                    <a:pt x="0" y="199"/>
                    <a:pt x="0" y="197"/>
                  </a:cubicBezTo>
                  <a:cubicBezTo>
                    <a:pt x="0" y="191"/>
                    <a:pt x="0" y="184"/>
                    <a:pt x="0" y="174"/>
                  </a:cubicBezTo>
                  <a:cubicBezTo>
                    <a:pt x="0" y="165"/>
                    <a:pt x="1" y="153"/>
                    <a:pt x="2" y="141"/>
                  </a:cubicBezTo>
                  <a:cubicBezTo>
                    <a:pt x="3" y="128"/>
                    <a:pt x="5" y="115"/>
                    <a:pt x="8" y="100"/>
                  </a:cubicBezTo>
                  <a:cubicBezTo>
                    <a:pt x="10" y="86"/>
                    <a:pt x="13" y="73"/>
                    <a:pt x="16" y="61"/>
                  </a:cubicBezTo>
                  <a:cubicBezTo>
                    <a:pt x="20" y="49"/>
                    <a:pt x="23" y="38"/>
                    <a:pt x="26" y="29"/>
                  </a:cubicBezTo>
                  <a:cubicBezTo>
                    <a:pt x="29" y="20"/>
                    <a:pt x="32" y="13"/>
                    <a:pt x="34" y="8"/>
                  </a:cubicBezTo>
                  <a:cubicBezTo>
                    <a:pt x="35" y="5"/>
                    <a:pt x="36" y="4"/>
                    <a:pt x="36" y="2"/>
                  </a:cubicBezTo>
                  <a:cubicBezTo>
                    <a:pt x="37" y="1"/>
                    <a:pt x="37" y="0"/>
                    <a:pt x="37" y="0"/>
                  </a:cubicBezTo>
                  <a:cubicBezTo>
                    <a:pt x="37" y="0"/>
                    <a:pt x="37" y="1"/>
                    <a:pt x="37" y="2"/>
                  </a:cubicBezTo>
                  <a:cubicBezTo>
                    <a:pt x="36" y="4"/>
                    <a:pt x="35" y="6"/>
                    <a:pt x="35" y="8"/>
                  </a:cubicBezTo>
                  <a:cubicBezTo>
                    <a:pt x="33" y="13"/>
                    <a:pt x="30" y="20"/>
                    <a:pt x="27" y="29"/>
                  </a:cubicBezTo>
                  <a:cubicBezTo>
                    <a:pt x="24" y="38"/>
                    <a:pt x="21" y="49"/>
                    <a:pt x="18" y="61"/>
                  </a:cubicBezTo>
                  <a:cubicBezTo>
                    <a:pt x="15" y="73"/>
                    <a:pt x="12" y="87"/>
                    <a:pt x="9" y="101"/>
                  </a:cubicBezTo>
                  <a:cubicBezTo>
                    <a:pt x="7" y="115"/>
                    <a:pt x="5" y="129"/>
                    <a:pt x="4" y="141"/>
                  </a:cubicBezTo>
                  <a:cubicBezTo>
                    <a:pt x="3" y="154"/>
                    <a:pt x="2" y="165"/>
                    <a:pt x="1" y="174"/>
                  </a:cubicBezTo>
                  <a:cubicBezTo>
                    <a:pt x="1" y="184"/>
                    <a:pt x="1" y="191"/>
                    <a:pt x="1" y="197"/>
                  </a:cubicBezTo>
                  <a:cubicBezTo>
                    <a:pt x="1" y="199"/>
                    <a:pt x="1" y="201"/>
                    <a:pt x="1" y="203"/>
                  </a:cubicBezTo>
                  <a:cubicBezTo>
                    <a:pt x="1" y="204"/>
                    <a:pt x="1" y="205"/>
                    <a:pt x="1" y="20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2" name="任意多边形: 形状 761">
              <a:extLst>
                <a:ext uri="{FF2B5EF4-FFF2-40B4-BE49-F238E27FC236}">
                  <a16:creationId xmlns:a16="http://schemas.microsoft.com/office/drawing/2014/main" id="{2D01EC9A-0F81-4D91-95F4-5F0569DC0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7138" y="4259263"/>
              <a:ext cx="107950" cy="93663"/>
            </a:xfrm>
            <a:custGeom>
              <a:avLst/>
              <a:gdLst>
                <a:gd name="T0" fmla="*/ 47 w 47"/>
                <a:gd name="T1" fmla="*/ 0 h 41"/>
                <a:gd name="T2" fmla="*/ 41 w 47"/>
                <a:gd name="T3" fmla="*/ 7 h 41"/>
                <a:gd name="T4" fmla="*/ 25 w 47"/>
                <a:gd name="T5" fmla="*/ 22 h 41"/>
                <a:gd name="T6" fmla="*/ 7 w 47"/>
                <a:gd name="T7" fmla="*/ 36 h 41"/>
                <a:gd name="T8" fmla="*/ 0 w 47"/>
                <a:gd name="T9" fmla="*/ 41 h 41"/>
                <a:gd name="T10" fmla="*/ 7 w 47"/>
                <a:gd name="T11" fmla="*/ 35 h 41"/>
                <a:gd name="T12" fmla="*/ 23 w 47"/>
                <a:gd name="T13" fmla="*/ 20 h 41"/>
                <a:gd name="T14" fmla="*/ 40 w 47"/>
                <a:gd name="T15" fmla="*/ 6 h 41"/>
                <a:gd name="T16" fmla="*/ 47 w 47"/>
                <a:gd name="T1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41">
                  <a:moveTo>
                    <a:pt x="47" y="0"/>
                  </a:moveTo>
                  <a:cubicBezTo>
                    <a:pt x="47" y="0"/>
                    <a:pt x="45" y="3"/>
                    <a:pt x="41" y="7"/>
                  </a:cubicBezTo>
                  <a:cubicBezTo>
                    <a:pt x="37" y="11"/>
                    <a:pt x="31" y="16"/>
                    <a:pt x="25" y="22"/>
                  </a:cubicBezTo>
                  <a:cubicBezTo>
                    <a:pt x="18" y="28"/>
                    <a:pt x="12" y="32"/>
                    <a:pt x="7" y="36"/>
                  </a:cubicBezTo>
                  <a:cubicBezTo>
                    <a:pt x="3" y="39"/>
                    <a:pt x="0" y="41"/>
                    <a:pt x="0" y="41"/>
                  </a:cubicBezTo>
                  <a:cubicBezTo>
                    <a:pt x="0" y="41"/>
                    <a:pt x="2" y="39"/>
                    <a:pt x="7" y="35"/>
                  </a:cubicBezTo>
                  <a:cubicBezTo>
                    <a:pt x="11" y="31"/>
                    <a:pt x="17" y="26"/>
                    <a:pt x="23" y="20"/>
                  </a:cubicBezTo>
                  <a:cubicBezTo>
                    <a:pt x="29" y="15"/>
                    <a:pt x="35" y="10"/>
                    <a:pt x="40" y="6"/>
                  </a:cubicBezTo>
                  <a:cubicBezTo>
                    <a:pt x="44" y="2"/>
                    <a:pt x="47" y="0"/>
                    <a:pt x="4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3" name="任意多边形: 形状 762">
              <a:extLst>
                <a:ext uri="{FF2B5EF4-FFF2-40B4-BE49-F238E27FC236}">
                  <a16:creationId xmlns:a16="http://schemas.microsoft.com/office/drawing/2014/main" id="{96A41D4B-8635-428F-BB6F-80D8CC1C2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200" y="4205288"/>
              <a:ext cx="100013" cy="146050"/>
            </a:xfrm>
            <a:custGeom>
              <a:avLst/>
              <a:gdLst>
                <a:gd name="T0" fmla="*/ 44 w 44"/>
                <a:gd name="T1" fmla="*/ 64 h 64"/>
                <a:gd name="T2" fmla="*/ 37 w 44"/>
                <a:gd name="T3" fmla="*/ 54 h 64"/>
                <a:gd name="T4" fmla="*/ 22 w 44"/>
                <a:gd name="T5" fmla="*/ 32 h 64"/>
                <a:gd name="T6" fmla="*/ 6 w 44"/>
                <a:gd name="T7" fmla="*/ 10 h 64"/>
                <a:gd name="T8" fmla="*/ 0 w 44"/>
                <a:gd name="T9" fmla="*/ 0 h 64"/>
                <a:gd name="T10" fmla="*/ 8 w 44"/>
                <a:gd name="T11" fmla="*/ 9 h 64"/>
                <a:gd name="T12" fmla="*/ 24 w 44"/>
                <a:gd name="T13" fmla="*/ 31 h 64"/>
                <a:gd name="T14" fmla="*/ 39 w 44"/>
                <a:gd name="T15" fmla="*/ 54 h 64"/>
                <a:gd name="T16" fmla="*/ 44 w 44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64">
                  <a:moveTo>
                    <a:pt x="44" y="64"/>
                  </a:moveTo>
                  <a:cubicBezTo>
                    <a:pt x="44" y="64"/>
                    <a:pt x="41" y="60"/>
                    <a:pt x="37" y="54"/>
                  </a:cubicBezTo>
                  <a:cubicBezTo>
                    <a:pt x="33" y="48"/>
                    <a:pt x="28" y="40"/>
                    <a:pt x="22" y="32"/>
                  </a:cubicBezTo>
                  <a:cubicBezTo>
                    <a:pt x="16" y="24"/>
                    <a:pt x="11" y="16"/>
                    <a:pt x="6" y="10"/>
                  </a:cubicBezTo>
                  <a:cubicBezTo>
                    <a:pt x="2" y="4"/>
                    <a:pt x="0" y="1"/>
                    <a:pt x="0" y="0"/>
                  </a:cubicBezTo>
                  <a:cubicBezTo>
                    <a:pt x="0" y="0"/>
                    <a:pt x="3" y="4"/>
                    <a:pt x="8" y="9"/>
                  </a:cubicBezTo>
                  <a:cubicBezTo>
                    <a:pt x="12" y="14"/>
                    <a:pt x="18" y="22"/>
                    <a:pt x="24" y="31"/>
                  </a:cubicBezTo>
                  <a:cubicBezTo>
                    <a:pt x="30" y="40"/>
                    <a:pt x="35" y="48"/>
                    <a:pt x="39" y="54"/>
                  </a:cubicBezTo>
                  <a:cubicBezTo>
                    <a:pt x="42" y="60"/>
                    <a:pt x="44" y="63"/>
                    <a:pt x="44" y="6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4" name="任意多边形: 形状 763">
              <a:extLst>
                <a:ext uri="{FF2B5EF4-FFF2-40B4-BE49-F238E27FC236}">
                  <a16:creationId xmlns:a16="http://schemas.microsoft.com/office/drawing/2014/main" id="{2DD86F34-3D77-4D04-9D2E-589C10304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7613" y="4065588"/>
              <a:ext cx="171450" cy="109538"/>
            </a:xfrm>
            <a:custGeom>
              <a:avLst/>
              <a:gdLst>
                <a:gd name="T0" fmla="*/ 74 w 75"/>
                <a:gd name="T1" fmla="*/ 0 h 48"/>
                <a:gd name="T2" fmla="*/ 38 w 75"/>
                <a:gd name="T3" fmla="*/ 25 h 48"/>
                <a:gd name="T4" fmla="*/ 0 w 75"/>
                <a:gd name="T5" fmla="*/ 48 h 48"/>
                <a:gd name="T6" fmla="*/ 37 w 75"/>
                <a:gd name="T7" fmla="*/ 23 h 48"/>
                <a:gd name="T8" fmla="*/ 74 w 75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48">
                  <a:moveTo>
                    <a:pt x="74" y="0"/>
                  </a:moveTo>
                  <a:cubicBezTo>
                    <a:pt x="75" y="0"/>
                    <a:pt x="58" y="11"/>
                    <a:pt x="38" y="25"/>
                  </a:cubicBezTo>
                  <a:cubicBezTo>
                    <a:pt x="17" y="38"/>
                    <a:pt x="1" y="48"/>
                    <a:pt x="0" y="48"/>
                  </a:cubicBezTo>
                  <a:cubicBezTo>
                    <a:pt x="0" y="47"/>
                    <a:pt x="16" y="36"/>
                    <a:pt x="37" y="23"/>
                  </a:cubicBezTo>
                  <a:cubicBezTo>
                    <a:pt x="57" y="10"/>
                    <a:pt x="74" y="0"/>
                    <a:pt x="7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5" name="任意多边形: 形状 764">
              <a:extLst>
                <a:ext uri="{FF2B5EF4-FFF2-40B4-BE49-F238E27FC236}">
                  <a16:creationId xmlns:a16="http://schemas.microsoft.com/office/drawing/2014/main" id="{038E6C4E-B167-4D45-A6C5-60BCCFD96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713" y="4070351"/>
              <a:ext cx="111125" cy="109538"/>
            </a:xfrm>
            <a:custGeom>
              <a:avLst/>
              <a:gdLst>
                <a:gd name="T0" fmla="*/ 48 w 49"/>
                <a:gd name="T1" fmla="*/ 48 h 48"/>
                <a:gd name="T2" fmla="*/ 24 w 49"/>
                <a:gd name="T3" fmla="*/ 25 h 48"/>
                <a:gd name="T4" fmla="*/ 0 w 49"/>
                <a:gd name="T5" fmla="*/ 1 h 48"/>
                <a:gd name="T6" fmla="*/ 25 w 49"/>
                <a:gd name="T7" fmla="*/ 24 h 48"/>
                <a:gd name="T8" fmla="*/ 48 w 49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8">
                  <a:moveTo>
                    <a:pt x="48" y="48"/>
                  </a:moveTo>
                  <a:cubicBezTo>
                    <a:pt x="48" y="48"/>
                    <a:pt x="37" y="38"/>
                    <a:pt x="24" y="25"/>
                  </a:cubicBezTo>
                  <a:cubicBezTo>
                    <a:pt x="10" y="12"/>
                    <a:pt x="0" y="1"/>
                    <a:pt x="0" y="1"/>
                  </a:cubicBezTo>
                  <a:cubicBezTo>
                    <a:pt x="1" y="0"/>
                    <a:pt x="12" y="11"/>
                    <a:pt x="25" y="24"/>
                  </a:cubicBezTo>
                  <a:cubicBezTo>
                    <a:pt x="38" y="37"/>
                    <a:pt x="49" y="47"/>
                    <a:pt x="48" y="4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6" name="任意多边形: 形状 765">
              <a:extLst>
                <a:ext uri="{FF2B5EF4-FFF2-40B4-BE49-F238E27FC236}">
                  <a16:creationId xmlns:a16="http://schemas.microsoft.com/office/drawing/2014/main" id="{696A5E23-2EC4-4977-9C31-F017A9BA2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9238" y="3935413"/>
              <a:ext cx="471488" cy="241300"/>
            </a:xfrm>
            <a:custGeom>
              <a:avLst/>
              <a:gdLst>
                <a:gd name="T0" fmla="*/ 0 w 206"/>
                <a:gd name="T1" fmla="*/ 106 h 106"/>
                <a:gd name="T2" fmla="*/ 14 w 206"/>
                <a:gd name="T3" fmla="*/ 105 h 106"/>
                <a:gd name="T4" fmla="*/ 42 w 206"/>
                <a:gd name="T5" fmla="*/ 96 h 106"/>
                <a:gd name="T6" fmla="*/ 55 w 206"/>
                <a:gd name="T7" fmla="*/ 89 h 106"/>
                <a:gd name="T8" fmla="*/ 111 w 206"/>
                <a:gd name="T9" fmla="*/ 83 h 106"/>
                <a:gd name="T10" fmla="*/ 199 w 206"/>
                <a:gd name="T11" fmla="*/ 60 h 106"/>
                <a:gd name="T12" fmla="*/ 203 w 206"/>
                <a:gd name="T13" fmla="*/ 57 h 106"/>
                <a:gd name="T14" fmla="*/ 196 w 206"/>
                <a:gd name="T15" fmla="*/ 44 h 106"/>
                <a:gd name="T16" fmla="*/ 121 w 206"/>
                <a:gd name="T17" fmla="*/ 7 h 106"/>
                <a:gd name="T18" fmla="*/ 41 w 206"/>
                <a:gd name="T19" fmla="*/ 17 h 106"/>
                <a:gd name="T20" fmla="*/ 0 w 206"/>
                <a:gd name="T2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6" h="106">
                  <a:moveTo>
                    <a:pt x="0" y="106"/>
                  </a:moveTo>
                  <a:cubicBezTo>
                    <a:pt x="14" y="105"/>
                    <a:pt x="14" y="105"/>
                    <a:pt x="14" y="105"/>
                  </a:cubicBezTo>
                  <a:cubicBezTo>
                    <a:pt x="24" y="104"/>
                    <a:pt x="34" y="101"/>
                    <a:pt x="42" y="96"/>
                  </a:cubicBezTo>
                  <a:cubicBezTo>
                    <a:pt x="47" y="93"/>
                    <a:pt x="51" y="91"/>
                    <a:pt x="55" y="89"/>
                  </a:cubicBezTo>
                  <a:cubicBezTo>
                    <a:pt x="73" y="82"/>
                    <a:pt x="92" y="84"/>
                    <a:pt x="111" y="83"/>
                  </a:cubicBezTo>
                  <a:cubicBezTo>
                    <a:pt x="141" y="81"/>
                    <a:pt x="171" y="73"/>
                    <a:pt x="199" y="60"/>
                  </a:cubicBezTo>
                  <a:cubicBezTo>
                    <a:pt x="200" y="59"/>
                    <a:pt x="202" y="58"/>
                    <a:pt x="203" y="57"/>
                  </a:cubicBezTo>
                  <a:cubicBezTo>
                    <a:pt x="206" y="51"/>
                    <a:pt x="200" y="47"/>
                    <a:pt x="196" y="44"/>
                  </a:cubicBezTo>
                  <a:cubicBezTo>
                    <a:pt x="172" y="29"/>
                    <a:pt x="148" y="15"/>
                    <a:pt x="121" y="7"/>
                  </a:cubicBezTo>
                  <a:cubicBezTo>
                    <a:pt x="94" y="0"/>
                    <a:pt x="64" y="1"/>
                    <a:pt x="41" y="17"/>
                  </a:cubicBezTo>
                  <a:cubicBezTo>
                    <a:pt x="14" y="36"/>
                    <a:pt x="4" y="73"/>
                    <a:pt x="0" y="106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7" name="任意多边形: 形状 766">
              <a:extLst>
                <a:ext uri="{FF2B5EF4-FFF2-40B4-BE49-F238E27FC236}">
                  <a16:creationId xmlns:a16="http://schemas.microsoft.com/office/drawing/2014/main" id="{42657936-B68B-483E-B246-136AF0A48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9238" y="3968751"/>
              <a:ext cx="465138" cy="207963"/>
            </a:xfrm>
            <a:custGeom>
              <a:avLst/>
              <a:gdLst>
                <a:gd name="T0" fmla="*/ 203 w 203"/>
                <a:gd name="T1" fmla="*/ 40 h 91"/>
                <a:gd name="T2" fmla="*/ 201 w 203"/>
                <a:gd name="T3" fmla="*/ 39 h 91"/>
                <a:gd name="T4" fmla="*/ 194 w 203"/>
                <a:gd name="T5" fmla="*/ 35 h 91"/>
                <a:gd name="T6" fmla="*/ 169 w 203"/>
                <a:gd name="T7" fmla="*/ 23 h 91"/>
                <a:gd name="T8" fmla="*/ 131 w 203"/>
                <a:gd name="T9" fmla="*/ 8 h 91"/>
                <a:gd name="T10" fmla="*/ 82 w 203"/>
                <a:gd name="T11" fmla="*/ 4 h 91"/>
                <a:gd name="T12" fmla="*/ 37 w 203"/>
                <a:gd name="T13" fmla="*/ 23 h 91"/>
                <a:gd name="T14" fmla="*/ 14 w 203"/>
                <a:gd name="T15" fmla="*/ 56 h 91"/>
                <a:gd name="T16" fmla="*/ 4 w 203"/>
                <a:gd name="T17" fmla="*/ 82 h 91"/>
                <a:gd name="T18" fmla="*/ 1 w 203"/>
                <a:gd name="T19" fmla="*/ 89 h 91"/>
                <a:gd name="T20" fmla="*/ 0 w 203"/>
                <a:gd name="T21" fmla="*/ 91 h 91"/>
                <a:gd name="T22" fmla="*/ 1 w 203"/>
                <a:gd name="T23" fmla="*/ 89 h 91"/>
                <a:gd name="T24" fmla="*/ 3 w 203"/>
                <a:gd name="T25" fmla="*/ 82 h 91"/>
                <a:gd name="T26" fmla="*/ 13 w 203"/>
                <a:gd name="T27" fmla="*/ 56 h 91"/>
                <a:gd name="T28" fmla="*/ 36 w 203"/>
                <a:gd name="T29" fmla="*/ 22 h 91"/>
                <a:gd name="T30" fmla="*/ 82 w 203"/>
                <a:gd name="T31" fmla="*/ 2 h 91"/>
                <a:gd name="T32" fmla="*/ 132 w 203"/>
                <a:gd name="T33" fmla="*/ 6 h 91"/>
                <a:gd name="T34" fmla="*/ 170 w 203"/>
                <a:gd name="T35" fmla="*/ 22 h 91"/>
                <a:gd name="T36" fmla="*/ 194 w 203"/>
                <a:gd name="T37" fmla="*/ 35 h 91"/>
                <a:gd name="T38" fmla="*/ 201 w 203"/>
                <a:gd name="T39" fmla="*/ 38 h 91"/>
                <a:gd name="T40" fmla="*/ 203 w 203"/>
                <a:gd name="T41" fmla="*/ 4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3" h="91">
                  <a:moveTo>
                    <a:pt x="203" y="40"/>
                  </a:moveTo>
                  <a:cubicBezTo>
                    <a:pt x="203" y="40"/>
                    <a:pt x="202" y="40"/>
                    <a:pt x="201" y="39"/>
                  </a:cubicBezTo>
                  <a:cubicBezTo>
                    <a:pt x="199" y="38"/>
                    <a:pt x="197" y="37"/>
                    <a:pt x="194" y="35"/>
                  </a:cubicBezTo>
                  <a:cubicBezTo>
                    <a:pt x="188" y="32"/>
                    <a:pt x="180" y="28"/>
                    <a:pt x="169" y="23"/>
                  </a:cubicBezTo>
                  <a:cubicBezTo>
                    <a:pt x="159" y="18"/>
                    <a:pt x="146" y="12"/>
                    <a:pt x="131" y="8"/>
                  </a:cubicBezTo>
                  <a:cubicBezTo>
                    <a:pt x="117" y="4"/>
                    <a:pt x="100" y="2"/>
                    <a:pt x="82" y="4"/>
                  </a:cubicBezTo>
                  <a:cubicBezTo>
                    <a:pt x="65" y="6"/>
                    <a:pt x="49" y="13"/>
                    <a:pt x="37" y="23"/>
                  </a:cubicBezTo>
                  <a:cubicBezTo>
                    <a:pt x="26" y="34"/>
                    <a:pt x="19" y="46"/>
                    <a:pt x="14" y="56"/>
                  </a:cubicBezTo>
                  <a:cubicBezTo>
                    <a:pt x="9" y="67"/>
                    <a:pt x="6" y="76"/>
                    <a:pt x="4" y="82"/>
                  </a:cubicBezTo>
                  <a:cubicBezTo>
                    <a:pt x="3" y="85"/>
                    <a:pt x="2" y="87"/>
                    <a:pt x="1" y="89"/>
                  </a:cubicBezTo>
                  <a:cubicBezTo>
                    <a:pt x="1" y="90"/>
                    <a:pt x="0" y="91"/>
                    <a:pt x="0" y="91"/>
                  </a:cubicBezTo>
                  <a:cubicBezTo>
                    <a:pt x="0" y="91"/>
                    <a:pt x="0" y="90"/>
                    <a:pt x="1" y="89"/>
                  </a:cubicBezTo>
                  <a:cubicBezTo>
                    <a:pt x="1" y="87"/>
                    <a:pt x="2" y="85"/>
                    <a:pt x="3" y="82"/>
                  </a:cubicBezTo>
                  <a:cubicBezTo>
                    <a:pt x="5" y="75"/>
                    <a:pt x="8" y="66"/>
                    <a:pt x="13" y="56"/>
                  </a:cubicBezTo>
                  <a:cubicBezTo>
                    <a:pt x="18" y="45"/>
                    <a:pt x="24" y="33"/>
                    <a:pt x="36" y="22"/>
                  </a:cubicBezTo>
                  <a:cubicBezTo>
                    <a:pt x="48" y="12"/>
                    <a:pt x="64" y="5"/>
                    <a:pt x="82" y="2"/>
                  </a:cubicBezTo>
                  <a:cubicBezTo>
                    <a:pt x="100" y="0"/>
                    <a:pt x="117" y="2"/>
                    <a:pt x="132" y="6"/>
                  </a:cubicBezTo>
                  <a:cubicBezTo>
                    <a:pt x="147" y="11"/>
                    <a:pt x="160" y="16"/>
                    <a:pt x="170" y="22"/>
                  </a:cubicBezTo>
                  <a:cubicBezTo>
                    <a:pt x="180" y="27"/>
                    <a:pt x="189" y="31"/>
                    <a:pt x="194" y="35"/>
                  </a:cubicBezTo>
                  <a:cubicBezTo>
                    <a:pt x="197" y="36"/>
                    <a:pt x="199" y="37"/>
                    <a:pt x="201" y="38"/>
                  </a:cubicBezTo>
                  <a:cubicBezTo>
                    <a:pt x="202" y="39"/>
                    <a:pt x="203" y="40"/>
                    <a:pt x="203" y="4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8" name="任意多边形: 形状 767">
              <a:extLst>
                <a:ext uri="{FF2B5EF4-FFF2-40B4-BE49-F238E27FC236}">
                  <a16:creationId xmlns:a16="http://schemas.microsoft.com/office/drawing/2014/main" id="{4CB88CF0-341A-4572-806D-941DA2FF9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0850" y="3976688"/>
              <a:ext cx="187325" cy="125413"/>
            </a:xfrm>
            <a:custGeom>
              <a:avLst/>
              <a:gdLst>
                <a:gd name="T0" fmla="*/ 81 w 82"/>
                <a:gd name="T1" fmla="*/ 55 h 55"/>
                <a:gd name="T2" fmla="*/ 40 w 82"/>
                <a:gd name="T3" fmla="*/ 28 h 55"/>
                <a:gd name="T4" fmla="*/ 0 w 82"/>
                <a:gd name="T5" fmla="*/ 0 h 55"/>
                <a:gd name="T6" fmla="*/ 41 w 82"/>
                <a:gd name="T7" fmla="*/ 27 h 55"/>
                <a:gd name="T8" fmla="*/ 81 w 82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55">
                  <a:moveTo>
                    <a:pt x="81" y="55"/>
                  </a:moveTo>
                  <a:cubicBezTo>
                    <a:pt x="81" y="55"/>
                    <a:pt x="63" y="44"/>
                    <a:pt x="40" y="28"/>
                  </a:cubicBezTo>
                  <a:cubicBezTo>
                    <a:pt x="18" y="13"/>
                    <a:pt x="0" y="1"/>
                    <a:pt x="0" y="0"/>
                  </a:cubicBezTo>
                  <a:cubicBezTo>
                    <a:pt x="1" y="0"/>
                    <a:pt x="19" y="12"/>
                    <a:pt x="41" y="27"/>
                  </a:cubicBezTo>
                  <a:cubicBezTo>
                    <a:pt x="64" y="42"/>
                    <a:pt x="82" y="55"/>
                    <a:pt x="81" y="5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9" name="任意多边形: 形状 768">
              <a:extLst>
                <a:ext uri="{FF2B5EF4-FFF2-40B4-BE49-F238E27FC236}">
                  <a16:creationId xmlns:a16="http://schemas.microsoft.com/office/drawing/2014/main" id="{ADBD47C4-7A3D-4863-82CC-3C4B2B8CE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225" y="3971926"/>
              <a:ext cx="66675" cy="9525"/>
            </a:xfrm>
            <a:custGeom>
              <a:avLst/>
              <a:gdLst>
                <a:gd name="T0" fmla="*/ 29 w 29"/>
                <a:gd name="T1" fmla="*/ 1 h 4"/>
                <a:gd name="T2" fmla="*/ 14 w 29"/>
                <a:gd name="T3" fmla="*/ 4 h 4"/>
                <a:gd name="T4" fmla="*/ 0 w 29"/>
                <a:gd name="T5" fmla="*/ 3 h 4"/>
                <a:gd name="T6" fmla="*/ 14 w 29"/>
                <a:gd name="T7" fmla="*/ 2 h 4"/>
                <a:gd name="T8" fmla="*/ 29 w 29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4">
                  <a:moveTo>
                    <a:pt x="29" y="1"/>
                  </a:moveTo>
                  <a:cubicBezTo>
                    <a:pt x="29" y="1"/>
                    <a:pt x="22" y="3"/>
                    <a:pt x="14" y="4"/>
                  </a:cubicBezTo>
                  <a:cubicBezTo>
                    <a:pt x="6" y="4"/>
                    <a:pt x="0" y="4"/>
                    <a:pt x="0" y="3"/>
                  </a:cubicBezTo>
                  <a:cubicBezTo>
                    <a:pt x="0" y="3"/>
                    <a:pt x="6" y="2"/>
                    <a:pt x="14" y="2"/>
                  </a:cubicBezTo>
                  <a:cubicBezTo>
                    <a:pt x="22" y="1"/>
                    <a:pt x="29" y="0"/>
                    <a:pt x="2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0" name="任意多边形: 形状 769">
              <a:extLst>
                <a:ext uri="{FF2B5EF4-FFF2-40B4-BE49-F238E27FC236}">
                  <a16:creationId xmlns:a16="http://schemas.microsoft.com/office/drawing/2014/main" id="{B5D733DB-5E96-4F3B-9CFA-F37878152B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4650" y="3940176"/>
              <a:ext cx="34925" cy="52388"/>
            </a:xfrm>
            <a:custGeom>
              <a:avLst/>
              <a:gdLst>
                <a:gd name="T0" fmla="*/ 14 w 15"/>
                <a:gd name="T1" fmla="*/ 0 h 23"/>
                <a:gd name="T2" fmla="*/ 8 w 15"/>
                <a:gd name="T3" fmla="*/ 12 h 23"/>
                <a:gd name="T4" fmla="*/ 1 w 15"/>
                <a:gd name="T5" fmla="*/ 23 h 23"/>
                <a:gd name="T6" fmla="*/ 7 w 15"/>
                <a:gd name="T7" fmla="*/ 11 h 23"/>
                <a:gd name="T8" fmla="*/ 14 w 15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3">
                  <a:moveTo>
                    <a:pt x="14" y="0"/>
                  </a:moveTo>
                  <a:cubicBezTo>
                    <a:pt x="15" y="0"/>
                    <a:pt x="12" y="6"/>
                    <a:pt x="8" y="12"/>
                  </a:cubicBezTo>
                  <a:cubicBezTo>
                    <a:pt x="5" y="18"/>
                    <a:pt x="1" y="23"/>
                    <a:pt x="1" y="23"/>
                  </a:cubicBezTo>
                  <a:cubicBezTo>
                    <a:pt x="0" y="23"/>
                    <a:pt x="3" y="17"/>
                    <a:pt x="7" y="11"/>
                  </a:cubicBezTo>
                  <a:cubicBezTo>
                    <a:pt x="11" y="5"/>
                    <a:pt x="14" y="0"/>
                    <a:pt x="1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1" name="任意多边形: 形状 770">
              <a:extLst>
                <a:ext uri="{FF2B5EF4-FFF2-40B4-BE49-F238E27FC236}">
                  <a16:creationId xmlns:a16="http://schemas.microsoft.com/office/drawing/2014/main" id="{01C827BD-AF44-42B5-BA76-45D9F2A4E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4035426"/>
              <a:ext cx="128588" cy="92075"/>
            </a:xfrm>
            <a:custGeom>
              <a:avLst/>
              <a:gdLst>
                <a:gd name="T0" fmla="*/ 56 w 56"/>
                <a:gd name="T1" fmla="*/ 40 h 40"/>
                <a:gd name="T2" fmla="*/ 47 w 56"/>
                <a:gd name="T3" fmla="*/ 35 h 40"/>
                <a:gd name="T4" fmla="*/ 27 w 56"/>
                <a:gd name="T5" fmla="*/ 22 h 40"/>
                <a:gd name="T6" fmla="*/ 8 w 56"/>
                <a:gd name="T7" fmla="*/ 7 h 40"/>
                <a:gd name="T8" fmla="*/ 0 w 56"/>
                <a:gd name="T9" fmla="*/ 0 h 40"/>
                <a:gd name="T10" fmla="*/ 9 w 56"/>
                <a:gd name="T11" fmla="*/ 6 h 40"/>
                <a:gd name="T12" fmla="*/ 28 w 56"/>
                <a:gd name="T13" fmla="*/ 20 h 40"/>
                <a:gd name="T14" fmla="*/ 48 w 56"/>
                <a:gd name="T15" fmla="*/ 34 h 40"/>
                <a:gd name="T16" fmla="*/ 56 w 56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40">
                  <a:moveTo>
                    <a:pt x="56" y="40"/>
                  </a:moveTo>
                  <a:cubicBezTo>
                    <a:pt x="56" y="40"/>
                    <a:pt x="52" y="38"/>
                    <a:pt x="47" y="35"/>
                  </a:cubicBezTo>
                  <a:cubicBezTo>
                    <a:pt x="42" y="32"/>
                    <a:pt x="35" y="27"/>
                    <a:pt x="27" y="22"/>
                  </a:cubicBezTo>
                  <a:cubicBezTo>
                    <a:pt x="19" y="16"/>
                    <a:pt x="13" y="11"/>
                    <a:pt x="8" y="7"/>
                  </a:cubicBezTo>
                  <a:cubicBezTo>
                    <a:pt x="3" y="3"/>
                    <a:pt x="0" y="1"/>
                    <a:pt x="0" y="0"/>
                  </a:cubicBezTo>
                  <a:cubicBezTo>
                    <a:pt x="0" y="0"/>
                    <a:pt x="3" y="2"/>
                    <a:pt x="9" y="6"/>
                  </a:cubicBezTo>
                  <a:cubicBezTo>
                    <a:pt x="14" y="10"/>
                    <a:pt x="21" y="15"/>
                    <a:pt x="28" y="20"/>
                  </a:cubicBezTo>
                  <a:cubicBezTo>
                    <a:pt x="36" y="26"/>
                    <a:pt x="43" y="30"/>
                    <a:pt x="48" y="34"/>
                  </a:cubicBezTo>
                  <a:cubicBezTo>
                    <a:pt x="53" y="37"/>
                    <a:pt x="56" y="40"/>
                    <a:pt x="56" y="4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2" name="任意多边形: 形状 771">
              <a:extLst>
                <a:ext uri="{FF2B5EF4-FFF2-40B4-BE49-F238E27FC236}">
                  <a16:creationId xmlns:a16="http://schemas.microsoft.com/office/drawing/2014/main" id="{8B22F9AC-3787-4638-8C10-5EFB02C84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7488" y="4294188"/>
              <a:ext cx="347663" cy="400050"/>
            </a:xfrm>
            <a:custGeom>
              <a:avLst/>
              <a:gdLst>
                <a:gd name="T0" fmla="*/ 35 w 152"/>
                <a:gd name="T1" fmla="*/ 8 h 175"/>
                <a:gd name="T2" fmla="*/ 3 w 152"/>
                <a:gd name="T3" fmla="*/ 31 h 175"/>
                <a:gd name="T4" fmla="*/ 11 w 152"/>
                <a:gd name="T5" fmla="*/ 71 h 175"/>
                <a:gd name="T6" fmla="*/ 66 w 152"/>
                <a:gd name="T7" fmla="*/ 144 h 175"/>
                <a:gd name="T8" fmla="*/ 151 w 152"/>
                <a:gd name="T9" fmla="*/ 175 h 175"/>
                <a:gd name="T10" fmla="*/ 149 w 152"/>
                <a:gd name="T11" fmla="*/ 94 h 175"/>
                <a:gd name="T12" fmla="*/ 119 w 152"/>
                <a:gd name="T13" fmla="*/ 32 h 175"/>
                <a:gd name="T14" fmla="*/ 56 w 152"/>
                <a:gd name="T15" fmla="*/ 3 h 175"/>
                <a:gd name="T16" fmla="*/ 35 w 152"/>
                <a:gd name="T17" fmla="*/ 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75">
                  <a:moveTo>
                    <a:pt x="35" y="8"/>
                  </a:moveTo>
                  <a:cubicBezTo>
                    <a:pt x="21" y="5"/>
                    <a:pt x="5" y="18"/>
                    <a:pt x="3" y="31"/>
                  </a:cubicBezTo>
                  <a:cubicBezTo>
                    <a:pt x="0" y="45"/>
                    <a:pt x="5" y="59"/>
                    <a:pt x="11" y="71"/>
                  </a:cubicBezTo>
                  <a:cubicBezTo>
                    <a:pt x="24" y="99"/>
                    <a:pt x="42" y="124"/>
                    <a:pt x="66" y="144"/>
                  </a:cubicBezTo>
                  <a:cubicBezTo>
                    <a:pt x="90" y="163"/>
                    <a:pt x="120" y="175"/>
                    <a:pt x="151" y="175"/>
                  </a:cubicBezTo>
                  <a:cubicBezTo>
                    <a:pt x="145" y="148"/>
                    <a:pt x="152" y="121"/>
                    <a:pt x="149" y="94"/>
                  </a:cubicBezTo>
                  <a:cubicBezTo>
                    <a:pt x="146" y="71"/>
                    <a:pt x="135" y="49"/>
                    <a:pt x="119" y="32"/>
                  </a:cubicBezTo>
                  <a:cubicBezTo>
                    <a:pt x="102" y="16"/>
                    <a:pt x="80" y="5"/>
                    <a:pt x="56" y="3"/>
                  </a:cubicBezTo>
                  <a:cubicBezTo>
                    <a:pt x="48" y="2"/>
                    <a:pt x="38" y="0"/>
                    <a:pt x="35" y="8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3" name="任意多边形: 形状 772">
              <a:extLst>
                <a:ext uri="{FF2B5EF4-FFF2-40B4-BE49-F238E27FC236}">
                  <a16:creationId xmlns:a16="http://schemas.microsoft.com/office/drawing/2014/main" id="{1E8B52E9-F585-4E12-9134-017930F8D2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4311651"/>
              <a:ext cx="266700" cy="382588"/>
            </a:xfrm>
            <a:custGeom>
              <a:avLst/>
              <a:gdLst>
                <a:gd name="T0" fmla="*/ 116 w 116"/>
                <a:gd name="T1" fmla="*/ 167 h 167"/>
                <a:gd name="T2" fmla="*/ 114 w 116"/>
                <a:gd name="T3" fmla="*/ 166 h 167"/>
                <a:gd name="T4" fmla="*/ 109 w 116"/>
                <a:gd name="T5" fmla="*/ 162 h 167"/>
                <a:gd name="T6" fmla="*/ 96 w 116"/>
                <a:gd name="T7" fmla="*/ 145 h 167"/>
                <a:gd name="T8" fmla="*/ 89 w 116"/>
                <a:gd name="T9" fmla="*/ 131 h 167"/>
                <a:gd name="T10" fmla="*/ 81 w 116"/>
                <a:gd name="T11" fmla="*/ 115 h 167"/>
                <a:gd name="T12" fmla="*/ 73 w 116"/>
                <a:gd name="T13" fmla="*/ 98 h 167"/>
                <a:gd name="T14" fmla="*/ 60 w 116"/>
                <a:gd name="T15" fmla="*/ 82 h 167"/>
                <a:gd name="T16" fmla="*/ 33 w 116"/>
                <a:gd name="T17" fmla="*/ 53 h 167"/>
                <a:gd name="T18" fmla="*/ 12 w 116"/>
                <a:gd name="T19" fmla="*/ 28 h 167"/>
                <a:gd name="T20" fmla="*/ 2 w 116"/>
                <a:gd name="T21" fmla="*/ 8 h 167"/>
                <a:gd name="T22" fmla="*/ 0 w 116"/>
                <a:gd name="T23" fmla="*/ 2 h 167"/>
                <a:gd name="T24" fmla="*/ 0 w 116"/>
                <a:gd name="T25" fmla="*/ 0 h 167"/>
                <a:gd name="T26" fmla="*/ 2 w 116"/>
                <a:gd name="T27" fmla="*/ 8 h 167"/>
                <a:gd name="T28" fmla="*/ 13 w 116"/>
                <a:gd name="T29" fmla="*/ 27 h 167"/>
                <a:gd name="T30" fmla="*/ 34 w 116"/>
                <a:gd name="T31" fmla="*/ 52 h 167"/>
                <a:gd name="T32" fmla="*/ 62 w 116"/>
                <a:gd name="T33" fmla="*/ 80 h 167"/>
                <a:gd name="T34" fmla="*/ 74 w 116"/>
                <a:gd name="T35" fmla="*/ 97 h 167"/>
                <a:gd name="T36" fmla="*/ 83 w 116"/>
                <a:gd name="T37" fmla="*/ 115 h 167"/>
                <a:gd name="T38" fmla="*/ 90 w 116"/>
                <a:gd name="T39" fmla="*/ 130 h 167"/>
                <a:gd name="T40" fmla="*/ 97 w 116"/>
                <a:gd name="T41" fmla="*/ 144 h 167"/>
                <a:gd name="T42" fmla="*/ 109 w 116"/>
                <a:gd name="T43" fmla="*/ 162 h 167"/>
                <a:gd name="T44" fmla="*/ 116 w 116"/>
                <a:gd name="T4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6" h="167">
                  <a:moveTo>
                    <a:pt x="116" y="167"/>
                  </a:moveTo>
                  <a:cubicBezTo>
                    <a:pt x="116" y="167"/>
                    <a:pt x="115" y="166"/>
                    <a:pt x="114" y="166"/>
                  </a:cubicBezTo>
                  <a:cubicBezTo>
                    <a:pt x="113" y="165"/>
                    <a:pt x="111" y="164"/>
                    <a:pt x="109" y="162"/>
                  </a:cubicBezTo>
                  <a:cubicBezTo>
                    <a:pt x="105" y="159"/>
                    <a:pt x="100" y="153"/>
                    <a:pt x="96" y="145"/>
                  </a:cubicBezTo>
                  <a:cubicBezTo>
                    <a:pt x="93" y="141"/>
                    <a:pt x="91" y="136"/>
                    <a:pt x="89" y="131"/>
                  </a:cubicBezTo>
                  <a:cubicBezTo>
                    <a:pt x="86" y="126"/>
                    <a:pt x="84" y="121"/>
                    <a:pt x="81" y="115"/>
                  </a:cubicBezTo>
                  <a:cubicBezTo>
                    <a:pt x="79" y="110"/>
                    <a:pt x="76" y="104"/>
                    <a:pt x="73" y="98"/>
                  </a:cubicBezTo>
                  <a:cubicBezTo>
                    <a:pt x="69" y="93"/>
                    <a:pt x="65" y="87"/>
                    <a:pt x="60" y="82"/>
                  </a:cubicBezTo>
                  <a:cubicBezTo>
                    <a:pt x="51" y="71"/>
                    <a:pt x="42" y="62"/>
                    <a:pt x="33" y="53"/>
                  </a:cubicBezTo>
                  <a:cubicBezTo>
                    <a:pt x="24" y="44"/>
                    <a:pt x="17" y="35"/>
                    <a:pt x="12" y="28"/>
                  </a:cubicBezTo>
                  <a:cubicBezTo>
                    <a:pt x="7" y="20"/>
                    <a:pt x="4" y="13"/>
                    <a:pt x="2" y="8"/>
                  </a:cubicBezTo>
                  <a:cubicBezTo>
                    <a:pt x="1" y="6"/>
                    <a:pt x="0" y="4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3"/>
                    <a:pt x="2" y="8"/>
                  </a:cubicBezTo>
                  <a:cubicBezTo>
                    <a:pt x="4" y="13"/>
                    <a:pt x="8" y="19"/>
                    <a:pt x="13" y="27"/>
                  </a:cubicBezTo>
                  <a:cubicBezTo>
                    <a:pt x="18" y="34"/>
                    <a:pt x="26" y="43"/>
                    <a:pt x="34" y="52"/>
                  </a:cubicBezTo>
                  <a:cubicBezTo>
                    <a:pt x="43" y="60"/>
                    <a:pt x="53" y="70"/>
                    <a:pt x="62" y="80"/>
                  </a:cubicBezTo>
                  <a:cubicBezTo>
                    <a:pt x="67" y="86"/>
                    <a:pt x="71" y="92"/>
                    <a:pt x="74" y="97"/>
                  </a:cubicBezTo>
                  <a:cubicBezTo>
                    <a:pt x="78" y="103"/>
                    <a:pt x="81" y="109"/>
                    <a:pt x="83" y="115"/>
                  </a:cubicBezTo>
                  <a:cubicBezTo>
                    <a:pt x="86" y="120"/>
                    <a:pt x="88" y="125"/>
                    <a:pt x="90" y="130"/>
                  </a:cubicBezTo>
                  <a:cubicBezTo>
                    <a:pt x="92" y="135"/>
                    <a:pt x="95" y="140"/>
                    <a:pt x="97" y="144"/>
                  </a:cubicBezTo>
                  <a:cubicBezTo>
                    <a:pt x="101" y="152"/>
                    <a:pt x="105" y="159"/>
                    <a:pt x="109" y="162"/>
                  </a:cubicBezTo>
                  <a:cubicBezTo>
                    <a:pt x="113" y="165"/>
                    <a:pt x="116" y="166"/>
                    <a:pt x="116" y="16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4" name="任意多边形: 形状 773">
              <a:extLst>
                <a:ext uri="{FF2B5EF4-FFF2-40B4-BE49-F238E27FC236}">
                  <a16:creationId xmlns:a16="http://schemas.microsoft.com/office/drawing/2014/main" id="{1F07F05B-8153-46B9-8F17-2813F808E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3225" y="4506913"/>
              <a:ext cx="38100" cy="136525"/>
            </a:xfrm>
            <a:custGeom>
              <a:avLst/>
              <a:gdLst>
                <a:gd name="T0" fmla="*/ 1 w 17"/>
                <a:gd name="T1" fmla="*/ 60 h 60"/>
                <a:gd name="T2" fmla="*/ 2 w 17"/>
                <a:gd name="T3" fmla="*/ 51 h 60"/>
                <a:gd name="T4" fmla="*/ 7 w 17"/>
                <a:gd name="T5" fmla="*/ 30 h 60"/>
                <a:gd name="T6" fmla="*/ 14 w 17"/>
                <a:gd name="T7" fmla="*/ 9 h 60"/>
                <a:gd name="T8" fmla="*/ 17 w 17"/>
                <a:gd name="T9" fmla="*/ 0 h 60"/>
                <a:gd name="T10" fmla="*/ 15 w 17"/>
                <a:gd name="T11" fmla="*/ 9 h 60"/>
                <a:gd name="T12" fmla="*/ 9 w 17"/>
                <a:gd name="T13" fmla="*/ 30 h 60"/>
                <a:gd name="T14" fmla="*/ 3 w 17"/>
                <a:gd name="T15" fmla="*/ 51 h 60"/>
                <a:gd name="T16" fmla="*/ 1 w 17"/>
                <a:gd name="T1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60">
                  <a:moveTo>
                    <a:pt x="1" y="60"/>
                  </a:moveTo>
                  <a:cubicBezTo>
                    <a:pt x="0" y="60"/>
                    <a:pt x="1" y="56"/>
                    <a:pt x="2" y="51"/>
                  </a:cubicBezTo>
                  <a:cubicBezTo>
                    <a:pt x="3" y="45"/>
                    <a:pt x="4" y="38"/>
                    <a:pt x="7" y="30"/>
                  </a:cubicBezTo>
                  <a:cubicBezTo>
                    <a:pt x="9" y="21"/>
                    <a:pt x="12" y="14"/>
                    <a:pt x="14" y="9"/>
                  </a:cubicBezTo>
                  <a:cubicBezTo>
                    <a:pt x="16" y="3"/>
                    <a:pt x="17" y="0"/>
                    <a:pt x="17" y="0"/>
                  </a:cubicBezTo>
                  <a:cubicBezTo>
                    <a:pt x="17" y="0"/>
                    <a:pt x="16" y="4"/>
                    <a:pt x="15" y="9"/>
                  </a:cubicBezTo>
                  <a:cubicBezTo>
                    <a:pt x="13" y="14"/>
                    <a:pt x="11" y="22"/>
                    <a:pt x="9" y="30"/>
                  </a:cubicBezTo>
                  <a:cubicBezTo>
                    <a:pt x="6" y="38"/>
                    <a:pt x="4" y="46"/>
                    <a:pt x="3" y="51"/>
                  </a:cubicBezTo>
                  <a:cubicBezTo>
                    <a:pt x="2" y="57"/>
                    <a:pt x="1" y="60"/>
                    <a:pt x="1" y="6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5" name="任意多边形: 形状 774">
              <a:extLst>
                <a:ext uri="{FF2B5EF4-FFF2-40B4-BE49-F238E27FC236}">
                  <a16:creationId xmlns:a16="http://schemas.microsoft.com/office/drawing/2014/main" id="{884DA4D4-CF0C-413C-985F-6F4515D16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9575" y="4462463"/>
              <a:ext cx="146050" cy="34925"/>
            </a:xfrm>
            <a:custGeom>
              <a:avLst/>
              <a:gdLst>
                <a:gd name="T0" fmla="*/ 64 w 64"/>
                <a:gd name="T1" fmla="*/ 14 h 15"/>
                <a:gd name="T2" fmla="*/ 55 w 64"/>
                <a:gd name="T3" fmla="*/ 12 h 15"/>
                <a:gd name="T4" fmla="*/ 32 w 64"/>
                <a:gd name="T5" fmla="*/ 7 h 15"/>
                <a:gd name="T6" fmla="*/ 9 w 64"/>
                <a:gd name="T7" fmla="*/ 2 h 15"/>
                <a:gd name="T8" fmla="*/ 0 w 64"/>
                <a:gd name="T9" fmla="*/ 0 h 15"/>
                <a:gd name="T10" fmla="*/ 10 w 64"/>
                <a:gd name="T11" fmla="*/ 1 h 15"/>
                <a:gd name="T12" fmla="*/ 33 w 64"/>
                <a:gd name="T13" fmla="*/ 5 h 15"/>
                <a:gd name="T14" fmla="*/ 55 w 64"/>
                <a:gd name="T15" fmla="*/ 11 h 15"/>
                <a:gd name="T16" fmla="*/ 64 w 64"/>
                <a:gd name="T1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15">
                  <a:moveTo>
                    <a:pt x="64" y="14"/>
                  </a:moveTo>
                  <a:cubicBezTo>
                    <a:pt x="64" y="15"/>
                    <a:pt x="60" y="14"/>
                    <a:pt x="55" y="12"/>
                  </a:cubicBezTo>
                  <a:cubicBezTo>
                    <a:pt x="49" y="11"/>
                    <a:pt x="41" y="9"/>
                    <a:pt x="32" y="7"/>
                  </a:cubicBezTo>
                  <a:cubicBezTo>
                    <a:pt x="23" y="5"/>
                    <a:pt x="15" y="3"/>
                    <a:pt x="9" y="2"/>
                  </a:cubicBezTo>
                  <a:cubicBezTo>
                    <a:pt x="3" y="1"/>
                    <a:pt x="0" y="0"/>
                    <a:pt x="0" y="0"/>
                  </a:cubicBezTo>
                  <a:cubicBezTo>
                    <a:pt x="0" y="0"/>
                    <a:pt x="4" y="0"/>
                    <a:pt x="10" y="1"/>
                  </a:cubicBezTo>
                  <a:cubicBezTo>
                    <a:pt x="15" y="1"/>
                    <a:pt x="24" y="3"/>
                    <a:pt x="33" y="5"/>
                  </a:cubicBezTo>
                  <a:cubicBezTo>
                    <a:pt x="41" y="7"/>
                    <a:pt x="49" y="9"/>
                    <a:pt x="55" y="11"/>
                  </a:cubicBezTo>
                  <a:cubicBezTo>
                    <a:pt x="61" y="13"/>
                    <a:pt x="64" y="14"/>
                    <a:pt x="64" y="1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6" name="任意多边形: 形状 775">
              <a:extLst>
                <a:ext uri="{FF2B5EF4-FFF2-40B4-BE49-F238E27FC236}">
                  <a16:creationId xmlns:a16="http://schemas.microsoft.com/office/drawing/2014/main" id="{AA74CB1C-FB84-45A9-85AB-79A97B8F6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3" y="4381501"/>
              <a:ext cx="41275" cy="157163"/>
            </a:xfrm>
            <a:custGeom>
              <a:avLst/>
              <a:gdLst>
                <a:gd name="T0" fmla="*/ 0 w 18"/>
                <a:gd name="T1" fmla="*/ 69 h 69"/>
                <a:gd name="T2" fmla="*/ 1 w 18"/>
                <a:gd name="T3" fmla="*/ 59 h 69"/>
                <a:gd name="T4" fmla="*/ 7 w 18"/>
                <a:gd name="T5" fmla="*/ 34 h 69"/>
                <a:gd name="T6" fmla="*/ 14 w 18"/>
                <a:gd name="T7" fmla="*/ 10 h 69"/>
                <a:gd name="T8" fmla="*/ 18 w 18"/>
                <a:gd name="T9" fmla="*/ 0 h 69"/>
                <a:gd name="T10" fmla="*/ 15 w 18"/>
                <a:gd name="T11" fmla="*/ 10 h 69"/>
                <a:gd name="T12" fmla="*/ 9 w 18"/>
                <a:gd name="T13" fmla="*/ 34 h 69"/>
                <a:gd name="T14" fmla="*/ 3 w 18"/>
                <a:gd name="T15" fmla="*/ 59 h 69"/>
                <a:gd name="T16" fmla="*/ 0 w 18"/>
                <a:gd name="T1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69">
                  <a:moveTo>
                    <a:pt x="0" y="69"/>
                  </a:moveTo>
                  <a:cubicBezTo>
                    <a:pt x="0" y="69"/>
                    <a:pt x="0" y="65"/>
                    <a:pt x="1" y="59"/>
                  </a:cubicBezTo>
                  <a:cubicBezTo>
                    <a:pt x="3" y="52"/>
                    <a:pt x="4" y="44"/>
                    <a:pt x="7" y="34"/>
                  </a:cubicBezTo>
                  <a:cubicBezTo>
                    <a:pt x="9" y="24"/>
                    <a:pt x="12" y="16"/>
                    <a:pt x="14" y="10"/>
                  </a:cubicBezTo>
                  <a:cubicBezTo>
                    <a:pt x="16" y="3"/>
                    <a:pt x="18" y="0"/>
                    <a:pt x="18" y="0"/>
                  </a:cubicBezTo>
                  <a:cubicBezTo>
                    <a:pt x="18" y="0"/>
                    <a:pt x="17" y="4"/>
                    <a:pt x="15" y="10"/>
                  </a:cubicBezTo>
                  <a:cubicBezTo>
                    <a:pt x="14" y="16"/>
                    <a:pt x="11" y="25"/>
                    <a:pt x="9" y="34"/>
                  </a:cubicBezTo>
                  <a:cubicBezTo>
                    <a:pt x="6" y="44"/>
                    <a:pt x="4" y="53"/>
                    <a:pt x="3" y="59"/>
                  </a:cubicBezTo>
                  <a:cubicBezTo>
                    <a:pt x="1" y="65"/>
                    <a:pt x="0" y="69"/>
                    <a:pt x="0" y="6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7" name="任意多边形: 形状 776">
              <a:extLst>
                <a:ext uri="{FF2B5EF4-FFF2-40B4-BE49-F238E27FC236}">
                  <a16:creationId xmlns:a16="http://schemas.microsoft.com/office/drawing/2014/main" id="{7AC802CD-B8BF-40AA-B235-2263E3E79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5913" y="4348163"/>
              <a:ext cx="169863" cy="20638"/>
            </a:xfrm>
            <a:custGeom>
              <a:avLst/>
              <a:gdLst>
                <a:gd name="T0" fmla="*/ 74 w 74"/>
                <a:gd name="T1" fmla="*/ 8 h 9"/>
                <a:gd name="T2" fmla="*/ 37 w 74"/>
                <a:gd name="T3" fmla="*/ 5 h 9"/>
                <a:gd name="T4" fmla="*/ 0 w 74"/>
                <a:gd name="T5" fmla="*/ 0 h 9"/>
                <a:gd name="T6" fmla="*/ 37 w 74"/>
                <a:gd name="T7" fmla="*/ 3 h 9"/>
                <a:gd name="T8" fmla="*/ 74 w 74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9">
                  <a:moveTo>
                    <a:pt x="74" y="8"/>
                  </a:moveTo>
                  <a:cubicBezTo>
                    <a:pt x="74" y="9"/>
                    <a:pt x="58" y="7"/>
                    <a:pt x="37" y="5"/>
                  </a:cubicBezTo>
                  <a:cubicBezTo>
                    <a:pt x="17" y="3"/>
                    <a:pt x="0" y="1"/>
                    <a:pt x="0" y="0"/>
                  </a:cubicBezTo>
                  <a:cubicBezTo>
                    <a:pt x="0" y="0"/>
                    <a:pt x="17" y="1"/>
                    <a:pt x="37" y="3"/>
                  </a:cubicBezTo>
                  <a:cubicBezTo>
                    <a:pt x="58" y="6"/>
                    <a:pt x="74" y="8"/>
                    <a:pt x="74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8" name="椭圆 777">
              <a:extLst>
                <a:ext uri="{FF2B5EF4-FFF2-40B4-BE49-F238E27FC236}">
                  <a16:creationId xmlns:a16="http://schemas.microsoft.com/office/drawing/2014/main" id="{05EBD938-C09B-46C2-A57C-46DFB6F2C0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8713" y="4829176"/>
              <a:ext cx="598488" cy="4763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9" name="椭圆 778">
              <a:extLst>
                <a:ext uri="{FF2B5EF4-FFF2-40B4-BE49-F238E27FC236}">
                  <a16:creationId xmlns:a16="http://schemas.microsoft.com/office/drawing/2014/main" id="{7339F221-C5E1-466C-9286-52D668D561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1900" y="5000626"/>
              <a:ext cx="401638" cy="4763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0" name="椭圆 779">
              <a:extLst>
                <a:ext uri="{FF2B5EF4-FFF2-40B4-BE49-F238E27FC236}">
                  <a16:creationId xmlns:a16="http://schemas.microsoft.com/office/drawing/2014/main" id="{626515CF-2EFC-43F1-8B07-F2FC907CCB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3488" y="5026026"/>
              <a:ext cx="404813" cy="3175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1" name="椭圆 780">
              <a:extLst>
                <a:ext uri="{FF2B5EF4-FFF2-40B4-BE49-F238E27FC236}">
                  <a16:creationId xmlns:a16="http://schemas.microsoft.com/office/drawing/2014/main" id="{9A8D01E7-BBED-4753-A785-6D563F4CAB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0788" y="4979988"/>
              <a:ext cx="417513" cy="4763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" name="矩形 452">
            <a:extLst>
              <a:ext uri="{FF2B5EF4-FFF2-40B4-BE49-F238E27FC236}">
                <a16:creationId xmlns:a16="http://schemas.microsoft.com/office/drawing/2014/main" id="{48198B62-E041-4F9B-9523-9FB5A5D49626}"/>
              </a:ext>
            </a:extLst>
          </p:cNvPr>
          <p:cNvSpPr/>
          <p:nvPr userDrawn="1"/>
        </p:nvSpPr>
        <p:spPr>
          <a:xfrm>
            <a:off x="-34105" y="-18668"/>
            <a:ext cx="12231025" cy="69057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54" name="组合 453">
            <a:extLst>
              <a:ext uri="{FF2B5EF4-FFF2-40B4-BE49-F238E27FC236}">
                <a16:creationId xmlns:a16="http://schemas.microsoft.com/office/drawing/2014/main" id="{737ABAAC-8502-448F-AA0E-52C8B72700A2}"/>
              </a:ext>
            </a:extLst>
          </p:cNvPr>
          <p:cNvGrpSpPr/>
          <p:nvPr userDrawn="1"/>
        </p:nvGrpSpPr>
        <p:grpSpPr>
          <a:xfrm>
            <a:off x="0" y="-19256"/>
            <a:ext cx="12192000" cy="6877256"/>
            <a:chOff x="0" y="-9627"/>
            <a:chExt cx="12192000" cy="6877256"/>
          </a:xfrm>
        </p:grpSpPr>
        <p:grpSp>
          <p:nvGrpSpPr>
            <p:cNvPr id="455" name="组合 454">
              <a:extLst>
                <a:ext uri="{FF2B5EF4-FFF2-40B4-BE49-F238E27FC236}">
                  <a16:creationId xmlns:a16="http://schemas.microsoft.com/office/drawing/2014/main" id="{AAF24F5C-4F7C-4F4A-802C-A2741888B22D}"/>
                </a:ext>
              </a:extLst>
            </p:cNvPr>
            <p:cNvGrpSpPr/>
            <p:nvPr/>
          </p:nvGrpSpPr>
          <p:grpSpPr>
            <a:xfrm>
              <a:off x="0" y="317500"/>
              <a:ext cx="12192000" cy="6096000"/>
              <a:chOff x="0" y="317500"/>
              <a:chExt cx="12192000" cy="6096000"/>
            </a:xfrm>
          </p:grpSpPr>
          <p:cxnSp>
            <p:nvCxnSpPr>
              <p:cNvPr id="470" name="直接连接符 469">
                <a:extLst>
                  <a:ext uri="{FF2B5EF4-FFF2-40B4-BE49-F238E27FC236}">
                    <a16:creationId xmlns:a16="http://schemas.microsoft.com/office/drawing/2014/main" id="{9EB9DEDA-1C67-4140-AAB8-8F3610F4037A}"/>
                  </a:ext>
                </a:extLst>
              </p:cNvPr>
              <p:cNvCxnSpPr/>
              <p:nvPr/>
            </p:nvCxnSpPr>
            <p:spPr>
              <a:xfrm>
                <a:off x="0" y="31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1" name="直接连接符 470">
                <a:extLst>
                  <a:ext uri="{FF2B5EF4-FFF2-40B4-BE49-F238E27FC236}">
                    <a16:creationId xmlns:a16="http://schemas.microsoft.com/office/drawing/2014/main" id="{333D00F7-4F85-4969-84BE-63807C7749D2}"/>
                  </a:ext>
                </a:extLst>
              </p:cNvPr>
              <p:cNvCxnSpPr/>
              <p:nvPr/>
            </p:nvCxnSpPr>
            <p:spPr>
              <a:xfrm>
                <a:off x="0" y="133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2" name="直接连接符 471">
                <a:extLst>
                  <a:ext uri="{FF2B5EF4-FFF2-40B4-BE49-F238E27FC236}">
                    <a16:creationId xmlns:a16="http://schemas.microsoft.com/office/drawing/2014/main" id="{FC96FE44-D302-4236-906B-0DED6917264A}"/>
                  </a:ext>
                </a:extLst>
              </p:cNvPr>
              <p:cNvCxnSpPr/>
              <p:nvPr/>
            </p:nvCxnSpPr>
            <p:spPr>
              <a:xfrm>
                <a:off x="0" y="234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3" name="直接连接符 472">
                <a:extLst>
                  <a:ext uri="{FF2B5EF4-FFF2-40B4-BE49-F238E27FC236}">
                    <a16:creationId xmlns:a16="http://schemas.microsoft.com/office/drawing/2014/main" id="{97B5BBE1-5D39-4F2D-8948-D33308DB9DD6}"/>
                  </a:ext>
                </a:extLst>
              </p:cNvPr>
              <p:cNvCxnSpPr/>
              <p:nvPr/>
            </p:nvCxnSpPr>
            <p:spPr>
              <a:xfrm>
                <a:off x="0" y="336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4" name="直接连接符 473">
                <a:extLst>
                  <a:ext uri="{FF2B5EF4-FFF2-40B4-BE49-F238E27FC236}">
                    <a16:creationId xmlns:a16="http://schemas.microsoft.com/office/drawing/2014/main" id="{5C1D29F2-BBEC-4A23-85C4-8B559A9DB5D0}"/>
                  </a:ext>
                </a:extLst>
              </p:cNvPr>
              <p:cNvCxnSpPr/>
              <p:nvPr/>
            </p:nvCxnSpPr>
            <p:spPr>
              <a:xfrm>
                <a:off x="0" y="438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5" name="直接连接符 474">
                <a:extLst>
                  <a:ext uri="{FF2B5EF4-FFF2-40B4-BE49-F238E27FC236}">
                    <a16:creationId xmlns:a16="http://schemas.microsoft.com/office/drawing/2014/main" id="{5924ABE1-5AD3-4D20-B5CD-AE63BDBBCABD}"/>
                  </a:ext>
                </a:extLst>
              </p:cNvPr>
              <p:cNvCxnSpPr/>
              <p:nvPr/>
            </p:nvCxnSpPr>
            <p:spPr>
              <a:xfrm>
                <a:off x="0" y="539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6" name="直接连接符 475">
                <a:extLst>
                  <a:ext uri="{FF2B5EF4-FFF2-40B4-BE49-F238E27FC236}">
                    <a16:creationId xmlns:a16="http://schemas.microsoft.com/office/drawing/2014/main" id="{8913A3D6-F020-489D-8BFA-F9D3440BFDCD}"/>
                  </a:ext>
                </a:extLst>
              </p:cNvPr>
              <p:cNvCxnSpPr/>
              <p:nvPr/>
            </p:nvCxnSpPr>
            <p:spPr>
              <a:xfrm>
                <a:off x="0" y="641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6" name="组合 455">
              <a:extLst>
                <a:ext uri="{FF2B5EF4-FFF2-40B4-BE49-F238E27FC236}">
                  <a16:creationId xmlns:a16="http://schemas.microsoft.com/office/drawing/2014/main" id="{8B3F6247-4322-463E-82F5-9DC2A5551D31}"/>
                </a:ext>
              </a:extLst>
            </p:cNvPr>
            <p:cNvGrpSpPr/>
            <p:nvPr/>
          </p:nvGrpSpPr>
          <p:grpSpPr>
            <a:xfrm rot="5400000">
              <a:off x="6007203" y="1401815"/>
              <a:ext cx="6867629" cy="4064000"/>
              <a:chOff x="0" y="1841500"/>
              <a:chExt cx="12192000" cy="4064000"/>
            </a:xfrm>
          </p:grpSpPr>
          <p:cxnSp>
            <p:nvCxnSpPr>
              <p:cNvPr id="465" name="直接连接符 464">
                <a:extLst>
                  <a:ext uri="{FF2B5EF4-FFF2-40B4-BE49-F238E27FC236}">
                    <a16:creationId xmlns:a16="http://schemas.microsoft.com/office/drawing/2014/main" id="{B29B8093-4ACD-42B4-85DE-9F5BC416B641}"/>
                  </a:ext>
                </a:extLst>
              </p:cNvPr>
              <p:cNvCxnSpPr/>
              <p:nvPr/>
            </p:nvCxnSpPr>
            <p:spPr>
              <a:xfrm>
                <a:off x="0" y="184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6" name="直接连接符 465">
                <a:extLst>
                  <a:ext uri="{FF2B5EF4-FFF2-40B4-BE49-F238E27FC236}">
                    <a16:creationId xmlns:a16="http://schemas.microsoft.com/office/drawing/2014/main" id="{341FA3F2-20C2-4344-9FCD-D3895D180DCD}"/>
                  </a:ext>
                </a:extLst>
              </p:cNvPr>
              <p:cNvCxnSpPr/>
              <p:nvPr/>
            </p:nvCxnSpPr>
            <p:spPr>
              <a:xfrm>
                <a:off x="0" y="285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7" name="直接连接符 466">
                <a:extLst>
                  <a:ext uri="{FF2B5EF4-FFF2-40B4-BE49-F238E27FC236}">
                    <a16:creationId xmlns:a16="http://schemas.microsoft.com/office/drawing/2014/main" id="{9D84E602-6876-426A-9130-8199ED5CD640}"/>
                  </a:ext>
                </a:extLst>
              </p:cNvPr>
              <p:cNvCxnSpPr/>
              <p:nvPr/>
            </p:nvCxnSpPr>
            <p:spPr>
              <a:xfrm>
                <a:off x="0" y="387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8" name="直接连接符 467">
                <a:extLst>
                  <a:ext uri="{FF2B5EF4-FFF2-40B4-BE49-F238E27FC236}">
                    <a16:creationId xmlns:a16="http://schemas.microsoft.com/office/drawing/2014/main" id="{971FC9D7-F6FC-45C1-86B6-8E9B2E48509F}"/>
                  </a:ext>
                </a:extLst>
              </p:cNvPr>
              <p:cNvCxnSpPr/>
              <p:nvPr/>
            </p:nvCxnSpPr>
            <p:spPr>
              <a:xfrm>
                <a:off x="0" y="488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9" name="直接连接符 468">
                <a:extLst>
                  <a:ext uri="{FF2B5EF4-FFF2-40B4-BE49-F238E27FC236}">
                    <a16:creationId xmlns:a16="http://schemas.microsoft.com/office/drawing/2014/main" id="{DF6CDB91-B856-49D2-9094-120F6B034E03}"/>
                  </a:ext>
                </a:extLst>
              </p:cNvPr>
              <p:cNvCxnSpPr/>
              <p:nvPr/>
            </p:nvCxnSpPr>
            <p:spPr>
              <a:xfrm>
                <a:off x="0" y="590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7" name="组合 456">
              <a:extLst>
                <a:ext uri="{FF2B5EF4-FFF2-40B4-BE49-F238E27FC236}">
                  <a16:creationId xmlns:a16="http://schemas.microsoft.com/office/drawing/2014/main" id="{258C23B5-699B-4DD8-8C7B-3E36D4377983}"/>
                </a:ext>
              </a:extLst>
            </p:cNvPr>
            <p:cNvGrpSpPr/>
            <p:nvPr/>
          </p:nvGrpSpPr>
          <p:grpSpPr>
            <a:xfrm rot="5400000">
              <a:off x="-76099" y="376188"/>
              <a:ext cx="6867629" cy="6096000"/>
              <a:chOff x="0" y="317500"/>
              <a:chExt cx="12192000" cy="6096000"/>
            </a:xfrm>
          </p:grpSpPr>
          <p:cxnSp>
            <p:nvCxnSpPr>
              <p:cNvPr id="458" name="直接连接符 457">
                <a:extLst>
                  <a:ext uri="{FF2B5EF4-FFF2-40B4-BE49-F238E27FC236}">
                    <a16:creationId xmlns:a16="http://schemas.microsoft.com/office/drawing/2014/main" id="{0FDE81C7-7871-4EE8-80A7-24BF654A1D93}"/>
                  </a:ext>
                </a:extLst>
              </p:cNvPr>
              <p:cNvCxnSpPr/>
              <p:nvPr/>
            </p:nvCxnSpPr>
            <p:spPr>
              <a:xfrm>
                <a:off x="0" y="31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9" name="直接连接符 458">
                <a:extLst>
                  <a:ext uri="{FF2B5EF4-FFF2-40B4-BE49-F238E27FC236}">
                    <a16:creationId xmlns:a16="http://schemas.microsoft.com/office/drawing/2014/main" id="{495E7711-7BAD-4630-850A-A1E20855EFD8}"/>
                  </a:ext>
                </a:extLst>
              </p:cNvPr>
              <p:cNvCxnSpPr/>
              <p:nvPr/>
            </p:nvCxnSpPr>
            <p:spPr>
              <a:xfrm>
                <a:off x="0" y="133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0" name="直接连接符 459">
                <a:extLst>
                  <a:ext uri="{FF2B5EF4-FFF2-40B4-BE49-F238E27FC236}">
                    <a16:creationId xmlns:a16="http://schemas.microsoft.com/office/drawing/2014/main" id="{C34E9FDA-B55D-4DEE-950E-94876245F233}"/>
                  </a:ext>
                </a:extLst>
              </p:cNvPr>
              <p:cNvCxnSpPr/>
              <p:nvPr/>
            </p:nvCxnSpPr>
            <p:spPr>
              <a:xfrm>
                <a:off x="0" y="234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1" name="直接连接符 460">
                <a:extLst>
                  <a:ext uri="{FF2B5EF4-FFF2-40B4-BE49-F238E27FC236}">
                    <a16:creationId xmlns:a16="http://schemas.microsoft.com/office/drawing/2014/main" id="{BCD1AF96-4CE2-4B25-91A2-B23F1A21E2A8}"/>
                  </a:ext>
                </a:extLst>
              </p:cNvPr>
              <p:cNvCxnSpPr/>
              <p:nvPr/>
            </p:nvCxnSpPr>
            <p:spPr>
              <a:xfrm>
                <a:off x="0" y="336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2" name="直接连接符 461">
                <a:extLst>
                  <a:ext uri="{FF2B5EF4-FFF2-40B4-BE49-F238E27FC236}">
                    <a16:creationId xmlns:a16="http://schemas.microsoft.com/office/drawing/2014/main" id="{C1F434F9-83F8-4748-BC2B-73D4E74B2331}"/>
                  </a:ext>
                </a:extLst>
              </p:cNvPr>
              <p:cNvCxnSpPr/>
              <p:nvPr/>
            </p:nvCxnSpPr>
            <p:spPr>
              <a:xfrm>
                <a:off x="0" y="438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3" name="直接连接符 462">
                <a:extLst>
                  <a:ext uri="{FF2B5EF4-FFF2-40B4-BE49-F238E27FC236}">
                    <a16:creationId xmlns:a16="http://schemas.microsoft.com/office/drawing/2014/main" id="{F2CFA1E6-C393-4E54-A8A6-D74B89C3534F}"/>
                  </a:ext>
                </a:extLst>
              </p:cNvPr>
              <p:cNvCxnSpPr/>
              <p:nvPr/>
            </p:nvCxnSpPr>
            <p:spPr>
              <a:xfrm>
                <a:off x="0" y="539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4" name="直接连接符 463">
                <a:extLst>
                  <a:ext uri="{FF2B5EF4-FFF2-40B4-BE49-F238E27FC236}">
                    <a16:creationId xmlns:a16="http://schemas.microsoft.com/office/drawing/2014/main" id="{ECAA31F6-A76D-478E-A32B-9AAA4C96BE2E}"/>
                  </a:ext>
                </a:extLst>
              </p:cNvPr>
              <p:cNvCxnSpPr/>
              <p:nvPr/>
            </p:nvCxnSpPr>
            <p:spPr>
              <a:xfrm>
                <a:off x="0" y="641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196" name="组合 1195">
            <a:extLst>
              <a:ext uri="{FF2B5EF4-FFF2-40B4-BE49-F238E27FC236}">
                <a16:creationId xmlns:a16="http://schemas.microsoft.com/office/drawing/2014/main" id="{80E76E15-1112-4C2E-A0D4-EB28F4073E30}"/>
              </a:ext>
            </a:extLst>
          </p:cNvPr>
          <p:cNvGrpSpPr/>
          <p:nvPr userDrawn="1"/>
        </p:nvGrpSpPr>
        <p:grpSpPr>
          <a:xfrm>
            <a:off x="5750169" y="968493"/>
            <a:ext cx="6003258" cy="5078946"/>
            <a:chOff x="5750169" y="968493"/>
            <a:chExt cx="6003258" cy="5078946"/>
          </a:xfrm>
        </p:grpSpPr>
        <p:grpSp>
          <p:nvGrpSpPr>
            <p:cNvPr id="1197" name="组合 1196">
              <a:extLst>
                <a:ext uri="{FF2B5EF4-FFF2-40B4-BE49-F238E27FC236}">
                  <a16:creationId xmlns:a16="http://schemas.microsoft.com/office/drawing/2014/main" id="{F0D0175E-B241-4E28-988C-86B727DC3DB8}"/>
                </a:ext>
              </a:extLst>
            </p:cNvPr>
            <p:cNvGrpSpPr/>
            <p:nvPr/>
          </p:nvGrpSpPr>
          <p:grpSpPr>
            <a:xfrm>
              <a:off x="5750169" y="968493"/>
              <a:ext cx="6003258" cy="5078946"/>
              <a:chOff x="4973370" y="2273395"/>
              <a:chExt cx="5801067" cy="3692873"/>
            </a:xfrm>
            <a:solidFill>
              <a:schemeClr val="bg1">
                <a:alpha val="21000"/>
              </a:schemeClr>
            </a:solidFill>
          </p:grpSpPr>
          <p:sp>
            <p:nvSpPr>
              <p:cNvPr id="1462" name="任意多边形: 形状 1461">
                <a:extLst>
                  <a:ext uri="{FF2B5EF4-FFF2-40B4-BE49-F238E27FC236}">
                    <a16:creationId xmlns:a16="http://schemas.microsoft.com/office/drawing/2014/main" id="{D4B1203D-629B-4648-8FB6-A13644C63D03}"/>
                  </a:ext>
                </a:extLst>
              </p:cNvPr>
              <p:cNvSpPr/>
              <p:nvPr userDrawn="1"/>
            </p:nvSpPr>
            <p:spPr bwMode="auto">
              <a:xfrm>
                <a:off x="4973370" y="2273395"/>
                <a:ext cx="5801067" cy="3650427"/>
              </a:xfrm>
              <a:custGeom>
                <a:avLst/>
                <a:gdLst>
                  <a:gd name="T0" fmla="*/ 4584 w 4584"/>
                  <a:gd name="T1" fmla="*/ 1816 h 2888"/>
                  <a:gd name="T2" fmla="*/ 3511 w 4584"/>
                  <a:gd name="T3" fmla="*/ 2888 h 2888"/>
                  <a:gd name="T4" fmla="*/ 3342 w 4584"/>
                  <a:gd name="T5" fmla="*/ 2874 h 2888"/>
                  <a:gd name="T6" fmla="*/ 1643 w 4584"/>
                  <a:gd name="T7" fmla="*/ 2874 h 2888"/>
                  <a:gd name="T8" fmla="*/ 1445 w 4584"/>
                  <a:gd name="T9" fmla="*/ 2888 h 2888"/>
                  <a:gd name="T10" fmla="*/ 1304 w 4584"/>
                  <a:gd name="T11" fmla="*/ 2881 h 2888"/>
                  <a:gd name="T12" fmla="*/ 1 w 4584"/>
                  <a:gd name="T13" fmla="*/ 1444 h 2888"/>
                  <a:gd name="T14" fmla="*/ 1445 w 4584"/>
                  <a:gd name="T15" fmla="*/ 0 h 2888"/>
                  <a:gd name="T16" fmla="*/ 2819 w 4584"/>
                  <a:gd name="T17" fmla="*/ 999 h 2888"/>
                  <a:gd name="T18" fmla="*/ 3512 w 4584"/>
                  <a:gd name="T19" fmla="*/ 744 h 2888"/>
                  <a:gd name="T20" fmla="*/ 4584 w 4584"/>
                  <a:gd name="T21" fmla="*/ 1816 h 2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84" h="2888">
                    <a:moveTo>
                      <a:pt x="4584" y="1816"/>
                    </a:moveTo>
                    <a:cubicBezTo>
                      <a:pt x="4583" y="2408"/>
                      <a:pt x="4103" y="2888"/>
                      <a:pt x="3511" y="2888"/>
                    </a:cubicBezTo>
                    <a:cubicBezTo>
                      <a:pt x="3454" y="2888"/>
                      <a:pt x="3398" y="2883"/>
                      <a:pt x="3342" y="2874"/>
                    </a:cubicBezTo>
                    <a:cubicBezTo>
                      <a:pt x="1643" y="2874"/>
                      <a:pt x="1643" y="2874"/>
                      <a:pt x="1643" y="2874"/>
                    </a:cubicBezTo>
                    <a:cubicBezTo>
                      <a:pt x="1577" y="2883"/>
                      <a:pt x="1511" y="2888"/>
                      <a:pt x="1445" y="2888"/>
                    </a:cubicBezTo>
                    <a:cubicBezTo>
                      <a:pt x="1397" y="2888"/>
                      <a:pt x="1350" y="2885"/>
                      <a:pt x="1304" y="2881"/>
                    </a:cubicBezTo>
                    <a:cubicBezTo>
                      <a:pt x="564" y="2809"/>
                      <a:pt x="0" y="2187"/>
                      <a:pt x="1" y="1444"/>
                    </a:cubicBezTo>
                    <a:cubicBezTo>
                      <a:pt x="1" y="646"/>
                      <a:pt x="648" y="0"/>
                      <a:pt x="1445" y="0"/>
                    </a:cubicBezTo>
                    <a:cubicBezTo>
                      <a:pt x="2087" y="0"/>
                      <a:pt x="2632" y="419"/>
                      <a:pt x="2819" y="999"/>
                    </a:cubicBezTo>
                    <a:cubicBezTo>
                      <a:pt x="3013" y="834"/>
                      <a:pt x="3258" y="744"/>
                      <a:pt x="3512" y="744"/>
                    </a:cubicBezTo>
                    <a:cubicBezTo>
                      <a:pt x="4104" y="744"/>
                      <a:pt x="4584" y="1224"/>
                      <a:pt x="4584" y="1816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3" name="任意多边形: 形状 1462">
                <a:extLst>
                  <a:ext uri="{FF2B5EF4-FFF2-40B4-BE49-F238E27FC236}">
                    <a16:creationId xmlns:a16="http://schemas.microsoft.com/office/drawing/2014/main" id="{93936346-4681-42A7-A816-4249C2A479A1}"/>
                  </a:ext>
                </a:extLst>
              </p:cNvPr>
              <p:cNvSpPr/>
              <p:nvPr userDrawn="1"/>
            </p:nvSpPr>
            <p:spPr bwMode="auto">
              <a:xfrm>
                <a:off x="5060032" y="4010177"/>
                <a:ext cx="5192662" cy="1956091"/>
              </a:xfrm>
              <a:custGeom>
                <a:avLst/>
                <a:gdLst>
                  <a:gd name="T0" fmla="*/ 4104 w 4104"/>
                  <a:gd name="T1" fmla="*/ 1286 h 1547"/>
                  <a:gd name="T2" fmla="*/ 3274 w 4104"/>
                  <a:gd name="T3" fmla="*/ 1500 h 1547"/>
                  <a:gd name="T4" fmla="*/ 1575 w 4104"/>
                  <a:gd name="T5" fmla="*/ 1500 h 1547"/>
                  <a:gd name="T6" fmla="*/ 1377 w 4104"/>
                  <a:gd name="T7" fmla="*/ 1514 h 1547"/>
                  <a:gd name="T8" fmla="*/ 1236 w 4104"/>
                  <a:gd name="T9" fmla="*/ 1507 h 1547"/>
                  <a:gd name="T10" fmla="*/ 0 w 4104"/>
                  <a:gd name="T11" fmla="*/ 506 h 1547"/>
                  <a:gd name="T12" fmla="*/ 910 w 4104"/>
                  <a:gd name="T13" fmla="*/ 0 h 1547"/>
                  <a:gd name="T14" fmla="*/ 1810 w 4104"/>
                  <a:gd name="T15" fmla="*/ 484 h 1547"/>
                  <a:gd name="T16" fmla="*/ 2026 w 4104"/>
                  <a:gd name="T17" fmla="*/ 464 h 1547"/>
                  <a:gd name="T18" fmla="*/ 2941 w 4104"/>
                  <a:gd name="T19" fmla="*/ 979 h 1547"/>
                  <a:gd name="T20" fmla="*/ 3286 w 4104"/>
                  <a:gd name="T21" fmla="*/ 928 h 1547"/>
                  <a:gd name="T22" fmla="*/ 4104 w 4104"/>
                  <a:gd name="T23" fmla="*/ 1286 h 1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04" h="1547">
                    <a:moveTo>
                      <a:pt x="4104" y="1286"/>
                    </a:moveTo>
                    <a:cubicBezTo>
                      <a:pt x="3869" y="1470"/>
                      <a:pt x="3568" y="1547"/>
                      <a:pt x="3274" y="1500"/>
                    </a:cubicBezTo>
                    <a:cubicBezTo>
                      <a:pt x="1575" y="1500"/>
                      <a:pt x="1575" y="1500"/>
                      <a:pt x="1575" y="1500"/>
                    </a:cubicBezTo>
                    <a:cubicBezTo>
                      <a:pt x="1509" y="1509"/>
                      <a:pt x="1443" y="1514"/>
                      <a:pt x="1377" y="1514"/>
                    </a:cubicBezTo>
                    <a:cubicBezTo>
                      <a:pt x="1329" y="1514"/>
                      <a:pt x="1282" y="1511"/>
                      <a:pt x="1236" y="1507"/>
                    </a:cubicBezTo>
                    <a:cubicBezTo>
                      <a:pt x="661" y="1450"/>
                      <a:pt x="175" y="1057"/>
                      <a:pt x="0" y="506"/>
                    </a:cubicBezTo>
                    <a:cubicBezTo>
                      <a:pt x="138" y="210"/>
                      <a:pt x="494" y="0"/>
                      <a:pt x="910" y="0"/>
                    </a:cubicBezTo>
                    <a:cubicBezTo>
                      <a:pt x="1316" y="0"/>
                      <a:pt x="1664" y="200"/>
                      <a:pt x="1810" y="484"/>
                    </a:cubicBezTo>
                    <a:cubicBezTo>
                      <a:pt x="1881" y="471"/>
                      <a:pt x="1954" y="464"/>
                      <a:pt x="2026" y="464"/>
                    </a:cubicBezTo>
                    <a:cubicBezTo>
                      <a:pt x="2447" y="464"/>
                      <a:pt x="2805" y="679"/>
                      <a:pt x="2941" y="979"/>
                    </a:cubicBezTo>
                    <a:cubicBezTo>
                      <a:pt x="3053" y="945"/>
                      <a:pt x="3169" y="928"/>
                      <a:pt x="3286" y="928"/>
                    </a:cubicBezTo>
                    <a:cubicBezTo>
                      <a:pt x="3630" y="928"/>
                      <a:pt x="3931" y="1071"/>
                      <a:pt x="4104" y="1286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198" name="组合 1197">
              <a:extLst>
                <a:ext uri="{FF2B5EF4-FFF2-40B4-BE49-F238E27FC236}">
                  <a16:creationId xmlns:a16="http://schemas.microsoft.com/office/drawing/2014/main" id="{4B86AD32-7374-4820-AFAC-3B5EC9C47C71}"/>
                </a:ext>
              </a:extLst>
            </p:cNvPr>
            <p:cNvGrpSpPr/>
            <p:nvPr/>
          </p:nvGrpSpPr>
          <p:grpSpPr>
            <a:xfrm>
              <a:off x="5905500" y="2290887"/>
              <a:ext cx="5613400" cy="3738563"/>
              <a:chOff x="3278188" y="1557338"/>
              <a:chExt cx="5613400" cy="3738563"/>
            </a:xfrm>
          </p:grpSpPr>
          <p:sp>
            <p:nvSpPr>
              <p:cNvPr id="1199" name="矩形 1198">
                <a:extLst>
                  <a:ext uri="{FF2B5EF4-FFF2-40B4-BE49-F238E27FC236}">
                    <a16:creationId xmlns:a16="http://schemas.microsoft.com/office/drawing/2014/main" id="{FE0B8E35-D1CD-4CD0-8F72-4D2B288768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00451" y="1733551"/>
                <a:ext cx="838200" cy="121602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0" name="矩形 1199">
                <a:extLst>
                  <a:ext uri="{FF2B5EF4-FFF2-40B4-BE49-F238E27FC236}">
                    <a16:creationId xmlns:a16="http://schemas.microsoft.com/office/drawing/2014/main" id="{EF5552EC-882E-4411-9F81-879B0F4C6F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6001" y="1733551"/>
                <a:ext cx="839788" cy="1216025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1" name="矩形 1200">
                <a:extLst>
                  <a:ext uri="{FF2B5EF4-FFF2-40B4-BE49-F238E27FC236}">
                    <a16:creationId xmlns:a16="http://schemas.microsoft.com/office/drawing/2014/main" id="{4AF9625D-920D-44EC-B918-628254D011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2363" y="1866901"/>
                <a:ext cx="630238" cy="9509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2" name="任意多边形: 形状 1201">
                <a:extLst>
                  <a:ext uri="{FF2B5EF4-FFF2-40B4-BE49-F238E27FC236}">
                    <a16:creationId xmlns:a16="http://schemas.microsoft.com/office/drawing/2014/main" id="{DD80F9F3-14C6-4272-A709-1BE58673AA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9188" y="1863726"/>
                <a:ext cx="633413" cy="955675"/>
              </a:xfrm>
              <a:custGeom>
                <a:avLst/>
                <a:gdLst>
                  <a:gd name="T0" fmla="*/ 277 w 277"/>
                  <a:gd name="T1" fmla="*/ 417 h 418"/>
                  <a:gd name="T2" fmla="*/ 277 w 277"/>
                  <a:gd name="T3" fmla="*/ 415 h 418"/>
                  <a:gd name="T4" fmla="*/ 276 w 277"/>
                  <a:gd name="T5" fmla="*/ 409 h 418"/>
                  <a:gd name="T6" fmla="*/ 276 w 277"/>
                  <a:gd name="T7" fmla="*/ 387 h 418"/>
                  <a:gd name="T8" fmla="*/ 276 w 277"/>
                  <a:gd name="T9" fmla="*/ 301 h 418"/>
                  <a:gd name="T10" fmla="*/ 276 w 277"/>
                  <a:gd name="T11" fmla="*/ 1 h 418"/>
                  <a:gd name="T12" fmla="*/ 277 w 277"/>
                  <a:gd name="T13" fmla="*/ 2 h 418"/>
                  <a:gd name="T14" fmla="*/ 1 w 277"/>
                  <a:gd name="T15" fmla="*/ 2 h 418"/>
                  <a:gd name="T16" fmla="*/ 1 w 277"/>
                  <a:gd name="T17" fmla="*/ 2 h 418"/>
                  <a:gd name="T18" fmla="*/ 2 w 277"/>
                  <a:gd name="T19" fmla="*/ 1 h 418"/>
                  <a:gd name="T20" fmla="*/ 2 w 277"/>
                  <a:gd name="T21" fmla="*/ 417 h 418"/>
                  <a:gd name="T22" fmla="*/ 1 w 277"/>
                  <a:gd name="T23" fmla="*/ 417 h 418"/>
                  <a:gd name="T24" fmla="*/ 202 w 277"/>
                  <a:gd name="T25" fmla="*/ 417 h 418"/>
                  <a:gd name="T26" fmla="*/ 257 w 277"/>
                  <a:gd name="T27" fmla="*/ 417 h 418"/>
                  <a:gd name="T28" fmla="*/ 272 w 277"/>
                  <a:gd name="T29" fmla="*/ 417 h 418"/>
                  <a:gd name="T30" fmla="*/ 277 w 277"/>
                  <a:gd name="T31" fmla="*/ 417 h 418"/>
                  <a:gd name="T32" fmla="*/ 272 w 277"/>
                  <a:gd name="T33" fmla="*/ 418 h 418"/>
                  <a:gd name="T34" fmla="*/ 257 w 277"/>
                  <a:gd name="T35" fmla="*/ 418 h 418"/>
                  <a:gd name="T36" fmla="*/ 202 w 277"/>
                  <a:gd name="T37" fmla="*/ 418 h 418"/>
                  <a:gd name="T38" fmla="*/ 1 w 277"/>
                  <a:gd name="T39" fmla="*/ 418 h 418"/>
                  <a:gd name="T40" fmla="*/ 0 w 277"/>
                  <a:gd name="T41" fmla="*/ 418 h 418"/>
                  <a:gd name="T42" fmla="*/ 0 w 277"/>
                  <a:gd name="T43" fmla="*/ 417 h 418"/>
                  <a:gd name="T44" fmla="*/ 0 w 277"/>
                  <a:gd name="T45" fmla="*/ 1 h 418"/>
                  <a:gd name="T46" fmla="*/ 0 w 277"/>
                  <a:gd name="T47" fmla="*/ 0 h 418"/>
                  <a:gd name="T48" fmla="*/ 1 w 277"/>
                  <a:gd name="T49" fmla="*/ 0 h 418"/>
                  <a:gd name="T50" fmla="*/ 1 w 277"/>
                  <a:gd name="T51" fmla="*/ 0 h 418"/>
                  <a:gd name="T52" fmla="*/ 277 w 277"/>
                  <a:gd name="T53" fmla="*/ 0 h 418"/>
                  <a:gd name="T54" fmla="*/ 277 w 277"/>
                  <a:gd name="T55" fmla="*/ 0 h 418"/>
                  <a:gd name="T56" fmla="*/ 277 w 277"/>
                  <a:gd name="T57" fmla="*/ 1 h 418"/>
                  <a:gd name="T58" fmla="*/ 277 w 277"/>
                  <a:gd name="T59" fmla="*/ 301 h 418"/>
                  <a:gd name="T60" fmla="*/ 277 w 277"/>
                  <a:gd name="T61" fmla="*/ 387 h 418"/>
                  <a:gd name="T62" fmla="*/ 277 w 277"/>
                  <a:gd name="T63" fmla="*/ 410 h 418"/>
                  <a:gd name="T64" fmla="*/ 277 w 277"/>
                  <a:gd name="T65" fmla="*/ 416 h 418"/>
                  <a:gd name="T66" fmla="*/ 277 w 277"/>
                  <a:gd name="T67" fmla="*/ 417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7" h="418">
                    <a:moveTo>
                      <a:pt x="277" y="417"/>
                    </a:moveTo>
                    <a:cubicBezTo>
                      <a:pt x="277" y="417"/>
                      <a:pt x="277" y="417"/>
                      <a:pt x="277" y="415"/>
                    </a:cubicBezTo>
                    <a:cubicBezTo>
                      <a:pt x="276" y="414"/>
                      <a:pt x="276" y="412"/>
                      <a:pt x="276" y="409"/>
                    </a:cubicBezTo>
                    <a:cubicBezTo>
                      <a:pt x="276" y="404"/>
                      <a:pt x="276" y="397"/>
                      <a:pt x="276" y="387"/>
                    </a:cubicBezTo>
                    <a:cubicBezTo>
                      <a:pt x="276" y="367"/>
                      <a:pt x="276" y="338"/>
                      <a:pt x="276" y="301"/>
                    </a:cubicBezTo>
                    <a:cubicBezTo>
                      <a:pt x="276" y="227"/>
                      <a:pt x="276" y="123"/>
                      <a:pt x="276" y="1"/>
                    </a:cubicBezTo>
                    <a:cubicBezTo>
                      <a:pt x="277" y="2"/>
                      <a:pt x="277" y="2"/>
                      <a:pt x="277" y="2"/>
                    </a:cubicBezTo>
                    <a:cubicBezTo>
                      <a:pt x="192" y="2"/>
                      <a:pt x="99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58"/>
                      <a:pt x="2" y="303"/>
                      <a:pt x="2" y="417"/>
                    </a:cubicBezTo>
                    <a:cubicBezTo>
                      <a:pt x="1" y="417"/>
                      <a:pt x="1" y="417"/>
                      <a:pt x="1" y="417"/>
                    </a:cubicBezTo>
                    <a:cubicBezTo>
                      <a:pt x="85" y="417"/>
                      <a:pt x="154" y="417"/>
                      <a:pt x="202" y="417"/>
                    </a:cubicBezTo>
                    <a:cubicBezTo>
                      <a:pt x="225" y="417"/>
                      <a:pt x="244" y="417"/>
                      <a:pt x="257" y="417"/>
                    </a:cubicBezTo>
                    <a:cubicBezTo>
                      <a:pt x="263" y="417"/>
                      <a:pt x="268" y="417"/>
                      <a:pt x="272" y="417"/>
                    </a:cubicBezTo>
                    <a:cubicBezTo>
                      <a:pt x="275" y="417"/>
                      <a:pt x="277" y="417"/>
                      <a:pt x="277" y="417"/>
                    </a:cubicBezTo>
                    <a:cubicBezTo>
                      <a:pt x="277" y="417"/>
                      <a:pt x="275" y="418"/>
                      <a:pt x="272" y="418"/>
                    </a:cubicBezTo>
                    <a:cubicBezTo>
                      <a:pt x="268" y="418"/>
                      <a:pt x="264" y="418"/>
                      <a:pt x="257" y="418"/>
                    </a:cubicBezTo>
                    <a:cubicBezTo>
                      <a:pt x="245" y="418"/>
                      <a:pt x="226" y="418"/>
                      <a:pt x="202" y="418"/>
                    </a:cubicBezTo>
                    <a:cubicBezTo>
                      <a:pt x="154" y="418"/>
                      <a:pt x="85" y="418"/>
                      <a:pt x="1" y="418"/>
                    </a:cubicBezTo>
                    <a:cubicBezTo>
                      <a:pt x="0" y="418"/>
                      <a:pt x="0" y="418"/>
                      <a:pt x="0" y="418"/>
                    </a:cubicBezTo>
                    <a:cubicBezTo>
                      <a:pt x="0" y="417"/>
                      <a:pt x="0" y="417"/>
                      <a:pt x="0" y="417"/>
                    </a:cubicBezTo>
                    <a:cubicBezTo>
                      <a:pt x="0" y="303"/>
                      <a:pt x="0" y="158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99" y="0"/>
                      <a:pt x="192" y="0"/>
                      <a:pt x="277" y="0"/>
                    </a:cubicBezTo>
                    <a:cubicBezTo>
                      <a:pt x="277" y="0"/>
                      <a:pt x="277" y="0"/>
                      <a:pt x="277" y="0"/>
                    </a:cubicBezTo>
                    <a:cubicBezTo>
                      <a:pt x="277" y="1"/>
                      <a:pt x="277" y="1"/>
                      <a:pt x="277" y="1"/>
                    </a:cubicBezTo>
                    <a:cubicBezTo>
                      <a:pt x="277" y="124"/>
                      <a:pt x="277" y="228"/>
                      <a:pt x="277" y="301"/>
                    </a:cubicBezTo>
                    <a:cubicBezTo>
                      <a:pt x="277" y="338"/>
                      <a:pt x="277" y="367"/>
                      <a:pt x="277" y="387"/>
                    </a:cubicBezTo>
                    <a:cubicBezTo>
                      <a:pt x="277" y="397"/>
                      <a:pt x="277" y="405"/>
                      <a:pt x="277" y="410"/>
                    </a:cubicBezTo>
                    <a:cubicBezTo>
                      <a:pt x="277" y="412"/>
                      <a:pt x="277" y="414"/>
                      <a:pt x="277" y="416"/>
                    </a:cubicBezTo>
                    <a:cubicBezTo>
                      <a:pt x="277" y="417"/>
                      <a:pt x="277" y="417"/>
                      <a:pt x="277" y="41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3" name="任意多边形: 形状 1202">
                <a:extLst>
                  <a:ext uri="{FF2B5EF4-FFF2-40B4-BE49-F238E27FC236}">
                    <a16:creationId xmlns:a16="http://schemas.microsoft.com/office/drawing/2014/main" id="{9123998F-02C5-4F37-A442-81181F2B4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3076" y="1733551"/>
                <a:ext cx="114300" cy="139700"/>
              </a:xfrm>
              <a:custGeom>
                <a:avLst/>
                <a:gdLst>
                  <a:gd name="T0" fmla="*/ 50 w 50"/>
                  <a:gd name="T1" fmla="*/ 0 h 61"/>
                  <a:gd name="T2" fmla="*/ 44 w 50"/>
                  <a:gd name="T3" fmla="*/ 10 h 61"/>
                  <a:gd name="T4" fmla="*/ 26 w 50"/>
                  <a:gd name="T5" fmla="*/ 31 h 61"/>
                  <a:gd name="T6" fmla="*/ 8 w 50"/>
                  <a:gd name="T7" fmla="*/ 53 h 61"/>
                  <a:gd name="T8" fmla="*/ 0 w 50"/>
                  <a:gd name="T9" fmla="*/ 61 h 61"/>
                  <a:gd name="T10" fmla="*/ 7 w 50"/>
                  <a:gd name="T11" fmla="*/ 52 h 61"/>
                  <a:gd name="T12" fmla="*/ 25 w 50"/>
                  <a:gd name="T13" fmla="*/ 30 h 61"/>
                  <a:gd name="T14" fmla="*/ 43 w 50"/>
                  <a:gd name="T15" fmla="*/ 9 h 61"/>
                  <a:gd name="T16" fmla="*/ 50 w 50"/>
                  <a:gd name="T17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61">
                    <a:moveTo>
                      <a:pt x="50" y="0"/>
                    </a:moveTo>
                    <a:cubicBezTo>
                      <a:pt x="50" y="0"/>
                      <a:pt x="48" y="4"/>
                      <a:pt x="44" y="10"/>
                    </a:cubicBezTo>
                    <a:cubicBezTo>
                      <a:pt x="39" y="15"/>
                      <a:pt x="33" y="23"/>
                      <a:pt x="26" y="31"/>
                    </a:cubicBezTo>
                    <a:cubicBezTo>
                      <a:pt x="20" y="40"/>
                      <a:pt x="13" y="47"/>
                      <a:pt x="8" y="53"/>
                    </a:cubicBezTo>
                    <a:cubicBezTo>
                      <a:pt x="4" y="58"/>
                      <a:pt x="0" y="61"/>
                      <a:pt x="0" y="61"/>
                    </a:cubicBezTo>
                    <a:cubicBezTo>
                      <a:pt x="0" y="61"/>
                      <a:pt x="3" y="57"/>
                      <a:pt x="7" y="52"/>
                    </a:cubicBezTo>
                    <a:cubicBezTo>
                      <a:pt x="12" y="46"/>
                      <a:pt x="18" y="38"/>
                      <a:pt x="25" y="30"/>
                    </a:cubicBezTo>
                    <a:cubicBezTo>
                      <a:pt x="32" y="22"/>
                      <a:pt x="38" y="15"/>
                      <a:pt x="43" y="9"/>
                    </a:cubicBezTo>
                    <a:cubicBezTo>
                      <a:pt x="47" y="3"/>
                      <a:pt x="50" y="0"/>
                      <a:pt x="5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4" name="任意多边形: 形状 1203">
                <a:extLst>
                  <a:ext uri="{FF2B5EF4-FFF2-40B4-BE49-F238E27FC236}">
                    <a16:creationId xmlns:a16="http://schemas.microsoft.com/office/drawing/2014/main" id="{7839D2EE-C7D7-4744-A2E1-E4C5BCFCFE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5776" y="2814638"/>
                <a:ext cx="109538" cy="138113"/>
              </a:xfrm>
              <a:custGeom>
                <a:avLst/>
                <a:gdLst>
                  <a:gd name="T0" fmla="*/ 0 w 48"/>
                  <a:gd name="T1" fmla="*/ 0 h 60"/>
                  <a:gd name="T2" fmla="*/ 48 w 48"/>
                  <a:gd name="T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8" h="60">
                    <a:moveTo>
                      <a:pt x="0" y="0"/>
                    </a:moveTo>
                    <a:cubicBezTo>
                      <a:pt x="14" y="22"/>
                      <a:pt x="30" y="42"/>
                      <a:pt x="48" y="6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5" name="任意多边形: 形状 1204">
                <a:extLst>
                  <a:ext uri="{FF2B5EF4-FFF2-40B4-BE49-F238E27FC236}">
                    <a16:creationId xmlns:a16="http://schemas.microsoft.com/office/drawing/2014/main" id="{04000B00-271D-4A7C-9D99-57585AD01B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5776" y="2814638"/>
                <a:ext cx="109538" cy="138113"/>
              </a:xfrm>
              <a:custGeom>
                <a:avLst/>
                <a:gdLst>
                  <a:gd name="T0" fmla="*/ 48 w 48"/>
                  <a:gd name="T1" fmla="*/ 60 h 60"/>
                  <a:gd name="T2" fmla="*/ 40 w 48"/>
                  <a:gd name="T3" fmla="*/ 53 h 60"/>
                  <a:gd name="T4" fmla="*/ 22 w 48"/>
                  <a:gd name="T5" fmla="*/ 32 h 60"/>
                  <a:gd name="T6" fmla="*/ 6 w 48"/>
                  <a:gd name="T7" fmla="*/ 10 h 60"/>
                  <a:gd name="T8" fmla="*/ 0 w 48"/>
                  <a:gd name="T9" fmla="*/ 0 h 60"/>
                  <a:gd name="T10" fmla="*/ 7 w 48"/>
                  <a:gd name="T11" fmla="*/ 9 h 60"/>
                  <a:gd name="T12" fmla="*/ 23 w 48"/>
                  <a:gd name="T13" fmla="*/ 31 h 60"/>
                  <a:gd name="T14" fmla="*/ 41 w 48"/>
                  <a:gd name="T15" fmla="*/ 52 h 60"/>
                  <a:gd name="T16" fmla="*/ 48 w 48"/>
                  <a:gd name="T1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60">
                    <a:moveTo>
                      <a:pt x="48" y="60"/>
                    </a:moveTo>
                    <a:cubicBezTo>
                      <a:pt x="48" y="60"/>
                      <a:pt x="45" y="58"/>
                      <a:pt x="40" y="53"/>
                    </a:cubicBezTo>
                    <a:cubicBezTo>
                      <a:pt x="35" y="48"/>
                      <a:pt x="28" y="41"/>
                      <a:pt x="22" y="32"/>
                    </a:cubicBezTo>
                    <a:cubicBezTo>
                      <a:pt x="15" y="24"/>
                      <a:pt x="9" y="16"/>
                      <a:pt x="6" y="10"/>
                    </a:cubicBezTo>
                    <a:cubicBezTo>
                      <a:pt x="2" y="4"/>
                      <a:pt x="0" y="0"/>
                      <a:pt x="0" y="0"/>
                    </a:cubicBezTo>
                    <a:cubicBezTo>
                      <a:pt x="0" y="0"/>
                      <a:pt x="3" y="3"/>
                      <a:pt x="7" y="9"/>
                    </a:cubicBezTo>
                    <a:cubicBezTo>
                      <a:pt x="11" y="15"/>
                      <a:pt x="16" y="23"/>
                      <a:pt x="23" y="31"/>
                    </a:cubicBezTo>
                    <a:cubicBezTo>
                      <a:pt x="30" y="39"/>
                      <a:pt x="36" y="46"/>
                      <a:pt x="41" y="52"/>
                    </a:cubicBezTo>
                    <a:cubicBezTo>
                      <a:pt x="45" y="57"/>
                      <a:pt x="48" y="60"/>
                      <a:pt x="48" y="6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6" name="任意多边形: 形状 1205">
                <a:extLst>
                  <a:ext uri="{FF2B5EF4-FFF2-40B4-BE49-F238E27FC236}">
                    <a16:creationId xmlns:a16="http://schemas.microsoft.com/office/drawing/2014/main" id="{7F1AA20C-7ECE-419B-8744-C9810C3013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2813051"/>
                <a:ext cx="109538" cy="136525"/>
              </a:xfrm>
              <a:custGeom>
                <a:avLst/>
                <a:gdLst>
                  <a:gd name="T0" fmla="*/ 0 w 48"/>
                  <a:gd name="T1" fmla="*/ 60 h 60"/>
                  <a:gd name="T2" fmla="*/ 48 w 48"/>
                  <a:gd name="T3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8" h="60">
                    <a:moveTo>
                      <a:pt x="0" y="60"/>
                    </a:moveTo>
                    <a:cubicBezTo>
                      <a:pt x="16" y="40"/>
                      <a:pt x="32" y="20"/>
                      <a:pt x="48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7" name="任意多边形: 形状 1206">
                <a:extLst>
                  <a:ext uri="{FF2B5EF4-FFF2-40B4-BE49-F238E27FC236}">
                    <a16:creationId xmlns:a16="http://schemas.microsoft.com/office/drawing/2014/main" id="{7BBA1493-917F-48DB-95BE-5145219E0E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2813051"/>
                <a:ext cx="112713" cy="136525"/>
              </a:xfrm>
              <a:custGeom>
                <a:avLst/>
                <a:gdLst>
                  <a:gd name="T0" fmla="*/ 48 w 49"/>
                  <a:gd name="T1" fmla="*/ 0 h 60"/>
                  <a:gd name="T2" fmla="*/ 25 w 49"/>
                  <a:gd name="T3" fmla="*/ 31 h 60"/>
                  <a:gd name="T4" fmla="*/ 0 w 49"/>
                  <a:gd name="T5" fmla="*/ 60 h 60"/>
                  <a:gd name="T6" fmla="*/ 23 w 49"/>
                  <a:gd name="T7" fmla="*/ 29 h 60"/>
                  <a:gd name="T8" fmla="*/ 48 w 49"/>
                  <a:gd name="T9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0">
                    <a:moveTo>
                      <a:pt x="48" y="0"/>
                    </a:moveTo>
                    <a:cubicBezTo>
                      <a:pt x="49" y="1"/>
                      <a:pt x="38" y="14"/>
                      <a:pt x="25" y="31"/>
                    </a:cubicBezTo>
                    <a:cubicBezTo>
                      <a:pt x="12" y="47"/>
                      <a:pt x="1" y="60"/>
                      <a:pt x="0" y="60"/>
                    </a:cubicBezTo>
                    <a:cubicBezTo>
                      <a:pt x="0" y="59"/>
                      <a:pt x="10" y="46"/>
                      <a:pt x="23" y="29"/>
                    </a:cubicBezTo>
                    <a:cubicBezTo>
                      <a:pt x="37" y="13"/>
                      <a:pt x="48" y="0"/>
                      <a:pt x="4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8" name="任意多边形: 形状 1207">
                <a:extLst>
                  <a:ext uri="{FF2B5EF4-FFF2-40B4-BE49-F238E27FC236}">
                    <a16:creationId xmlns:a16="http://schemas.microsoft.com/office/drawing/2014/main" id="{2147555B-3905-4F36-A3B3-8E9FE9C2BF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1733551"/>
                <a:ext cx="106363" cy="133350"/>
              </a:xfrm>
              <a:custGeom>
                <a:avLst/>
                <a:gdLst>
                  <a:gd name="T0" fmla="*/ 0 w 46"/>
                  <a:gd name="T1" fmla="*/ 0 h 58"/>
                  <a:gd name="T2" fmla="*/ 24 w 46"/>
                  <a:gd name="T3" fmla="*/ 28 h 58"/>
                  <a:gd name="T4" fmla="*/ 45 w 46"/>
                  <a:gd name="T5" fmla="*/ 57 h 58"/>
                  <a:gd name="T6" fmla="*/ 22 w 46"/>
                  <a:gd name="T7" fmla="*/ 29 h 58"/>
                  <a:gd name="T8" fmla="*/ 0 w 46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58">
                    <a:moveTo>
                      <a:pt x="0" y="0"/>
                    </a:moveTo>
                    <a:cubicBezTo>
                      <a:pt x="1" y="0"/>
                      <a:pt x="11" y="12"/>
                      <a:pt x="24" y="28"/>
                    </a:cubicBezTo>
                    <a:cubicBezTo>
                      <a:pt x="36" y="44"/>
                      <a:pt x="46" y="57"/>
                      <a:pt x="45" y="57"/>
                    </a:cubicBezTo>
                    <a:cubicBezTo>
                      <a:pt x="45" y="58"/>
                      <a:pt x="34" y="45"/>
                      <a:pt x="22" y="29"/>
                    </a:cubicBezTo>
                    <a:cubicBezTo>
                      <a:pt x="9" y="14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9" name="矩形 1208">
                <a:extLst>
                  <a:ext uri="{FF2B5EF4-FFF2-40B4-BE49-F238E27FC236}">
                    <a16:creationId xmlns:a16="http://schemas.microsoft.com/office/drawing/2014/main" id="{955530AD-5BA5-45EC-B428-B038D15DB7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3026" y="2058988"/>
                <a:ext cx="212725" cy="60007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0" name="任意多边形: 形状 1209">
                <a:extLst>
                  <a:ext uri="{FF2B5EF4-FFF2-40B4-BE49-F238E27FC236}">
                    <a16:creationId xmlns:a16="http://schemas.microsoft.com/office/drawing/2014/main" id="{F2C3510C-08BF-4D2C-96F0-B3365361BA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8376" y="1557338"/>
                <a:ext cx="790575" cy="533400"/>
              </a:xfrm>
              <a:custGeom>
                <a:avLst/>
                <a:gdLst>
                  <a:gd name="T0" fmla="*/ 498 w 498"/>
                  <a:gd name="T1" fmla="*/ 0 h 336"/>
                  <a:gd name="T2" fmla="*/ 498 w 498"/>
                  <a:gd name="T3" fmla="*/ 336 h 336"/>
                  <a:gd name="T4" fmla="*/ 17 w 498"/>
                  <a:gd name="T5" fmla="*/ 336 h 336"/>
                  <a:gd name="T6" fmla="*/ 0 w 498"/>
                  <a:gd name="T7" fmla="*/ 2 h 336"/>
                  <a:gd name="T8" fmla="*/ 498 w 498"/>
                  <a:gd name="T9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8" h="336">
                    <a:moveTo>
                      <a:pt x="498" y="0"/>
                    </a:moveTo>
                    <a:lnTo>
                      <a:pt x="498" y="336"/>
                    </a:lnTo>
                    <a:lnTo>
                      <a:pt x="17" y="336"/>
                    </a:lnTo>
                    <a:lnTo>
                      <a:pt x="0" y="2"/>
                    </a:lnTo>
                    <a:lnTo>
                      <a:pt x="498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1" name="矩形 1210">
                <a:extLst>
                  <a:ext uri="{FF2B5EF4-FFF2-40B4-BE49-F238E27FC236}">
                    <a16:creationId xmlns:a16="http://schemas.microsoft.com/office/drawing/2014/main" id="{62C04426-0A52-4933-A63D-7364CEA868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78376" y="1560513"/>
                <a:ext cx="763588" cy="5270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2" name="任意多边形: 形状 1211">
                <a:extLst>
                  <a:ext uri="{FF2B5EF4-FFF2-40B4-BE49-F238E27FC236}">
                    <a16:creationId xmlns:a16="http://schemas.microsoft.com/office/drawing/2014/main" id="{1F565B96-B192-4565-AD0C-FC9D14DD22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3613" y="1557338"/>
                <a:ext cx="773113" cy="534988"/>
              </a:xfrm>
              <a:custGeom>
                <a:avLst/>
                <a:gdLst>
                  <a:gd name="T0" fmla="*/ 487 w 487"/>
                  <a:gd name="T1" fmla="*/ 337 h 337"/>
                  <a:gd name="T2" fmla="*/ 0 w 487"/>
                  <a:gd name="T3" fmla="*/ 337 h 337"/>
                  <a:gd name="T4" fmla="*/ 0 w 487"/>
                  <a:gd name="T5" fmla="*/ 0 h 337"/>
                  <a:gd name="T6" fmla="*/ 487 w 487"/>
                  <a:gd name="T7" fmla="*/ 0 h 337"/>
                  <a:gd name="T8" fmla="*/ 487 w 487"/>
                  <a:gd name="T9" fmla="*/ 337 h 337"/>
                  <a:gd name="T10" fmla="*/ 4 w 487"/>
                  <a:gd name="T11" fmla="*/ 332 h 337"/>
                  <a:gd name="T12" fmla="*/ 482 w 487"/>
                  <a:gd name="T13" fmla="*/ 332 h 337"/>
                  <a:gd name="T14" fmla="*/ 482 w 487"/>
                  <a:gd name="T15" fmla="*/ 5 h 337"/>
                  <a:gd name="T16" fmla="*/ 4 w 487"/>
                  <a:gd name="T17" fmla="*/ 5 h 337"/>
                  <a:gd name="T18" fmla="*/ 4 w 487"/>
                  <a:gd name="T19" fmla="*/ 332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7" h="337">
                    <a:moveTo>
                      <a:pt x="487" y="337"/>
                    </a:moveTo>
                    <a:lnTo>
                      <a:pt x="0" y="337"/>
                    </a:lnTo>
                    <a:lnTo>
                      <a:pt x="0" y="0"/>
                    </a:lnTo>
                    <a:lnTo>
                      <a:pt x="487" y="0"/>
                    </a:lnTo>
                    <a:lnTo>
                      <a:pt x="487" y="337"/>
                    </a:lnTo>
                    <a:close/>
                    <a:moveTo>
                      <a:pt x="4" y="332"/>
                    </a:moveTo>
                    <a:lnTo>
                      <a:pt x="482" y="332"/>
                    </a:lnTo>
                    <a:lnTo>
                      <a:pt x="482" y="5"/>
                    </a:lnTo>
                    <a:lnTo>
                      <a:pt x="4" y="5"/>
                    </a:lnTo>
                    <a:lnTo>
                      <a:pt x="4" y="33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3" name="矩形 1212">
                <a:extLst>
                  <a:ext uri="{FF2B5EF4-FFF2-40B4-BE49-F238E27FC236}">
                    <a16:creationId xmlns:a16="http://schemas.microsoft.com/office/drawing/2014/main" id="{AABCCCCA-E78A-4BC4-B9FA-44DD424517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59338" y="1627188"/>
                <a:ext cx="600075" cy="3952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4" name="任意多边形: 形状 1213">
                <a:extLst>
                  <a:ext uri="{FF2B5EF4-FFF2-40B4-BE49-F238E27FC236}">
                    <a16:creationId xmlns:a16="http://schemas.microsoft.com/office/drawing/2014/main" id="{B5B6FED1-24EF-421C-A21E-E4F5D268F0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751" y="1624013"/>
                <a:ext cx="603250" cy="400050"/>
              </a:xfrm>
              <a:custGeom>
                <a:avLst/>
                <a:gdLst>
                  <a:gd name="T0" fmla="*/ 263 w 264"/>
                  <a:gd name="T1" fmla="*/ 1 h 175"/>
                  <a:gd name="T2" fmla="*/ 262 w 264"/>
                  <a:gd name="T3" fmla="*/ 1 h 175"/>
                  <a:gd name="T4" fmla="*/ 258 w 264"/>
                  <a:gd name="T5" fmla="*/ 1 h 175"/>
                  <a:gd name="T6" fmla="*/ 244 w 264"/>
                  <a:gd name="T7" fmla="*/ 1 h 175"/>
                  <a:gd name="T8" fmla="*/ 190 w 264"/>
                  <a:gd name="T9" fmla="*/ 1 h 175"/>
                  <a:gd name="T10" fmla="*/ 1 w 264"/>
                  <a:gd name="T11" fmla="*/ 2 h 175"/>
                  <a:gd name="T12" fmla="*/ 2 w 264"/>
                  <a:gd name="T13" fmla="*/ 1 h 175"/>
                  <a:gd name="T14" fmla="*/ 2 w 264"/>
                  <a:gd name="T15" fmla="*/ 174 h 175"/>
                  <a:gd name="T16" fmla="*/ 2 w 264"/>
                  <a:gd name="T17" fmla="*/ 174 h 175"/>
                  <a:gd name="T18" fmla="*/ 1 w 264"/>
                  <a:gd name="T19" fmla="*/ 174 h 175"/>
                  <a:gd name="T20" fmla="*/ 263 w 264"/>
                  <a:gd name="T21" fmla="*/ 174 h 175"/>
                  <a:gd name="T22" fmla="*/ 262 w 264"/>
                  <a:gd name="T23" fmla="*/ 174 h 175"/>
                  <a:gd name="T24" fmla="*/ 263 w 264"/>
                  <a:gd name="T25" fmla="*/ 48 h 175"/>
                  <a:gd name="T26" fmla="*/ 263 w 264"/>
                  <a:gd name="T27" fmla="*/ 13 h 175"/>
                  <a:gd name="T28" fmla="*/ 263 w 264"/>
                  <a:gd name="T29" fmla="*/ 4 h 175"/>
                  <a:gd name="T30" fmla="*/ 263 w 264"/>
                  <a:gd name="T31" fmla="*/ 1 h 175"/>
                  <a:gd name="T32" fmla="*/ 263 w 264"/>
                  <a:gd name="T33" fmla="*/ 4 h 175"/>
                  <a:gd name="T34" fmla="*/ 263 w 264"/>
                  <a:gd name="T35" fmla="*/ 13 h 175"/>
                  <a:gd name="T36" fmla="*/ 263 w 264"/>
                  <a:gd name="T37" fmla="*/ 48 h 175"/>
                  <a:gd name="T38" fmla="*/ 264 w 264"/>
                  <a:gd name="T39" fmla="*/ 174 h 175"/>
                  <a:gd name="T40" fmla="*/ 264 w 264"/>
                  <a:gd name="T41" fmla="*/ 175 h 175"/>
                  <a:gd name="T42" fmla="*/ 263 w 264"/>
                  <a:gd name="T43" fmla="*/ 175 h 175"/>
                  <a:gd name="T44" fmla="*/ 1 w 264"/>
                  <a:gd name="T45" fmla="*/ 175 h 175"/>
                  <a:gd name="T46" fmla="*/ 0 w 264"/>
                  <a:gd name="T47" fmla="*/ 175 h 175"/>
                  <a:gd name="T48" fmla="*/ 0 w 264"/>
                  <a:gd name="T49" fmla="*/ 174 h 175"/>
                  <a:gd name="T50" fmla="*/ 0 w 264"/>
                  <a:gd name="T51" fmla="*/ 174 h 175"/>
                  <a:gd name="T52" fmla="*/ 0 w 264"/>
                  <a:gd name="T53" fmla="*/ 1 h 175"/>
                  <a:gd name="T54" fmla="*/ 0 w 264"/>
                  <a:gd name="T55" fmla="*/ 0 h 175"/>
                  <a:gd name="T56" fmla="*/ 1 w 264"/>
                  <a:gd name="T57" fmla="*/ 0 h 175"/>
                  <a:gd name="T58" fmla="*/ 190 w 264"/>
                  <a:gd name="T59" fmla="*/ 1 h 175"/>
                  <a:gd name="T60" fmla="*/ 244 w 264"/>
                  <a:gd name="T61" fmla="*/ 1 h 175"/>
                  <a:gd name="T62" fmla="*/ 258 w 264"/>
                  <a:gd name="T63" fmla="*/ 1 h 175"/>
                  <a:gd name="T64" fmla="*/ 262 w 264"/>
                  <a:gd name="T65" fmla="*/ 1 h 175"/>
                  <a:gd name="T66" fmla="*/ 263 w 264"/>
                  <a:gd name="T67" fmla="*/ 1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64" h="175">
                    <a:moveTo>
                      <a:pt x="263" y="1"/>
                    </a:moveTo>
                    <a:cubicBezTo>
                      <a:pt x="263" y="1"/>
                      <a:pt x="263" y="1"/>
                      <a:pt x="262" y="1"/>
                    </a:cubicBezTo>
                    <a:cubicBezTo>
                      <a:pt x="261" y="1"/>
                      <a:pt x="260" y="1"/>
                      <a:pt x="258" y="1"/>
                    </a:cubicBezTo>
                    <a:cubicBezTo>
                      <a:pt x="255" y="1"/>
                      <a:pt x="250" y="1"/>
                      <a:pt x="244" y="1"/>
                    </a:cubicBezTo>
                    <a:cubicBezTo>
                      <a:pt x="231" y="1"/>
                      <a:pt x="213" y="1"/>
                      <a:pt x="190" y="1"/>
                    </a:cubicBezTo>
                    <a:cubicBezTo>
                      <a:pt x="143" y="1"/>
                      <a:pt x="78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54"/>
                      <a:pt x="2" y="113"/>
                      <a:pt x="2" y="174"/>
                    </a:cubicBezTo>
                    <a:cubicBezTo>
                      <a:pt x="2" y="174"/>
                      <a:pt x="2" y="174"/>
                      <a:pt x="2" y="174"/>
                    </a:cubicBezTo>
                    <a:cubicBezTo>
                      <a:pt x="1" y="174"/>
                      <a:pt x="1" y="174"/>
                      <a:pt x="1" y="174"/>
                    </a:cubicBezTo>
                    <a:cubicBezTo>
                      <a:pt x="100" y="174"/>
                      <a:pt x="191" y="174"/>
                      <a:pt x="263" y="174"/>
                    </a:cubicBezTo>
                    <a:cubicBezTo>
                      <a:pt x="262" y="174"/>
                      <a:pt x="262" y="174"/>
                      <a:pt x="262" y="174"/>
                    </a:cubicBezTo>
                    <a:cubicBezTo>
                      <a:pt x="262" y="122"/>
                      <a:pt x="263" y="78"/>
                      <a:pt x="263" y="48"/>
                    </a:cubicBezTo>
                    <a:cubicBezTo>
                      <a:pt x="263" y="33"/>
                      <a:pt x="263" y="21"/>
                      <a:pt x="263" y="13"/>
                    </a:cubicBezTo>
                    <a:cubicBezTo>
                      <a:pt x="263" y="9"/>
                      <a:pt x="263" y="6"/>
                      <a:pt x="263" y="4"/>
                    </a:cubicBezTo>
                    <a:cubicBezTo>
                      <a:pt x="263" y="2"/>
                      <a:pt x="263" y="1"/>
                      <a:pt x="263" y="1"/>
                    </a:cubicBezTo>
                    <a:cubicBezTo>
                      <a:pt x="263" y="1"/>
                      <a:pt x="263" y="2"/>
                      <a:pt x="263" y="4"/>
                    </a:cubicBezTo>
                    <a:cubicBezTo>
                      <a:pt x="263" y="6"/>
                      <a:pt x="263" y="9"/>
                      <a:pt x="263" y="13"/>
                    </a:cubicBezTo>
                    <a:cubicBezTo>
                      <a:pt x="263" y="21"/>
                      <a:pt x="263" y="33"/>
                      <a:pt x="263" y="48"/>
                    </a:cubicBezTo>
                    <a:cubicBezTo>
                      <a:pt x="263" y="78"/>
                      <a:pt x="264" y="121"/>
                      <a:pt x="264" y="174"/>
                    </a:cubicBezTo>
                    <a:cubicBezTo>
                      <a:pt x="264" y="175"/>
                      <a:pt x="264" y="175"/>
                      <a:pt x="264" y="175"/>
                    </a:cubicBezTo>
                    <a:cubicBezTo>
                      <a:pt x="263" y="175"/>
                      <a:pt x="263" y="175"/>
                      <a:pt x="263" y="175"/>
                    </a:cubicBezTo>
                    <a:cubicBezTo>
                      <a:pt x="191" y="175"/>
                      <a:pt x="100" y="175"/>
                      <a:pt x="1" y="175"/>
                    </a:cubicBezTo>
                    <a:cubicBezTo>
                      <a:pt x="0" y="175"/>
                      <a:pt x="0" y="175"/>
                      <a:pt x="0" y="175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0" y="113"/>
                      <a:pt x="0" y="5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78" y="0"/>
                      <a:pt x="144" y="0"/>
                      <a:pt x="190" y="1"/>
                    </a:cubicBezTo>
                    <a:cubicBezTo>
                      <a:pt x="213" y="1"/>
                      <a:pt x="231" y="1"/>
                      <a:pt x="244" y="1"/>
                    </a:cubicBezTo>
                    <a:cubicBezTo>
                      <a:pt x="250" y="1"/>
                      <a:pt x="255" y="1"/>
                      <a:pt x="258" y="1"/>
                    </a:cubicBezTo>
                    <a:cubicBezTo>
                      <a:pt x="260" y="1"/>
                      <a:pt x="261" y="1"/>
                      <a:pt x="262" y="1"/>
                    </a:cubicBezTo>
                    <a:cubicBezTo>
                      <a:pt x="263" y="1"/>
                      <a:pt x="263" y="1"/>
                      <a:pt x="263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5" name="任意多边形: 形状 1214">
                <a:extLst>
                  <a:ext uri="{FF2B5EF4-FFF2-40B4-BE49-F238E27FC236}">
                    <a16:creationId xmlns:a16="http://schemas.microsoft.com/office/drawing/2014/main" id="{2105AAF3-FB33-422B-BD53-49EC11C18F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5201" y="1557338"/>
                <a:ext cx="84138" cy="69850"/>
              </a:xfrm>
              <a:custGeom>
                <a:avLst/>
                <a:gdLst>
                  <a:gd name="T0" fmla="*/ 1 w 37"/>
                  <a:gd name="T1" fmla="*/ 1 h 30"/>
                  <a:gd name="T2" fmla="*/ 6 w 37"/>
                  <a:gd name="T3" fmla="*/ 4 h 30"/>
                  <a:gd name="T4" fmla="*/ 20 w 37"/>
                  <a:gd name="T5" fmla="*/ 14 h 30"/>
                  <a:gd name="T6" fmla="*/ 32 w 37"/>
                  <a:gd name="T7" fmla="*/ 25 h 30"/>
                  <a:gd name="T8" fmla="*/ 37 w 37"/>
                  <a:gd name="T9" fmla="*/ 30 h 30"/>
                  <a:gd name="T10" fmla="*/ 19 w 37"/>
                  <a:gd name="T11" fmla="*/ 16 h 30"/>
                  <a:gd name="T12" fmla="*/ 1 w 37"/>
                  <a:gd name="T13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30">
                    <a:moveTo>
                      <a:pt x="1" y="1"/>
                    </a:moveTo>
                    <a:cubicBezTo>
                      <a:pt x="1" y="0"/>
                      <a:pt x="3" y="2"/>
                      <a:pt x="6" y="4"/>
                    </a:cubicBezTo>
                    <a:cubicBezTo>
                      <a:pt x="10" y="7"/>
                      <a:pt x="15" y="10"/>
                      <a:pt x="20" y="14"/>
                    </a:cubicBezTo>
                    <a:cubicBezTo>
                      <a:pt x="25" y="18"/>
                      <a:pt x="29" y="22"/>
                      <a:pt x="32" y="25"/>
                    </a:cubicBezTo>
                    <a:cubicBezTo>
                      <a:pt x="35" y="28"/>
                      <a:pt x="37" y="30"/>
                      <a:pt x="37" y="30"/>
                    </a:cubicBezTo>
                    <a:cubicBezTo>
                      <a:pt x="37" y="30"/>
                      <a:pt x="29" y="24"/>
                      <a:pt x="19" y="16"/>
                    </a:cubicBezTo>
                    <a:cubicBezTo>
                      <a:pt x="8" y="8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6" name="任意多边形: 形状 1215">
                <a:extLst>
                  <a:ext uri="{FF2B5EF4-FFF2-40B4-BE49-F238E27FC236}">
                    <a16:creationId xmlns:a16="http://schemas.microsoft.com/office/drawing/2014/main" id="{61A65005-18BA-497A-B486-48101A2F3A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9413" y="1560513"/>
                <a:ext cx="84138" cy="66675"/>
              </a:xfrm>
              <a:custGeom>
                <a:avLst/>
                <a:gdLst>
                  <a:gd name="T0" fmla="*/ 36 w 37"/>
                  <a:gd name="T1" fmla="*/ 0 h 29"/>
                  <a:gd name="T2" fmla="*/ 19 w 37"/>
                  <a:gd name="T3" fmla="*/ 15 h 29"/>
                  <a:gd name="T4" fmla="*/ 0 w 37"/>
                  <a:gd name="T5" fmla="*/ 29 h 29"/>
                  <a:gd name="T6" fmla="*/ 18 w 37"/>
                  <a:gd name="T7" fmla="*/ 14 h 29"/>
                  <a:gd name="T8" fmla="*/ 36 w 37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9">
                    <a:moveTo>
                      <a:pt x="36" y="0"/>
                    </a:moveTo>
                    <a:cubicBezTo>
                      <a:pt x="37" y="1"/>
                      <a:pt x="29" y="7"/>
                      <a:pt x="19" y="15"/>
                    </a:cubicBezTo>
                    <a:cubicBezTo>
                      <a:pt x="9" y="23"/>
                      <a:pt x="0" y="29"/>
                      <a:pt x="0" y="29"/>
                    </a:cubicBezTo>
                    <a:cubicBezTo>
                      <a:pt x="0" y="29"/>
                      <a:pt x="8" y="22"/>
                      <a:pt x="18" y="14"/>
                    </a:cubicBezTo>
                    <a:cubicBezTo>
                      <a:pt x="28" y="6"/>
                      <a:pt x="36" y="0"/>
                      <a:pt x="36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7" name="任意多边形: 形状 1216">
                <a:extLst>
                  <a:ext uri="{FF2B5EF4-FFF2-40B4-BE49-F238E27FC236}">
                    <a16:creationId xmlns:a16="http://schemas.microsoft.com/office/drawing/2014/main" id="{8B595D89-10CF-4A92-B2C0-F5B1675AB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6238" y="2019301"/>
                <a:ext cx="85725" cy="68263"/>
              </a:xfrm>
              <a:custGeom>
                <a:avLst/>
                <a:gdLst>
                  <a:gd name="T0" fmla="*/ 37 w 37"/>
                  <a:gd name="T1" fmla="*/ 30 h 30"/>
                  <a:gd name="T2" fmla="*/ 0 w 37"/>
                  <a:gd name="T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7" h="30">
                    <a:moveTo>
                      <a:pt x="37" y="30"/>
                    </a:moveTo>
                    <a:cubicBezTo>
                      <a:pt x="25" y="20"/>
                      <a:pt x="12" y="1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8" name="任意多边形: 形状 1217">
                <a:extLst>
                  <a:ext uri="{FF2B5EF4-FFF2-40B4-BE49-F238E27FC236}">
                    <a16:creationId xmlns:a16="http://schemas.microsoft.com/office/drawing/2014/main" id="{28D9EAD6-B8A2-4BC4-9C94-E96E2CA1C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4651" y="2019301"/>
                <a:ext cx="87313" cy="68263"/>
              </a:xfrm>
              <a:custGeom>
                <a:avLst/>
                <a:gdLst>
                  <a:gd name="T0" fmla="*/ 1 w 38"/>
                  <a:gd name="T1" fmla="*/ 0 h 30"/>
                  <a:gd name="T2" fmla="*/ 20 w 38"/>
                  <a:gd name="T3" fmla="*/ 14 h 30"/>
                  <a:gd name="T4" fmla="*/ 38 w 38"/>
                  <a:gd name="T5" fmla="*/ 30 h 30"/>
                  <a:gd name="T6" fmla="*/ 19 w 38"/>
                  <a:gd name="T7" fmla="*/ 16 h 30"/>
                  <a:gd name="T8" fmla="*/ 1 w 38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30">
                    <a:moveTo>
                      <a:pt x="1" y="0"/>
                    </a:moveTo>
                    <a:cubicBezTo>
                      <a:pt x="1" y="0"/>
                      <a:pt x="10" y="6"/>
                      <a:pt x="20" y="14"/>
                    </a:cubicBezTo>
                    <a:cubicBezTo>
                      <a:pt x="30" y="23"/>
                      <a:pt x="38" y="30"/>
                      <a:pt x="38" y="30"/>
                    </a:cubicBezTo>
                    <a:cubicBezTo>
                      <a:pt x="38" y="30"/>
                      <a:pt x="29" y="24"/>
                      <a:pt x="19" y="16"/>
                    </a:cubicBezTo>
                    <a:cubicBezTo>
                      <a:pt x="8" y="7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9" name="任意多边形: 形状 1218">
                <a:extLst>
                  <a:ext uri="{FF2B5EF4-FFF2-40B4-BE49-F238E27FC236}">
                    <a16:creationId xmlns:a16="http://schemas.microsoft.com/office/drawing/2014/main" id="{DA7C1941-AD14-4C9B-890A-C6018FC5F1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5201" y="2022476"/>
                <a:ext cx="84138" cy="65088"/>
              </a:xfrm>
              <a:custGeom>
                <a:avLst/>
                <a:gdLst>
                  <a:gd name="T0" fmla="*/ 1 w 37"/>
                  <a:gd name="T1" fmla="*/ 29 h 29"/>
                  <a:gd name="T2" fmla="*/ 18 w 37"/>
                  <a:gd name="T3" fmla="*/ 14 h 29"/>
                  <a:gd name="T4" fmla="*/ 37 w 37"/>
                  <a:gd name="T5" fmla="*/ 1 h 29"/>
                  <a:gd name="T6" fmla="*/ 19 w 37"/>
                  <a:gd name="T7" fmla="*/ 16 h 29"/>
                  <a:gd name="T8" fmla="*/ 1 w 37"/>
                  <a:gd name="T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9">
                    <a:moveTo>
                      <a:pt x="1" y="29"/>
                    </a:moveTo>
                    <a:cubicBezTo>
                      <a:pt x="0" y="29"/>
                      <a:pt x="8" y="22"/>
                      <a:pt x="18" y="14"/>
                    </a:cubicBezTo>
                    <a:cubicBezTo>
                      <a:pt x="28" y="6"/>
                      <a:pt x="36" y="0"/>
                      <a:pt x="37" y="1"/>
                    </a:cubicBezTo>
                    <a:cubicBezTo>
                      <a:pt x="37" y="1"/>
                      <a:pt x="29" y="8"/>
                      <a:pt x="19" y="16"/>
                    </a:cubicBezTo>
                    <a:cubicBezTo>
                      <a:pt x="9" y="23"/>
                      <a:pt x="1" y="29"/>
                      <a:pt x="1" y="2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0" name="矩形 1219">
                <a:extLst>
                  <a:ext uri="{FF2B5EF4-FFF2-40B4-BE49-F238E27FC236}">
                    <a16:creationId xmlns:a16="http://schemas.microsoft.com/office/drawing/2014/main" id="{F3F1A746-6FDD-478A-AED3-8DA400C393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81576" y="1749426"/>
                <a:ext cx="376238" cy="133350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1" name="任意多边形: 形状 1220">
                <a:extLst>
                  <a:ext uri="{FF2B5EF4-FFF2-40B4-BE49-F238E27FC236}">
                    <a16:creationId xmlns:a16="http://schemas.microsoft.com/office/drawing/2014/main" id="{FCF681FA-6C7F-4E01-BA2C-F9B93C0576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29576" y="3910013"/>
                <a:ext cx="742950" cy="1319213"/>
              </a:xfrm>
              <a:custGeom>
                <a:avLst/>
                <a:gdLst>
                  <a:gd name="T0" fmla="*/ 287 w 325"/>
                  <a:gd name="T1" fmla="*/ 14 h 577"/>
                  <a:gd name="T2" fmla="*/ 234 w 325"/>
                  <a:gd name="T3" fmla="*/ 71 h 577"/>
                  <a:gd name="T4" fmla="*/ 203 w 325"/>
                  <a:gd name="T5" fmla="*/ 181 h 577"/>
                  <a:gd name="T6" fmla="*/ 186 w 325"/>
                  <a:gd name="T7" fmla="*/ 188 h 577"/>
                  <a:gd name="T8" fmla="*/ 143 w 325"/>
                  <a:gd name="T9" fmla="*/ 164 h 577"/>
                  <a:gd name="T10" fmla="*/ 132 w 325"/>
                  <a:gd name="T11" fmla="*/ 218 h 577"/>
                  <a:gd name="T12" fmla="*/ 154 w 325"/>
                  <a:gd name="T13" fmla="*/ 309 h 577"/>
                  <a:gd name="T14" fmla="*/ 145 w 325"/>
                  <a:gd name="T15" fmla="*/ 318 h 577"/>
                  <a:gd name="T16" fmla="*/ 69 w 325"/>
                  <a:gd name="T17" fmla="*/ 298 h 577"/>
                  <a:gd name="T18" fmla="*/ 87 w 325"/>
                  <a:gd name="T19" fmla="*/ 402 h 577"/>
                  <a:gd name="T20" fmla="*/ 86 w 325"/>
                  <a:gd name="T21" fmla="*/ 416 h 577"/>
                  <a:gd name="T22" fmla="*/ 52 w 325"/>
                  <a:gd name="T23" fmla="*/ 392 h 577"/>
                  <a:gd name="T24" fmla="*/ 9 w 325"/>
                  <a:gd name="T25" fmla="*/ 386 h 577"/>
                  <a:gd name="T26" fmla="*/ 72 w 325"/>
                  <a:gd name="T27" fmla="*/ 540 h 577"/>
                  <a:gd name="T28" fmla="*/ 105 w 325"/>
                  <a:gd name="T29" fmla="*/ 577 h 577"/>
                  <a:gd name="T30" fmla="*/ 153 w 325"/>
                  <a:gd name="T31" fmla="*/ 567 h 577"/>
                  <a:gd name="T32" fmla="*/ 294 w 325"/>
                  <a:gd name="T33" fmla="*/ 478 h 577"/>
                  <a:gd name="T34" fmla="*/ 256 w 325"/>
                  <a:gd name="T35" fmla="*/ 458 h 577"/>
                  <a:gd name="T36" fmla="*/ 215 w 325"/>
                  <a:gd name="T37" fmla="*/ 458 h 577"/>
                  <a:gd name="T38" fmla="*/ 222 w 325"/>
                  <a:gd name="T39" fmla="*/ 446 h 577"/>
                  <a:gd name="T40" fmla="*/ 298 w 325"/>
                  <a:gd name="T41" fmla="*/ 372 h 577"/>
                  <a:gd name="T42" fmla="*/ 224 w 325"/>
                  <a:gd name="T43" fmla="*/ 344 h 577"/>
                  <a:gd name="T44" fmla="*/ 223 w 325"/>
                  <a:gd name="T45" fmla="*/ 331 h 577"/>
                  <a:gd name="T46" fmla="*/ 294 w 325"/>
                  <a:gd name="T47" fmla="*/ 270 h 577"/>
                  <a:gd name="T48" fmla="*/ 317 w 325"/>
                  <a:gd name="T49" fmla="*/ 220 h 577"/>
                  <a:gd name="T50" fmla="*/ 268 w 325"/>
                  <a:gd name="T51" fmla="*/ 215 h 577"/>
                  <a:gd name="T52" fmla="*/ 258 w 325"/>
                  <a:gd name="T53" fmla="*/ 198 h 577"/>
                  <a:gd name="T54" fmla="*/ 298 w 325"/>
                  <a:gd name="T55" fmla="*/ 91 h 577"/>
                  <a:gd name="T56" fmla="*/ 287 w 325"/>
                  <a:gd name="T57" fmla="*/ 14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5" h="577">
                    <a:moveTo>
                      <a:pt x="287" y="14"/>
                    </a:moveTo>
                    <a:cubicBezTo>
                      <a:pt x="287" y="14"/>
                      <a:pt x="257" y="0"/>
                      <a:pt x="234" y="71"/>
                    </a:cubicBezTo>
                    <a:cubicBezTo>
                      <a:pt x="210" y="141"/>
                      <a:pt x="203" y="181"/>
                      <a:pt x="203" y="181"/>
                    </a:cubicBezTo>
                    <a:cubicBezTo>
                      <a:pt x="203" y="181"/>
                      <a:pt x="196" y="196"/>
                      <a:pt x="186" y="188"/>
                    </a:cubicBezTo>
                    <a:cubicBezTo>
                      <a:pt x="175" y="181"/>
                      <a:pt x="158" y="157"/>
                      <a:pt x="143" y="164"/>
                    </a:cubicBezTo>
                    <a:cubicBezTo>
                      <a:pt x="127" y="172"/>
                      <a:pt x="124" y="191"/>
                      <a:pt x="132" y="218"/>
                    </a:cubicBezTo>
                    <a:cubicBezTo>
                      <a:pt x="139" y="244"/>
                      <a:pt x="152" y="304"/>
                      <a:pt x="154" y="309"/>
                    </a:cubicBezTo>
                    <a:cubicBezTo>
                      <a:pt x="155" y="314"/>
                      <a:pt x="153" y="322"/>
                      <a:pt x="145" y="318"/>
                    </a:cubicBezTo>
                    <a:cubicBezTo>
                      <a:pt x="137" y="315"/>
                      <a:pt x="87" y="274"/>
                      <a:pt x="69" y="298"/>
                    </a:cubicBezTo>
                    <a:cubicBezTo>
                      <a:pt x="51" y="323"/>
                      <a:pt x="83" y="394"/>
                      <a:pt x="87" y="402"/>
                    </a:cubicBezTo>
                    <a:cubicBezTo>
                      <a:pt x="90" y="410"/>
                      <a:pt x="89" y="414"/>
                      <a:pt x="86" y="416"/>
                    </a:cubicBezTo>
                    <a:cubicBezTo>
                      <a:pt x="82" y="419"/>
                      <a:pt x="67" y="403"/>
                      <a:pt x="52" y="392"/>
                    </a:cubicBezTo>
                    <a:cubicBezTo>
                      <a:pt x="37" y="381"/>
                      <a:pt x="19" y="371"/>
                      <a:pt x="9" y="386"/>
                    </a:cubicBezTo>
                    <a:cubicBezTo>
                      <a:pt x="0" y="401"/>
                      <a:pt x="5" y="458"/>
                      <a:pt x="72" y="540"/>
                    </a:cubicBezTo>
                    <a:cubicBezTo>
                      <a:pt x="105" y="577"/>
                      <a:pt x="105" y="577"/>
                      <a:pt x="105" y="577"/>
                    </a:cubicBezTo>
                    <a:cubicBezTo>
                      <a:pt x="153" y="567"/>
                      <a:pt x="153" y="567"/>
                      <a:pt x="153" y="567"/>
                    </a:cubicBezTo>
                    <a:cubicBezTo>
                      <a:pt x="256" y="539"/>
                      <a:pt x="293" y="496"/>
                      <a:pt x="294" y="478"/>
                    </a:cubicBezTo>
                    <a:cubicBezTo>
                      <a:pt x="296" y="461"/>
                      <a:pt x="274" y="458"/>
                      <a:pt x="256" y="458"/>
                    </a:cubicBezTo>
                    <a:cubicBezTo>
                      <a:pt x="238" y="459"/>
                      <a:pt x="216" y="462"/>
                      <a:pt x="215" y="458"/>
                    </a:cubicBezTo>
                    <a:cubicBezTo>
                      <a:pt x="214" y="454"/>
                      <a:pt x="215" y="450"/>
                      <a:pt x="222" y="446"/>
                    </a:cubicBezTo>
                    <a:cubicBezTo>
                      <a:pt x="230" y="441"/>
                      <a:pt x="298" y="403"/>
                      <a:pt x="298" y="372"/>
                    </a:cubicBezTo>
                    <a:cubicBezTo>
                      <a:pt x="298" y="341"/>
                      <a:pt x="233" y="346"/>
                      <a:pt x="224" y="344"/>
                    </a:cubicBezTo>
                    <a:cubicBezTo>
                      <a:pt x="215" y="342"/>
                      <a:pt x="219" y="335"/>
                      <a:pt x="223" y="331"/>
                    </a:cubicBezTo>
                    <a:cubicBezTo>
                      <a:pt x="227" y="327"/>
                      <a:pt x="273" y="288"/>
                      <a:pt x="294" y="270"/>
                    </a:cubicBezTo>
                    <a:cubicBezTo>
                      <a:pt x="316" y="253"/>
                      <a:pt x="325" y="236"/>
                      <a:pt x="317" y="220"/>
                    </a:cubicBezTo>
                    <a:cubicBezTo>
                      <a:pt x="308" y="206"/>
                      <a:pt x="281" y="215"/>
                      <a:pt x="268" y="215"/>
                    </a:cubicBezTo>
                    <a:cubicBezTo>
                      <a:pt x="255" y="214"/>
                      <a:pt x="258" y="198"/>
                      <a:pt x="258" y="198"/>
                    </a:cubicBezTo>
                    <a:cubicBezTo>
                      <a:pt x="258" y="198"/>
                      <a:pt x="276" y="162"/>
                      <a:pt x="298" y="91"/>
                    </a:cubicBezTo>
                    <a:cubicBezTo>
                      <a:pt x="320" y="21"/>
                      <a:pt x="287" y="14"/>
                      <a:pt x="287" y="14"/>
                    </a:cubicBezTo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2" name="任意多边形: 形状 1221">
                <a:extLst>
                  <a:ext uri="{FF2B5EF4-FFF2-40B4-BE49-F238E27FC236}">
                    <a16:creationId xmlns:a16="http://schemas.microsoft.com/office/drawing/2014/main" id="{160516D8-C220-43F0-8DE6-F8EB341509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3413" y="4086226"/>
                <a:ext cx="384175" cy="1165225"/>
              </a:xfrm>
              <a:custGeom>
                <a:avLst/>
                <a:gdLst>
                  <a:gd name="T0" fmla="*/ 0 w 168"/>
                  <a:gd name="T1" fmla="*/ 510 h 510"/>
                  <a:gd name="T2" fmla="*/ 74 w 168"/>
                  <a:gd name="T3" fmla="*/ 287 h 510"/>
                  <a:gd name="T4" fmla="*/ 141 w 168"/>
                  <a:gd name="T5" fmla="*/ 84 h 510"/>
                  <a:gd name="T6" fmla="*/ 161 w 168"/>
                  <a:gd name="T7" fmla="*/ 23 h 510"/>
                  <a:gd name="T8" fmla="*/ 166 w 168"/>
                  <a:gd name="T9" fmla="*/ 6 h 510"/>
                  <a:gd name="T10" fmla="*/ 168 w 168"/>
                  <a:gd name="T11" fmla="*/ 2 h 510"/>
                  <a:gd name="T12" fmla="*/ 168 w 168"/>
                  <a:gd name="T13" fmla="*/ 0 h 510"/>
                  <a:gd name="T14" fmla="*/ 168 w 168"/>
                  <a:gd name="T15" fmla="*/ 2 h 510"/>
                  <a:gd name="T16" fmla="*/ 166 w 168"/>
                  <a:gd name="T17" fmla="*/ 6 h 510"/>
                  <a:gd name="T18" fmla="*/ 161 w 168"/>
                  <a:gd name="T19" fmla="*/ 23 h 510"/>
                  <a:gd name="T20" fmla="*/ 142 w 168"/>
                  <a:gd name="T21" fmla="*/ 85 h 510"/>
                  <a:gd name="T22" fmla="*/ 76 w 168"/>
                  <a:gd name="T23" fmla="*/ 287 h 510"/>
                  <a:gd name="T24" fmla="*/ 1 w 168"/>
                  <a:gd name="T25" fmla="*/ 51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8" h="510">
                    <a:moveTo>
                      <a:pt x="0" y="510"/>
                    </a:moveTo>
                    <a:cubicBezTo>
                      <a:pt x="17" y="458"/>
                      <a:pt x="48" y="366"/>
                      <a:pt x="74" y="287"/>
                    </a:cubicBezTo>
                    <a:cubicBezTo>
                      <a:pt x="100" y="208"/>
                      <a:pt x="124" y="136"/>
                      <a:pt x="141" y="84"/>
                    </a:cubicBezTo>
                    <a:cubicBezTo>
                      <a:pt x="149" y="59"/>
                      <a:pt x="156" y="38"/>
                      <a:pt x="161" y="23"/>
                    </a:cubicBezTo>
                    <a:cubicBezTo>
                      <a:pt x="163" y="16"/>
                      <a:pt x="165" y="10"/>
                      <a:pt x="166" y="6"/>
                    </a:cubicBezTo>
                    <a:cubicBezTo>
                      <a:pt x="167" y="4"/>
                      <a:pt x="167" y="3"/>
                      <a:pt x="168" y="2"/>
                    </a:cubicBezTo>
                    <a:cubicBezTo>
                      <a:pt x="168" y="1"/>
                      <a:pt x="168" y="0"/>
                      <a:pt x="168" y="0"/>
                    </a:cubicBezTo>
                    <a:cubicBezTo>
                      <a:pt x="168" y="0"/>
                      <a:pt x="168" y="1"/>
                      <a:pt x="168" y="2"/>
                    </a:cubicBezTo>
                    <a:cubicBezTo>
                      <a:pt x="167" y="3"/>
                      <a:pt x="167" y="4"/>
                      <a:pt x="166" y="6"/>
                    </a:cubicBezTo>
                    <a:cubicBezTo>
                      <a:pt x="165" y="10"/>
                      <a:pt x="164" y="16"/>
                      <a:pt x="161" y="23"/>
                    </a:cubicBezTo>
                    <a:cubicBezTo>
                      <a:pt x="157" y="38"/>
                      <a:pt x="150" y="59"/>
                      <a:pt x="142" y="85"/>
                    </a:cubicBezTo>
                    <a:cubicBezTo>
                      <a:pt x="125" y="137"/>
                      <a:pt x="102" y="208"/>
                      <a:pt x="76" y="287"/>
                    </a:cubicBezTo>
                    <a:cubicBezTo>
                      <a:pt x="49" y="366"/>
                      <a:pt x="18" y="458"/>
                      <a:pt x="1" y="51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3" name="任意多边形: 形状 1222">
                <a:extLst>
                  <a:ext uri="{FF2B5EF4-FFF2-40B4-BE49-F238E27FC236}">
                    <a16:creationId xmlns:a16="http://schemas.microsoft.com/office/drawing/2014/main" id="{B1D088A4-BB16-4490-800F-A5D845155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7401" y="4362451"/>
                <a:ext cx="79375" cy="192088"/>
              </a:xfrm>
              <a:custGeom>
                <a:avLst/>
                <a:gdLst>
                  <a:gd name="T0" fmla="*/ 0 w 35"/>
                  <a:gd name="T1" fmla="*/ 0 h 84"/>
                  <a:gd name="T2" fmla="*/ 2 w 35"/>
                  <a:gd name="T3" fmla="*/ 3 h 84"/>
                  <a:gd name="T4" fmla="*/ 6 w 35"/>
                  <a:gd name="T5" fmla="*/ 12 h 84"/>
                  <a:gd name="T6" fmla="*/ 18 w 35"/>
                  <a:gd name="T7" fmla="*/ 42 h 84"/>
                  <a:gd name="T8" fmla="*/ 30 w 35"/>
                  <a:gd name="T9" fmla="*/ 71 h 84"/>
                  <a:gd name="T10" fmla="*/ 34 w 35"/>
                  <a:gd name="T11" fmla="*/ 80 h 84"/>
                  <a:gd name="T12" fmla="*/ 35 w 35"/>
                  <a:gd name="T13" fmla="*/ 84 h 84"/>
                  <a:gd name="T14" fmla="*/ 33 w 35"/>
                  <a:gd name="T15" fmla="*/ 81 h 84"/>
                  <a:gd name="T16" fmla="*/ 29 w 35"/>
                  <a:gd name="T17" fmla="*/ 72 h 84"/>
                  <a:gd name="T18" fmla="*/ 17 w 35"/>
                  <a:gd name="T19" fmla="*/ 42 h 84"/>
                  <a:gd name="T20" fmla="*/ 5 w 35"/>
                  <a:gd name="T21" fmla="*/ 12 h 84"/>
                  <a:gd name="T22" fmla="*/ 1 w 35"/>
                  <a:gd name="T23" fmla="*/ 3 h 84"/>
                  <a:gd name="T24" fmla="*/ 0 w 35"/>
                  <a:gd name="T25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" h="84">
                    <a:moveTo>
                      <a:pt x="0" y="0"/>
                    </a:moveTo>
                    <a:cubicBezTo>
                      <a:pt x="0" y="0"/>
                      <a:pt x="1" y="1"/>
                      <a:pt x="2" y="3"/>
                    </a:cubicBezTo>
                    <a:cubicBezTo>
                      <a:pt x="3" y="5"/>
                      <a:pt x="4" y="8"/>
                      <a:pt x="6" y="12"/>
                    </a:cubicBezTo>
                    <a:cubicBezTo>
                      <a:pt x="9" y="19"/>
                      <a:pt x="14" y="30"/>
                      <a:pt x="18" y="42"/>
                    </a:cubicBezTo>
                    <a:cubicBezTo>
                      <a:pt x="23" y="53"/>
                      <a:pt x="27" y="63"/>
                      <a:pt x="30" y="71"/>
                    </a:cubicBezTo>
                    <a:cubicBezTo>
                      <a:pt x="31" y="75"/>
                      <a:pt x="33" y="78"/>
                      <a:pt x="34" y="80"/>
                    </a:cubicBezTo>
                    <a:cubicBezTo>
                      <a:pt x="34" y="82"/>
                      <a:pt x="35" y="84"/>
                      <a:pt x="35" y="84"/>
                    </a:cubicBezTo>
                    <a:cubicBezTo>
                      <a:pt x="35" y="84"/>
                      <a:pt x="34" y="83"/>
                      <a:pt x="33" y="81"/>
                    </a:cubicBezTo>
                    <a:cubicBezTo>
                      <a:pt x="32" y="78"/>
                      <a:pt x="31" y="75"/>
                      <a:pt x="29" y="72"/>
                    </a:cubicBezTo>
                    <a:cubicBezTo>
                      <a:pt x="26" y="64"/>
                      <a:pt x="21" y="54"/>
                      <a:pt x="17" y="42"/>
                    </a:cubicBezTo>
                    <a:cubicBezTo>
                      <a:pt x="12" y="31"/>
                      <a:pt x="8" y="20"/>
                      <a:pt x="5" y="12"/>
                    </a:cubicBezTo>
                    <a:cubicBezTo>
                      <a:pt x="3" y="9"/>
                      <a:pt x="2" y="6"/>
                      <a:pt x="1" y="3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4" name="任意多边形: 形状 1223">
                <a:extLst>
                  <a:ext uri="{FF2B5EF4-FFF2-40B4-BE49-F238E27FC236}">
                    <a16:creationId xmlns:a16="http://schemas.microsoft.com/office/drawing/2014/main" id="{6490CDF8-22BE-45D8-AE11-87096C1956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96301" y="4454526"/>
                <a:ext cx="219075" cy="100013"/>
              </a:xfrm>
              <a:custGeom>
                <a:avLst/>
                <a:gdLst>
                  <a:gd name="T0" fmla="*/ 0 w 96"/>
                  <a:gd name="T1" fmla="*/ 44 h 44"/>
                  <a:gd name="T2" fmla="*/ 48 w 96"/>
                  <a:gd name="T3" fmla="*/ 21 h 44"/>
                  <a:gd name="T4" fmla="*/ 95 w 96"/>
                  <a:gd name="T5" fmla="*/ 0 h 44"/>
                  <a:gd name="T6" fmla="*/ 48 w 96"/>
                  <a:gd name="T7" fmla="*/ 23 h 44"/>
                  <a:gd name="T8" fmla="*/ 0 w 96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44">
                    <a:moveTo>
                      <a:pt x="0" y="44"/>
                    </a:moveTo>
                    <a:cubicBezTo>
                      <a:pt x="0" y="43"/>
                      <a:pt x="21" y="33"/>
                      <a:pt x="48" y="21"/>
                    </a:cubicBezTo>
                    <a:cubicBezTo>
                      <a:pt x="74" y="9"/>
                      <a:pt x="95" y="0"/>
                      <a:pt x="95" y="0"/>
                    </a:cubicBezTo>
                    <a:cubicBezTo>
                      <a:pt x="96" y="1"/>
                      <a:pt x="74" y="11"/>
                      <a:pt x="48" y="23"/>
                    </a:cubicBezTo>
                    <a:cubicBezTo>
                      <a:pt x="22" y="35"/>
                      <a:pt x="1" y="44"/>
                      <a:pt x="0" y="44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5" name="任意多边形: 形状 1224">
                <a:extLst>
                  <a:ext uri="{FF2B5EF4-FFF2-40B4-BE49-F238E27FC236}">
                    <a16:creationId xmlns:a16="http://schemas.microsoft.com/office/drawing/2014/main" id="{0AF2BDB7-0123-4526-A0E8-144EDDF054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93113" y="4787901"/>
                <a:ext cx="207963" cy="38100"/>
              </a:xfrm>
              <a:custGeom>
                <a:avLst/>
                <a:gdLst>
                  <a:gd name="T0" fmla="*/ 0 w 91"/>
                  <a:gd name="T1" fmla="*/ 17 h 17"/>
                  <a:gd name="T2" fmla="*/ 3 w 91"/>
                  <a:gd name="T3" fmla="*/ 17 h 17"/>
                  <a:gd name="T4" fmla="*/ 13 w 91"/>
                  <a:gd name="T5" fmla="*/ 15 h 17"/>
                  <a:gd name="T6" fmla="*/ 45 w 91"/>
                  <a:gd name="T7" fmla="*/ 10 h 17"/>
                  <a:gd name="T8" fmla="*/ 77 w 91"/>
                  <a:gd name="T9" fmla="*/ 3 h 17"/>
                  <a:gd name="T10" fmla="*/ 87 w 91"/>
                  <a:gd name="T11" fmla="*/ 1 h 17"/>
                  <a:gd name="T12" fmla="*/ 90 w 91"/>
                  <a:gd name="T13" fmla="*/ 0 h 17"/>
                  <a:gd name="T14" fmla="*/ 87 w 91"/>
                  <a:gd name="T15" fmla="*/ 1 h 17"/>
                  <a:gd name="T16" fmla="*/ 78 w 91"/>
                  <a:gd name="T17" fmla="*/ 4 h 17"/>
                  <a:gd name="T18" fmla="*/ 46 w 91"/>
                  <a:gd name="T19" fmla="*/ 11 h 17"/>
                  <a:gd name="T20" fmla="*/ 13 w 91"/>
                  <a:gd name="T21" fmla="*/ 16 h 17"/>
                  <a:gd name="T22" fmla="*/ 3 w 91"/>
                  <a:gd name="T23" fmla="*/ 17 h 17"/>
                  <a:gd name="T24" fmla="*/ 0 w 91"/>
                  <a:gd name="T2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1" h="17">
                    <a:moveTo>
                      <a:pt x="0" y="17"/>
                    </a:moveTo>
                    <a:cubicBezTo>
                      <a:pt x="0" y="17"/>
                      <a:pt x="1" y="17"/>
                      <a:pt x="3" y="17"/>
                    </a:cubicBezTo>
                    <a:cubicBezTo>
                      <a:pt x="6" y="16"/>
                      <a:pt x="9" y="16"/>
                      <a:pt x="13" y="15"/>
                    </a:cubicBezTo>
                    <a:cubicBezTo>
                      <a:pt x="21" y="14"/>
                      <a:pt x="33" y="12"/>
                      <a:pt x="45" y="10"/>
                    </a:cubicBezTo>
                    <a:cubicBezTo>
                      <a:pt x="58" y="7"/>
                      <a:pt x="69" y="5"/>
                      <a:pt x="77" y="3"/>
                    </a:cubicBezTo>
                    <a:cubicBezTo>
                      <a:pt x="81" y="2"/>
                      <a:pt x="84" y="1"/>
                      <a:pt x="87" y="1"/>
                    </a:cubicBezTo>
                    <a:cubicBezTo>
                      <a:pt x="89" y="0"/>
                      <a:pt x="90" y="0"/>
                      <a:pt x="90" y="0"/>
                    </a:cubicBezTo>
                    <a:cubicBezTo>
                      <a:pt x="91" y="0"/>
                      <a:pt x="89" y="1"/>
                      <a:pt x="87" y="1"/>
                    </a:cubicBezTo>
                    <a:cubicBezTo>
                      <a:pt x="85" y="2"/>
                      <a:pt x="82" y="3"/>
                      <a:pt x="78" y="4"/>
                    </a:cubicBezTo>
                    <a:cubicBezTo>
                      <a:pt x="69" y="6"/>
                      <a:pt x="58" y="9"/>
                      <a:pt x="46" y="11"/>
                    </a:cubicBezTo>
                    <a:cubicBezTo>
                      <a:pt x="33" y="14"/>
                      <a:pt x="22" y="15"/>
                      <a:pt x="13" y="16"/>
                    </a:cubicBezTo>
                    <a:cubicBezTo>
                      <a:pt x="9" y="17"/>
                      <a:pt x="6" y="17"/>
                      <a:pt x="3" y="17"/>
                    </a:cubicBezTo>
                    <a:cubicBezTo>
                      <a:pt x="1" y="17"/>
                      <a:pt x="0" y="17"/>
                      <a:pt x="0" y="1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6" name="任意多边形: 形状 1225">
                <a:extLst>
                  <a:ext uri="{FF2B5EF4-FFF2-40B4-BE49-F238E27FC236}">
                    <a16:creationId xmlns:a16="http://schemas.microsoft.com/office/drawing/2014/main" id="{D9590592-0C7D-4E50-AC9E-5C9A911024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2463" y="4670426"/>
                <a:ext cx="120650" cy="153988"/>
              </a:xfrm>
              <a:custGeom>
                <a:avLst/>
                <a:gdLst>
                  <a:gd name="T0" fmla="*/ 0 w 53"/>
                  <a:gd name="T1" fmla="*/ 0 h 67"/>
                  <a:gd name="T2" fmla="*/ 3 w 53"/>
                  <a:gd name="T3" fmla="*/ 3 h 67"/>
                  <a:gd name="T4" fmla="*/ 9 w 53"/>
                  <a:gd name="T5" fmla="*/ 10 h 67"/>
                  <a:gd name="T6" fmla="*/ 27 w 53"/>
                  <a:gd name="T7" fmla="*/ 33 h 67"/>
                  <a:gd name="T8" fmla="*/ 46 w 53"/>
                  <a:gd name="T9" fmla="*/ 57 h 67"/>
                  <a:gd name="T10" fmla="*/ 52 w 53"/>
                  <a:gd name="T11" fmla="*/ 65 h 67"/>
                  <a:gd name="T12" fmla="*/ 53 w 53"/>
                  <a:gd name="T13" fmla="*/ 67 h 67"/>
                  <a:gd name="T14" fmla="*/ 51 w 53"/>
                  <a:gd name="T15" fmla="*/ 65 h 67"/>
                  <a:gd name="T16" fmla="*/ 45 w 53"/>
                  <a:gd name="T17" fmla="*/ 58 h 67"/>
                  <a:gd name="T18" fmla="*/ 26 w 53"/>
                  <a:gd name="T19" fmla="*/ 34 h 67"/>
                  <a:gd name="T20" fmla="*/ 8 w 53"/>
                  <a:gd name="T21" fmla="*/ 11 h 67"/>
                  <a:gd name="T22" fmla="*/ 2 w 53"/>
                  <a:gd name="T23" fmla="*/ 3 h 67"/>
                  <a:gd name="T24" fmla="*/ 0 w 53"/>
                  <a:gd name="T25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67">
                    <a:moveTo>
                      <a:pt x="0" y="0"/>
                    </a:moveTo>
                    <a:cubicBezTo>
                      <a:pt x="0" y="0"/>
                      <a:pt x="1" y="1"/>
                      <a:pt x="3" y="3"/>
                    </a:cubicBezTo>
                    <a:cubicBezTo>
                      <a:pt x="4" y="5"/>
                      <a:pt x="6" y="7"/>
                      <a:pt x="9" y="10"/>
                    </a:cubicBezTo>
                    <a:cubicBezTo>
                      <a:pt x="13" y="16"/>
                      <a:pt x="20" y="24"/>
                      <a:pt x="27" y="33"/>
                    </a:cubicBezTo>
                    <a:cubicBezTo>
                      <a:pt x="35" y="43"/>
                      <a:pt x="41" y="51"/>
                      <a:pt x="46" y="57"/>
                    </a:cubicBezTo>
                    <a:cubicBezTo>
                      <a:pt x="48" y="60"/>
                      <a:pt x="50" y="63"/>
                      <a:pt x="52" y="65"/>
                    </a:cubicBezTo>
                    <a:cubicBezTo>
                      <a:pt x="53" y="66"/>
                      <a:pt x="53" y="67"/>
                      <a:pt x="53" y="67"/>
                    </a:cubicBezTo>
                    <a:cubicBezTo>
                      <a:pt x="53" y="67"/>
                      <a:pt x="52" y="67"/>
                      <a:pt x="51" y="65"/>
                    </a:cubicBezTo>
                    <a:cubicBezTo>
                      <a:pt x="49" y="63"/>
                      <a:pt x="48" y="61"/>
                      <a:pt x="45" y="58"/>
                    </a:cubicBezTo>
                    <a:cubicBezTo>
                      <a:pt x="40" y="52"/>
                      <a:pt x="34" y="44"/>
                      <a:pt x="26" y="34"/>
                    </a:cubicBezTo>
                    <a:cubicBezTo>
                      <a:pt x="19" y="25"/>
                      <a:pt x="12" y="17"/>
                      <a:pt x="8" y="11"/>
                    </a:cubicBezTo>
                    <a:cubicBezTo>
                      <a:pt x="6" y="8"/>
                      <a:pt x="4" y="5"/>
                      <a:pt x="2" y="3"/>
                    </a:cubicBezTo>
                    <a:cubicBezTo>
                      <a:pt x="1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7" name="任意多边形: 形状 1226">
                <a:extLst>
                  <a:ext uri="{FF2B5EF4-FFF2-40B4-BE49-F238E27FC236}">
                    <a16:creationId xmlns:a16="http://schemas.microsoft.com/office/drawing/2014/main" id="{7606E2FF-43FB-40FE-9299-06B798ED60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50226" y="4902201"/>
                <a:ext cx="158750" cy="193675"/>
              </a:xfrm>
              <a:custGeom>
                <a:avLst/>
                <a:gdLst>
                  <a:gd name="T0" fmla="*/ 0 w 69"/>
                  <a:gd name="T1" fmla="*/ 0 h 85"/>
                  <a:gd name="T2" fmla="*/ 3 w 69"/>
                  <a:gd name="T3" fmla="*/ 3 h 85"/>
                  <a:gd name="T4" fmla="*/ 10 w 69"/>
                  <a:gd name="T5" fmla="*/ 12 h 85"/>
                  <a:gd name="T6" fmla="*/ 35 w 69"/>
                  <a:gd name="T7" fmla="*/ 42 h 85"/>
                  <a:gd name="T8" fmla="*/ 59 w 69"/>
                  <a:gd name="T9" fmla="*/ 72 h 85"/>
                  <a:gd name="T10" fmla="*/ 66 w 69"/>
                  <a:gd name="T11" fmla="*/ 81 h 85"/>
                  <a:gd name="T12" fmla="*/ 68 w 69"/>
                  <a:gd name="T13" fmla="*/ 85 h 85"/>
                  <a:gd name="T14" fmla="*/ 65 w 69"/>
                  <a:gd name="T15" fmla="*/ 82 h 85"/>
                  <a:gd name="T16" fmla="*/ 58 w 69"/>
                  <a:gd name="T17" fmla="*/ 73 h 85"/>
                  <a:gd name="T18" fmla="*/ 33 w 69"/>
                  <a:gd name="T19" fmla="*/ 43 h 85"/>
                  <a:gd name="T20" fmla="*/ 9 w 69"/>
                  <a:gd name="T21" fmla="*/ 13 h 85"/>
                  <a:gd name="T22" fmla="*/ 2 w 69"/>
                  <a:gd name="T23" fmla="*/ 3 h 85"/>
                  <a:gd name="T24" fmla="*/ 0 w 69"/>
                  <a:gd name="T2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85">
                    <a:moveTo>
                      <a:pt x="0" y="0"/>
                    </a:moveTo>
                    <a:cubicBezTo>
                      <a:pt x="0" y="0"/>
                      <a:pt x="1" y="1"/>
                      <a:pt x="3" y="3"/>
                    </a:cubicBezTo>
                    <a:cubicBezTo>
                      <a:pt x="5" y="5"/>
                      <a:pt x="7" y="8"/>
                      <a:pt x="10" y="12"/>
                    </a:cubicBezTo>
                    <a:cubicBezTo>
                      <a:pt x="16" y="20"/>
                      <a:pt x="25" y="30"/>
                      <a:pt x="35" y="42"/>
                    </a:cubicBezTo>
                    <a:cubicBezTo>
                      <a:pt x="44" y="54"/>
                      <a:pt x="53" y="64"/>
                      <a:pt x="59" y="72"/>
                    </a:cubicBezTo>
                    <a:cubicBezTo>
                      <a:pt x="62" y="76"/>
                      <a:pt x="64" y="79"/>
                      <a:pt x="66" y="81"/>
                    </a:cubicBezTo>
                    <a:cubicBezTo>
                      <a:pt x="68" y="84"/>
                      <a:pt x="69" y="85"/>
                      <a:pt x="68" y="85"/>
                    </a:cubicBezTo>
                    <a:cubicBezTo>
                      <a:pt x="68" y="85"/>
                      <a:pt x="67" y="84"/>
                      <a:pt x="65" y="82"/>
                    </a:cubicBezTo>
                    <a:cubicBezTo>
                      <a:pt x="64" y="79"/>
                      <a:pt x="61" y="76"/>
                      <a:pt x="58" y="73"/>
                    </a:cubicBezTo>
                    <a:cubicBezTo>
                      <a:pt x="52" y="65"/>
                      <a:pt x="43" y="55"/>
                      <a:pt x="33" y="43"/>
                    </a:cubicBezTo>
                    <a:cubicBezTo>
                      <a:pt x="24" y="31"/>
                      <a:pt x="15" y="20"/>
                      <a:pt x="9" y="13"/>
                    </a:cubicBezTo>
                    <a:cubicBezTo>
                      <a:pt x="6" y="9"/>
                      <a:pt x="4" y="6"/>
                      <a:pt x="2" y="3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8" name="任意多边形: 形状 1227">
                <a:extLst>
                  <a:ext uri="{FF2B5EF4-FFF2-40B4-BE49-F238E27FC236}">
                    <a16:creationId xmlns:a16="http://schemas.microsoft.com/office/drawing/2014/main" id="{B51092EB-0DDD-4ED1-8410-0C0CFFEDF3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4213" y="5032376"/>
                <a:ext cx="263525" cy="57150"/>
              </a:xfrm>
              <a:custGeom>
                <a:avLst/>
                <a:gdLst>
                  <a:gd name="T0" fmla="*/ 0 w 115"/>
                  <a:gd name="T1" fmla="*/ 25 h 25"/>
                  <a:gd name="T2" fmla="*/ 5 w 115"/>
                  <a:gd name="T3" fmla="*/ 24 h 25"/>
                  <a:gd name="T4" fmla="*/ 17 w 115"/>
                  <a:gd name="T5" fmla="*/ 22 h 25"/>
                  <a:gd name="T6" fmla="*/ 58 w 115"/>
                  <a:gd name="T7" fmla="*/ 14 h 25"/>
                  <a:gd name="T8" fmla="*/ 98 w 115"/>
                  <a:gd name="T9" fmla="*/ 5 h 25"/>
                  <a:gd name="T10" fmla="*/ 110 w 115"/>
                  <a:gd name="T11" fmla="*/ 2 h 25"/>
                  <a:gd name="T12" fmla="*/ 115 w 115"/>
                  <a:gd name="T13" fmla="*/ 1 h 25"/>
                  <a:gd name="T14" fmla="*/ 111 w 115"/>
                  <a:gd name="T15" fmla="*/ 2 h 25"/>
                  <a:gd name="T16" fmla="*/ 98 w 115"/>
                  <a:gd name="T17" fmla="*/ 6 h 25"/>
                  <a:gd name="T18" fmla="*/ 58 w 115"/>
                  <a:gd name="T19" fmla="*/ 16 h 25"/>
                  <a:gd name="T20" fmla="*/ 17 w 115"/>
                  <a:gd name="T21" fmla="*/ 23 h 25"/>
                  <a:gd name="T22" fmla="*/ 5 w 115"/>
                  <a:gd name="T23" fmla="*/ 25 h 25"/>
                  <a:gd name="T24" fmla="*/ 0 w 115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5" h="25">
                    <a:moveTo>
                      <a:pt x="0" y="25"/>
                    </a:moveTo>
                    <a:cubicBezTo>
                      <a:pt x="0" y="25"/>
                      <a:pt x="2" y="25"/>
                      <a:pt x="5" y="24"/>
                    </a:cubicBezTo>
                    <a:cubicBezTo>
                      <a:pt x="8" y="24"/>
                      <a:pt x="12" y="23"/>
                      <a:pt x="17" y="22"/>
                    </a:cubicBezTo>
                    <a:cubicBezTo>
                      <a:pt x="28" y="20"/>
                      <a:pt x="42" y="17"/>
                      <a:pt x="58" y="14"/>
                    </a:cubicBezTo>
                    <a:cubicBezTo>
                      <a:pt x="74" y="11"/>
                      <a:pt x="88" y="7"/>
                      <a:pt x="98" y="5"/>
                    </a:cubicBezTo>
                    <a:cubicBezTo>
                      <a:pt x="103" y="3"/>
                      <a:pt x="107" y="2"/>
                      <a:pt x="110" y="2"/>
                    </a:cubicBezTo>
                    <a:cubicBezTo>
                      <a:pt x="113" y="1"/>
                      <a:pt x="115" y="0"/>
                      <a:pt x="115" y="1"/>
                    </a:cubicBezTo>
                    <a:cubicBezTo>
                      <a:pt x="115" y="1"/>
                      <a:pt x="113" y="1"/>
                      <a:pt x="111" y="2"/>
                    </a:cubicBezTo>
                    <a:cubicBezTo>
                      <a:pt x="108" y="3"/>
                      <a:pt x="104" y="4"/>
                      <a:pt x="98" y="6"/>
                    </a:cubicBezTo>
                    <a:cubicBezTo>
                      <a:pt x="88" y="8"/>
                      <a:pt x="74" y="12"/>
                      <a:pt x="58" y="16"/>
                    </a:cubicBezTo>
                    <a:cubicBezTo>
                      <a:pt x="42" y="19"/>
                      <a:pt x="28" y="22"/>
                      <a:pt x="17" y="23"/>
                    </a:cubicBezTo>
                    <a:cubicBezTo>
                      <a:pt x="12" y="24"/>
                      <a:pt x="8" y="25"/>
                      <a:pt x="5" y="25"/>
                    </a:cubicBezTo>
                    <a:cubicBezTo>
                      <a:pt x="2" y="25"/>
                      <a:pt x="0" y="25"/>
                      <a:pt x="0" y="2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9" name="椭圆 1228">
                <a:extLst>
                  <a:ext uri="{FF2B5EF4-FFF2-40B4-BE49-F238E27FC236}">
                    <a16:creationId xmlns:a16="http://schemas.microsoft.com/office/drawing/2014/main" id="{34D9151D-5D0F-410A-B396-6034532C53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78188" y="5245101"/>
                <a:ext cx="5613400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0" name="任意多边形: 形状 1229">
                <a:extLst>
                  <a:ext uri="{FF2B5EF4-FFF2-40B4-BE49-F238E27FC236}">
                    <a16:creationId xmlns:a16="http://schemas.microsoft.com/office/drawing/2014/main" id="{42AEA5C0-D8F2-4119-AE5B-DECC4F7A54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0251" y="2054226"/>
                <a:ext cx="203200" cy="209550"/>
              </a:xfrm>
              <a:custGeom>
                <a:avLst/>
                <a:gdLst>
                  <a:gd name="T0" fmla="*/ 128 w 128"/>
                  <a:gd name="T1" fmla="*/ 86 h 132"/>
                  <a:gd name="T2" fmla="*/ 74 w 128"/>
                  <a:gd name="T3" fmla="*/ 132 h 132"/>
                  <a:gd name="T4" fmla="*/ 0 w 128"/>
                  <a:gd name="T5" fmla="*/ 47 h 132"/>
                  <a:gd name="T6" fmla="*/ 55 w 128"/>
                  <a:gd name="T7" fmla="*/ 0 h 132"/>
                  <a:gd name="T8" fmla="*/ 128 w 128"/>
                  <a:gd name="T9" fmla="*/ 86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" h="132">
                    <a:moveTo>
                      <a:pt x="128" y="86"/>
                    </a:moveTo>
                    <a:lnTo>
                      <a:pt x="74" y="132"/>
                    </a:lnTo>
                    <a:lnTo>
                      <a:pt x="0" y="47"/>
                    </a:lnTo>
                    <a:lnTo>
                      <a:pt x="55" y="0"/>
                    </a:lnTo>
                    <a:lnTo>
                      <a:pt x="128" y="86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1" name="任意多边形: 形状 1230">
                <a:extLst>
                  <a:ext uri="{FF2B5EF4-FFF2-40B4-BE49-F238E27FC236}">
                    <a16:creationId xmlns:a16="http://schemas.microsoft.com/office/drawing/2014/main" id="{4FEB59CB-115C-4B48-AA78-196EC2D5E7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5313" y="1909763"/>
                <a:ext cx="304800" cy="300038"/>
              </a:xfrm>
              <a:custGeom>
                <a:avLst/>
                <a:gdLst>
                  <a:gd name="T0" fmla="*/ 133 w 133"/>
                  <a:gd name="T1" fmla="*/ 63 h 131"/>
                  <a:gd name="T2" fmla="*/ 55 w 133"/>
                  <a:gd name="T3" fmla="*/ 131 h 131"/>
                  <a:gd name="T4" fmla="*/ 0 w 133"/>
                  <a:gd name="T5" fmla="*/ 67 h 131"/>
                  <a:gd name="T6" fmla="*/ 78 w 133"/>
                  <a:gd name="T7" fmla="*/ 0 h 131"/>
                  <a:gd name="T8" fmla="*/ 133 w 133"/>
                  <a:gd name="T9" fmla="*/ 63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" h="131">
                    <a:moveTo>
                      <a:pt x="133" y="63"/>
                    </a:moveTo>
                    <a:cubicBezTo>
                      <a:pt x="55" y="131"/>
                      <a:pt x="55" y="131"/>
                      <a:pt x="55" y="131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21" y="37"/>
                      <a:pt x="47" y="14"/>
                      <a:pt x="78" y="0"/>
                    </a:cubicBezTo>
                    <a:lnTo>
                      <a:pt x="133" y="63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2" name="任意多边形: 形状 1231">
                <a:extLst>
                  <a:ext uri="{FF2B5EF4-FFF2-40B4-BE49-F238E27FC236}">
                    <a16:creationId xmlns:a16="http://schemas.microsoft.com/office/drawing/2014/main" id="{D5859659-FB3A-4841-BB54-7F271FF538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9126" y="2032001"/>
                <a:ext cx="131763" cy="152400"/>
              </a:xfrm>
              <a:custGeom>
                <a:avLst/>
                <a:gdLst>
                  <a:gd name="T0" fmla="*/ 58 w 58"/>
                  <a:gd name="T1" fmla="*/ 66 h 67"/>
                  <a:gd name="T2" fmla="*/ 28 w 58"/>
                  <a:gd name="T3" fmla="*/ 34 h 67"/>
                  <a:gd name="T4" fmla="*/ 0 w 58"/>
                  <a:gd name="T5" fmla="*/ 0 h 67"/>
                  <a:gd name="T6" fmla="*/ 30 w 58"/>
                  <a:gd name="T7" fmla="*/ 33 h 67"/>
                  <a:gd name="T8" fmla="*/ 58 w 58"/>
                  <a:gd name="T9" fmla="*/ 66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67">
                    <a:moveTo>
                      <a:pt x="58" y="66"/>
                    </a:moveTo>
                    <a:cubicBezTo>
                      <a:pt x="57" y="67"/>
                      <a:pt x="44" y="52"/>
                      <a:pt x="28" y="34"/>
                    </a:cubicBezTo>
                    <a:cubicBezTo>
                      <a:pt x="12" y="16"/>
                      <a:pt x="0" y="1"/>
                      <a:pt x="0" y="0"/>
                    </a:cubicBezTo>
                    <a:cubicBezTo>
                      <a:pt x="1" y="0"/>
                      <a:pt x="14" y="14"/>
                      <a:pt x="30" y="33"/>
                    </a:cubicBezTo>
                    <a:cubicBezTo>
                      <a:pt x="46" y="51"/>
                      <a:pt x="58" y="66"/>
                      <a:pt x="58" y="6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3" name="任意多边形: 形状 1232">
                <a:extLst>
                  <a:ext uri="{FF2B5EF4-FFF2-40B4-BE49-F238E27FC236}">
                    <a16:creationId xmlns:a16="http://schemas.microsoft.com/office/drawing/2014/main" id="{74A74E97-A395-445A-8D7A-8283236B4A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2463" y="1993901"/>
                <a:ext cx="133350" cy="160338"/>
              </a:xfrm>
              <a:custGeom>
                <a:avLst/>
                <a:gdLst>
                  <a:gd name="T0" fmla="*/ 58 w 58"/>
                  <a:gd name="T1" fmla="*/ 70 h 70"/>
                  <a:gd name="T2" fmla="*/ 49 w 58"/>
                  <a:gd name="T3" fmla="*/ 60 h 70"/>
                  <a:gd name="T4" fmla="*/ 28 w 58"/>
                  <a:gd name="T5" fmla="*/ 36 h 70"/>
                  <a:gd name="T6" fmla="*/ 8 w 58"/>
                  <a:gd name="T7" fmla="*/ 11 h 70"/>
                  <a:gd name="T8" fmla="*/ 2 w 58"/>
                  <a:gd name="T9" fmla="*/ 3 h 70"/>
                  <a:gd name="T10" fmla="*/ 0 w 58"/>
                  <a:gd name="T11" fmla="*/ 1 h 70"/>
                  <a:gd name="T12" fmla="*/ 30 w 58"/>
                  <a:gd name="T13" fmla="*/ 34 h 70"/>
                  <a:gd name="T14" fmla="*/ 50 w 58"/>
                  <a:gd name="T15" fmla="*/ 59 h 70"/>
                  <a:gd name="T16" fmla="*/ 58 w 58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70">
                    <a:moveTo>
                      <a:pt x="58" y="70"/>
                    </a:moveTo>
                    <a:cubicBezTo>
                      <a:pt x="57" y="70"/>
                      <a:pt x="54" y="66"/>
                      <a:pt x="49" y="60"/>
                    </a:cubicBezTo>
                    <a:cubicBezTo>
                      <a:pt x="43" y="54"/>
                      <a:pt x="36" y="45"/>
                      <a:pt x="28" y="36"/>
                    </a:cubicBezTo>
                    <a:cubicBezTo>
                      <a:pt x="21" y="26"/>
                      <a:pt x="14" y="18"/>
                      <a:pt x="8" y="11"/>
                    </a:cubicBezTo>
                    <a:cubicBezTo>
                      <a:pt x="6" y="8"/>
                      <a:pt x="4" y="6"/>
                      <a:pt x="2" y="3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14" y="15"/>
                      <a:pt x="30" y="34"/>
                    </a:cubicBezTo>
                    <a:cubicBezTo>
                      <a:pt x="38" y="44"/>
                      <a:pt x="45" y="53"/>
                      <a:pt x="50" y="59"/>
                    </a:cubicBezTo>
                    <a:cubicBezTo>
                      <a:pt x="55" y="65"/>
                      <a:pt x="58" y="69"/>
                      <a:pt x="58" y="7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4" name="任意多边形: 形状 1233">
                <a:extLst>
                  <a:ext uri="{FF2B5EF4-FFF2-40B4-BE49-F238E27FC236}">
                    <a16:creationId xmlns:a16="http://schemas.microsoft.com/office/drawing/2014/main" id="{9E2FB728-37FC-4A70-B304-72C6DFD7B5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8501" y="1954213"/>
                <a:ext cx="133350" cy="161925"/>
              </a:xfrm>
              <a:custGeom>
                <a:avLst/>
                <a:gdLst>
                  <a:gd name="T0" fmla="*/ 58 w 58"/>
                  <a:gd name="T1" fmla="*/ 71 h 71"/>
                  <a:gd name="T2" fmla="*/ 49 w 58"/>
                  <a:gd name="T3" fmla="*/ 61 h 71"/>
                  <a:gd name="T4" fmla="*/ 28 w 58"/>
                  <a:gd name="T5" fmla="*/ 36 h 71"/>
                  <a:gd name="T6" fmla="*/ 8 w 58"/>
                  <a:gd name="T7" fmla="*/ 11 h 71"/>
                  <a:gd name="T8" fmla="*/ 2 w 58"/>
                  <a:gd name="T9" fmla="*/ 3 h 71"/>
                  <a:gd name="T10" fmla="*/ 0 w 58"/>
                  <a:gd name="T11" fmla="*/ 0 h 71"/>
                  <a:gd name="T12" fmla="*/ 9 w 58"/>
                  <a:gd name="T13" fmla="*/ 10 h 71"/>
                  <a:gd name="T14" fmla="*/ 30 w 58"/>
                  <a:gd name="T15" fmla="*/ 35 h 71"/>
                  <a:gd name="T16" fmla="*/ 50 w 58"/>
                  <a:gd name="T17" fmla="*/ 60 h 71"/>
                  <a:gd name="T18" fmla="*/ 58 w 58"/>
                  <a:gd name="T1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71">
                    <a:moveTo>
                      <a:pt x="58" y="71"/>
                    </a:moveTo>
                    <a:cubicBezTo>
                      <a:pt x="57" y="71"/>
                      <a:pt x="54" y="67"/>
                      <a:pt x="49" y="61"/>
                    </a:cubicBezTo>
                    <a:cubicBezTo>
                      <a:pt x="43" y="54"/>
                      <a:pt x="36" y="46"/>
                      <a:pt x="28" y="36"/>
                    </a:cubicBezTo>
                    <a:cubicBezTo>
                      <a:pt x="20" y="26"/>
                      <a:pt x="14" y="18"/>
                      <a:pt x="8" y="11"/>
                    </a:cubicBezTo>
                    <a:cubicBezTo>
                      <a:pt x="6" y="8"/>
                      <a:pt x="4" y="5"/>
                      <a:pt x="2" y="3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4" y="4"/>
                      <a:pt x="9" y="10"/>
                    </a:cubicBezTo>
                    <a:cubicBezTo>
                      <a:pt x="15" y="16"/>
                      <a:pt x="22" y="25"/>
                      <a:pt x="30" y="35"/>
                    </a:cubicBezTo>
                    <a:cubicBezTo>
                      <a:pt x="38" y="44"/>
                      <a:pt x="45" y="53"/>
                      <a:pt x="50" y="60"/>
                    </a:cubicBezTo>
                    <a:cubicBezTo>
                      <a:pt x="55" y="66"/>
                      <a:pt x="58" y="70"/>
                      <a:pt x="58" y="7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5" name="任意多边形: 形状 1234">
                <a:extLst>
                  <a:ext uri="{FF2B5EF4-FFF2-40B4-BE49-F238E27FC236}">
                    <a16:creationId xmlns:a16="http://schemas.microsoft.com/office/drawing/2014/main" id="{EE299DEE-32DB-4A64-8DDF-3EEE9E8339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9776" y="1924051"/>
                <a:ext cx="131763" cy="155575"/>
              </a:xfrm>
              <a:custGeom>
                <a:avLst/>
                <a:gdLst>
                  <a:gd name="T0" fmla="*/ 58 w 58"/>
                  <a:gd name="T1" fmla="*/ 68 h 68"/>
                  <a:gd name="T2" fmla="*/ 28 w 58"/>
                  <a:gd name="T3" fmla="*/ 35 h 68"/>
                  <a:gd name="T4" fmla="*/ 0 w 58"/>
                  <a:gd name="T5" fmla="*/ 1 h 68"/>
                  <a:gd name="T6" fmla="*/ 30 w 58"/>
                  <a:gd name="T7" fmla="*/ 33 h 68"/>
                  <a:gd name="T8" fmla="*/ 58 w 58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68">
                    <a:moveTo>
                      <a:pt x="58" y="68"/>
                    </a:moveTo>
                    <a:cubicBezTo>
                      <a:pt x="57" y="68"/>
                      <a:pt x="44" y="53"/>
                      <a:pt x="28" y="35"/>
                    </a:cubicBezTo>
                    <a:cubicBezTo>
                      <a:pt x="12" y="16"/>
                      <a:pt x="0" y="1"/>
                      <a:pt x="0" y="1"/>
                    </a:cubicBezTo>
                    <a:cubicBezTo>
                      <a:pt x="1" y="0"/>
                      <a:pt x="14" y="15"/>
                      <a:pt x="30" y="33"/>
                    </a:cubicBezTo>
                    <a:cubicBezTo>
                      <a:pt x="46" y="52"/>
                      <a:pt x="58" y="67"/>
                      <a:pt x="58" y="6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6" name="任意多边形: 形状 1235">
                <a:extLst>
                  <a:ext uri="{FF2B5EF4-FFF2-40B4-BE49-F238E27FC236}">
                    <a16:creationId xmlns:a16="http://schemas.microsoft.com/office/drawing/2014/main" id="{47E1F5B6-5ADD-4EEB-9CBD-55AD4577A8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97888" y="2074863"/>
                <a:ext cx="207963" cy="207963"/>
              </a:xfrm>
              <a:custGeom>
                <a:avLst/>
                <a:gdLst>
                  <a:gd name="T0" fmla="*/ 51 w 131"/>
                  <a:gd name="T1" fmla="*/ 131 h 131"/>
                  <a:gd name="T2" fmla="*/ 0 w 131"/>
                  <a:gd name="T3" fmla="*/ 78 h 131"/>
                  <a:gd name="T4" fmla="*/ 82 w 131"/>
                  <a:gd name="T5" fmla="*/ 0 h 131"/>
                  <a:gd name="T6" fmla="*/ 131 w 131"/>
                  <a:gd name="T7" fmla="*/ 53 h 131"/>
                  <a:gd name="T8" fmla="*/ 51 w 131"/>
                  <a:gd name="T9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131">
                    <a:moveTo>
                      <a:pt x="51" y="131"/>
                    </a:moveTo>
                    <a:lnTo>
                      <a:pt x="0" y="78"/>
                    </a:lnTo>
                    <a:lnTo>
                      <a:pt x="82" y="0"/>
                    </a:lnTo>
                    <a:lnTo>
                      <a:pt x="131" y="53"/>
                    </a:lnTo>
                    <a:lnTo>
                      <a:pt x="51" y="13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7" name="任意多边形: 形状 1236">
                <a:extLst>
                  <a:ext uri="{FF2B5EF4-FFF2-40B4-BE49-F238E27FC236}">
                    <a16:creationId xmlns:a16="http://schemas.microsoft.com/office/drawing/2014/main" id="{1729413D-7C0F-4A30-8331-4292DCCE5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8688" y="1935163"/>
                <a:ext cx="301625" cy="304800"/>
              </a:xfrm>
              <a:custGeom>
                <a:avLst/>
                <a:gdLst>
                  <a:gd name="T0" fmla="*/ 71 w 132"/>
                  <a:gd name="T1" fmla="*/ 133 h 133"/>
                  <a:gd name="T2" fmla="*/ 0 w 132"/>
                  <a:gd name="T3" fmla="*/ 59 h 133"/>
                  <a:gd name="T4" fmla="*/ 61 w 132"/>
                  <a:gd name="T5" fmla="*/ 0 h 133"/>
                  <a:gd name="T6" fmla="*/ 132 w 132"/>
                  <a:gd name="T7" fmla="*/ 75 h 133"/>
                  <a:gd name="T8" fmla="*/ 71 w 132"/>
                  <a:gd name="T9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" h="133">
                    <a:moveTo>
                      <a:pt x="71" y="133"/>
                    </a:moveTo>
                    <a:cubicBezTo>
                      <a:pt x="0" y="59"/>
                      <a:pt x="0" y="59"/>
                      <a:pt x="0" y="59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92" y="20"/>
                      <a:pt x="116" y="45"/>
                      <a:pt x="132" y="75"/>
                    </a:cubicBezTo>
                    <a:lnTo>
                      <a:pt x="71" y="133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8" name="任意多边形: 形状 1237">
                <a:extLst>
                  <a:ext uri="{FF2B5EF4-FFF2-40B4-BE49-F238E27FC236}">
                    <a16:creationId xmlns:a16="http://schemas.microsoft.com/office/drawing/2014/main" id="{054E45A3-0535-4B0F-9D38-CE417C5F1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74088" y="1957388"/>
                <a:ext cx="146050" cy="139700"/>
              </a:xfrm>
              <a:custGeom>
                <a:avLst/>
                <a:gdLst>
                  <a:gd name="T0" fmla="*/ 1 w 64"/>
                  <a:gd name="T1" fmla="*/ 61 h 61"/>
                  <a:gd name="T2" fmla="*/ 31 w 64"/>
                  <a:gd name="T3" fmla="*/ 30 h 61"/>
                  <a:gd name="T4" fmla="*/ 64 w 64"/>
                  <a:gd name="T5" fmla="*/ 0 h 61"/>
                  <a:gd name="T6" fmla="*/ 33 w 64"/>
                  <a:gd name="T7" fmla="*/ 31 h 61"/>
                  <a:gd name="T8" fmla="*/ 1 w 64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1">
                    <a:moveTo>
                      <a:pt x="1" y="61"/>
                    </a:moveTo>
                    <a:cubicBezTo>
                      <a:pt x="0" y="61"/>
                      <a:pt x="14" y="47"/>
                      <a:pt x="31" y="30"/>
                    </a:cubicBezTo>
                    <a:cubicBezTo>
                      <a:pt x="49" y="13"/>
                      <a:pt x="63" y="0"/>
                      <a:pt x="64" y="0"/>
                    </a:cubicBezTo>
                    <a:cubicBezTo>
                      <a:pt x="64" y="0"/>
                      <a:pt x="50" y="14"/>
                      <a:pt x="33" y="31"/>
                    </a:cubicBezTo>
                    <a:cubicBezTo>
                      <a:pt x="15" y="48"/>
                      <a:pt x="1" y="61"/>
                      <a:pt x="1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9" name="任意多边形: 形状 1238">
                <a:extLst>
                  <a:ext uri="{FF2B5EF4-FFF2-40B4-BE49-F238E27FC236}">
                    <a16:creationId xmlns:a16="http://schemas.microsoft.com/office/drawing/2014/main" id="{AD19AFE1-AF26-47DE-8C57-F66591B6F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05838" y="1990726"/>
                <a:ext cx="153988" cy="138113"/>
              </a:xfrm>
              <a:custGeom>
                <a:avLst/>
                <a:gdLst>
                  <a:gd name="T0" fmla="*/ 0 w 67"/>
                  <a:gd name="T1" fmla="*/ 61 h 61"/>
                  <a:gd name="T2" fmla="*/ 9 w 67"/>
                  <a:gd name="T3" fmla="*/ 52 h 61"/>
                  <a:gd name="T4" fmla="*/ 33 w 67"/>
                  <a:gd name="T5" fmla="*/ 30 h 61"/>
                  <a:gd name="T6" fmla="*/ 56 w 67"/>
                  <a:gd name="T7" fmla="*/ 9 h 61"/>
                  <a:gd name="T8" fmla="*/ 63 w 67"/>
                  <a:gd name="T9" fmla="*/ 3 h 61"/>
                  <a:gd name="T10" fmla="*/ 66 w 67"/>
                  <a:gd name="T11" fmla="*/ 0 h 61"/>
                  <a:gd name="T12" fmla="*/ 34 w 67"/>
                  <a:gd name="T13" fmla="*/ 32 h 61"/>
                  <a:gd name="T14" fmla="*/ 10 w 67"/>
                  <a:gd name="T15" fmla="*/ 53 h 61"/>
                  <a:gd name="T16" fmla="*/ 0 w 67"/>
                  <a:gd name="T17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61">
                    <a:moveTo>
                      <a:pt x="0" y="61"/>
                    </a:moveTo>
                    <a:cubicBezTo>
                      <a:pt x="0" y="61"/>
                      <a:pt x="3" y="57"/>
                      <a:pt x="9" y="52"/>
                    </a:cubicBezTo>
                    <a:cubicBezTo>
                      <a:pt x="15" y="46"/>
                      <a:pt x="24" y="39"/>
                      <a:pt x="33" y="30"/>
                    </a:cubicBezTo>
                    <a:cubicBezTo>
                      <a:pt x="42" y="22"/>
                      <a:pt x="50" y="15"/>
                      <a:pt x="56" y="9"/>
                    </a:cubicBezTo>
                    <a:cubicBezTo>
                      <a:pt x="59" y="7"/>
                      <a:pt x="61" y="4"/>
                      <a:pt x="63" y="3"/>
                    </a:cubicBezTo>
                    <a:cubicBezTo>
                      <a:pt x="65" y="1"/>
                      <a:pt x="66" y="0"/>
                      <a:pt x="66" y="0"/>
                    </a:cubicBezTo>
                    <a:cubicBezTo>
                      <a:pt x="67" y="1"/>
                      <a:pt x="52" y="15"/>
                      <a:pt x="34" y="32"/>
                    </a:cubicBezTo>
                    <a:cubicBezTo>
                      <a:pt x="25" y="40"/>
                      <a:pt x="17" y="48"/>
                      <a:pt x="10" y="53"/>
                    </a:cubicBezTo>
                    <a:cubicBezTo>
                      <a:pt x="4" y="58"/>
                      <a:pt x="0" y="61"/>
                      <a:pt x="0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0" name="任意多边形: 形状 1239">
                <a:extLst>
                  <a:ext uri="{FF2B5EF4-FFF2-40B4-BE49-F238E27FC236}">
                    <a16:creationId xmlns:a16="http://schemas.microsoft.com/office/drawing/2014/main" id="{1EBB93A9-FD46-4BB5-9ACB-545617CB7C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47113" y="2033588"/>
                <a:ext cx="155575" cy="139700"/>
              </a:xfrm>
              <a:custGeom>
                <a:avLst/>
                <a:gdLst>
                  <a:gd name="T0" fmla="*/ 0 w 68"/>
                  <a:gd name="T1" fmla="*/ 61 h 61"/>
                  <a:gd name="T2" fmla="*/ 10 w 68"/>
                  <a:gd name="T3" fmla="*/ 52 h 61"/>
                  <a:gd name="T4" fmla="*/ 33 w 68"/>
                  <a:gd name="T5" fmla="*/ 30 h 61"/>
                  <a:gd name="T6" fmla="*/ 57 w 68"/>
                  <a:gd name="T7" fmla="*/ 9 h 61"/>
                  <a:gd name="T8" fmla="*/ 65 w 68"/>
                  <a:gd name="T9" fmla="*/ 2 h 61"/>
                  <a:gd name="T10" fmla="*/ 67 w 68"/>
                  <a:gd name="T11" fmla="*/ 0 h 61"/>
                  <a:gd name="T12" fmla="*/ 58 w 68"/>
                  <a:gd name="T13" fmla="*/ 10 h 61"/>
                  <a:gd name="T14" fmla="*/ 35 w 68"/>
                  <a:gd name="T15" fmla="*/ 32 h 61"/>
                  <a:gd name="T16" fmla="*/ 11 w 68"/>
                  <a:gd name="T17" fmla="*/ 53 h 61"/>
                  <a:gd name="T18" fmla="*/ 0 w 68"/>
                  <a:gd name="T1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61">
                    <a:moveTo>
                      <a:pt x="0" y="61"/>
                    </a:moveTo>
                    <a:cubicBezTo>
                      <a:pt x="0" y="61"/>
                      <a:pt x="4" y="57"/>
                      <a:pt x="10" y="52"/>
                    </a:cubicBezTo>
                    <a:cubicBezTo>
                      <a:pt x="16" y="46"/>
                      <a:pt x="24" y="38"/>
                      <a:pt x="33" y="30"/>
                    </a:cubicBezTo>
                    <a:cubicBezTo>
                      <a:pt x="42" y="22"/>
                      <a:pt x="51" y="15"/>
                      <a:pt x="57" y="9"/>
                    </a:cubicBezTo>
                    <a:cubicBezTo>
                      <a:pt x="60" y="6"/>
                      <a:pt x="62" y="4"/>
                      <a:pt x="65" y="2"/>
                    </a:cubicBezTo>
                    <a:cubicBezTo>
                      <a:pt x="66" y="1"/>
                      <a:pt x="67" y="0"/>
                      <a:pt x="67" y="0"/>
                    </a:cubicBezTo>
                    <a:cubicBezTo>
                      <a:pt x="68" y="0"/>
                      <a:pt x="64" y="4"/>
                      <a:pt x="58" y="10"/>
                    </a:cubicBezTo>
                    <a:cubicBezTo>
                      <a:pt x="52" y="15"/>
                      <a:pt x="44" y="23"/>
                      <a:pt x="35" y="32"/>
                    </a:cubicBezTo>
                    <a:cubicBezTo>
                      <a:pt x="25" y="40"/>
                      <a:pt x="17" y="47"/>
                      <a:pt x="11" y="53"/>
                    </a:cubicBezTo>
                    <a:cubicBezTo>
                      <a:pt x="4" y="58"/>
                      <a:pt x="0" y="61"/>
                      <a:pt x="0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1" name="任意多边形: 形状 1240">
                <a:extLst>
                  <a:ext uri="{FF2B5EF4-FFF2-40B4-BE49-F238E27FC236}">
                    <a16:creationId xmlns:a16="http://schemas.microsoft.com/office/drawing/2014/main" id="{83A9980B-E141-4A33-BCF1-ECF82B6768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5213" y="2071688"/>
                <a:ext cx="147638" cy="142875"/>
              </a:xfrm>
              <a:custGeom>
                <a:avLst/>
                <a:gdLst>
                  <a:gd name="T0" fmla="*/ 0 w 64"/>
                  <a:gd name="T1" fmla="*/ 61 h 62"/>
                  <a:gd name="T2" fmla="*/ 31 w 64"/>
                  <a:gd name="T3" fmla="*/ 30 h 62"/>
                  <a:gd name="T4" fmla="*/ 64 w 64"/>
                  <a:gd name="T5" fmla="*/ 1 h 62"/>
                  <a:gd name="T6" fmla="*/ 33 w 64"/>
                  <a:gd name="T7" fmla="*/ 32 h 62"/>
                  <a:gd name="T8" fmla="*/ 0 w 64"/>
                  <a:gd name="T9" fmla="*/ 6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2">
                    <a:moveTo>
                      <a:pt x="0" y="61"/>
                    </a:moveTo>
                    <a:cubicBezTo>
                      <a:pt x="0" y="61"/>
                      <a:pt x="14" y="47"/>
                      <a:pt x="31" y="30"/>
                    </a:cubicBezTo>
                    <a:cubicBezTo>
                      <a:pt x="49" y="14"/>
                      <a:pt x="64" y="0"/>
                      <a:pt x="64" y="1"/>
                    </a:cubicBezTo>
                    <a:cubicBezTo>
                      <a:pt x="64" y="1"/>
                      <a:pt x="50" y="15"/>
                      <a:pt x="33" y="32"/>
                    </a:cubicBezTo>
                    <a:cubicBezTo>
                      <a:pt x="15" y="49"/>
                      <a:pt x="1" y="62"/>
                      <a:pt x="0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2" name="矩形 1241">
                <a:extLst>
                  <a:ext uri="{FF2B5EF4-FFF2-40B4-BE49-F238E27FC236}">
                    <a16:creationId xmlns:a16="http://schemas.microsoft.com/office/drawing/2014/main" id="{78A043BF-67DA-4E5E-B89B-CE0AD6E77B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42251" y="1763713"/>
                <a:ext cx="134938" cy="211138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3" name="任意多边形: 形状 1242">
                <a:extLst>
                  <a:ext uri="{FF2B5EF4-FFF2-40B4-BE49-F238E27FC236}">
                    <a16:creationId xmlns:a16="http://schemas.microsoft.com/office/drawing/2014/main" id="{FA9B164A-4E17-4C60-A6F4-B8042880EE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70813" y="1571626"/>
                <a:ext cx="279400" cy="254000"/>
              </a:xfrm>
              <a:custGeom>
                <a:avLst/>
                <a:gdLst>
                  <a:gd name="T0" fmla="*/ 122 w 122"/>
                  <a:gd name="T1" fmla="*/ 111 h 111"/>
                  <a:gd name="T2" fmla="*/ 0 w 122"/>
                  <a:gd name="T3" fmla="*/ 111 h 111"/>
                  <a:gd name="T4" fmla="*/ 0 w 122"/>
                  <a:gd name="T5" fmla="*/ 12 h 111"/>
                  <a:gd name="T6" fmla="*/ 122 w 122"/>
                  <a:gd name="T7" fmla="*/ 12 h 111"/>
                  <a:gd name="T8" fmla="*/ 122 w 122"/>
                  <a:gd name="T9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111">
                    <a:moveTo>
                      <a:pt x="122" y="111"/>
                    </a:moveTo>
                    <a:cubicBezTo>
                      <a:pt x="0" y="111"/>
                      <a:pt x="0" y="111"/>
                      <a:pt x="0" y="11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2" y="1"/>
                      <a:pt x="83" y="0"/>
                      <a:pt x="122" y="12"/>
                    </a:cubicBezTo>
                    <a:lnTo>
                      <a:pt x="122" y="111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4" name="任意多边形: 形状 1243">
                <a:extLst>
                  <a:ext uri="{FF2B5EF4-FFF2-40B4-BE49-F238E27FC236}">
                    <a16:creationId xmlns:a16="http://schemas.microsoft.com/office/drawing/2014/main" id="{A77293FF-0DF1-428D-A378-5B35DAFAC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9226" y="1598613"/>
                <a:ext cx="282575" cy="33338"/>
              </a:xfrm>
              <a:custGeom>
                <a:avLst/>
                <a:gdLst>
                  <a:gd name="T0" fmla="*/ 124 w 124"/>
                  <a:gd name="T1" fmla="*/ 0 h 14"/>
                  <a:gd name="T2" fmla="*/ 120 w 124"/>
                  <a:gd name="T3" fmla="*/ 2 h 14"/>
                  <a:gd name="T4" fmla="*/ 107 w 124"/>
                  <a:gd name="T5" fmla="*/ 7 h 14"/>
                  <a:gd name="T6" fmla="*/ 87 w 124"/>
                  <a:gd name="T7" fmla="*/ 12 h 14"/>
                  <a:gd name="T8" fmla="*/ 62 w 124"/>
                  <a:gd name="T9" fmla="*/ 14 h 14"/>
                  <a:gd name="T10" fmla="*/ 37 w 124"/>
                  <a:gd name="T11" fmla="*/ 12 h 14"/>
                  <a:gd name="T12" fmla="*/ 17 w 124"/>
                  <a:gd name="T13" fmla="*/ 7 h 14"/>
                  <a:gd name="T14" fmla="*/ 4 w 124"/>
                  <a:gd name="T15" fmla="*/ 3 h 14"/>
                  <a:gd name="T16" fmla="*/ 0 w 124"/>
                  <a:gd name="T17" fmla="*/ 1 h 14"/>
                  <a:gd name="T18" fmla="*/ 18 w 124"/>
                  <a:gd name="T19" fmla="*/ 6 h 14"/>
                  <a:gd name="T20" fmla="*/ 38 w 124"/>
                  <a:gd name="T21" fmla="*/ 10 h 14"/>
                  <a:gd name="T22" fmla="*/ 62 w 124"/>
                  <a:gd name="T23" fmla="*/ 12 h 14"/>
                  <a:gd name="T24" fmla="*/ 87 w 124"/>
                  <a:gd name="T25" fmla="*/ 10 h 14"/>
                  <a:gd name="T26" fmla="*/ 106 w 124"/>
                  <a:gd name="T27" fmla="*/ 6 h 14"/>
                  <a:gd name="T28" fmla="*/ 124 w 124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4" h="14">
                    <a:moveTo>
                      <a:pt x="124" y="0"/>
                    </a:moveTo>
                    <a:cubicBezTo>
                      <a:pt x="124" y="0"/>
                      <a:pt x="123" y="1"/>
                      <a:pt x="120" y="2"/>
                    </a:cubicBezTo>
                    <a:cubicBezTo>
                      <a:pt x="117" y="4"/>
                      <a:pt x="112" y="5"/>
                      <a:pt x="107" y="7"/>
                    </a:cubicBezTo>
                    <a:cubicBezTo>
                      <a:pt x="101" y="9"/>
                      <a:pt x="94" y="10"/>
                      <a:pt x="87" y="12"/>
                    </a:cubicBezTo>
                    <a:cubicBezTo>
                      <a:pt x="79" y="13"/>
                      <a:pt x="71" y="14"/>
                      <a:pt x="62" y="14"/>
                    </a:cubicBezTo>
                    <a:cubicBezTo>
                      <a:pt x="53" y="14"/>
                      <a:pt x="45" y="13"/>
                      <a:pt x="37" y="12"/>
                    </a:cubicBezTo>
                    <a:cubicBezTo>
                      <a:pt x="30" y="11"/>
                      <a:pt x="23" y="9"/>
                      <a:pt x="17" y="7"/>
                    </a:cubicBezTo>
                    <a:cubicBezTo>
                      <a:pt x="12" y="6"/>
                      <a:pt x="7" y="4"/>
                      <a:pt x="4" y="3"/>
                    </a:cubicBezTo>
                    <a:cubicBezTo>
                      <a:pt x="2" y="2"/>
                      <a:pt x="0" y="1"/>
                      <a:pt x="0" y="1"/>
                    </a:cubicBezTo>
                    <a:cubicBezTo>
                      <a:pt x="0" y="0"/>
                      <a:pt x="7" y="3"/>
                      <a:pt x="18" y="6"/>
                    </a:cubicBezTo>
                    <a:cubicBezTo>
                      <a:pt x="23" y="8"/>
                      <a:pt x="30" y="9"/>
                      <a:pt x="38" y="10"/>
                    </a:cubicBezTo>
                    <a:cubicBezTo>
                      <a:pt x="45" y="11"/>
                      <a:pt x="53" y="12"/>
                      <a:pt x="62" y="12"/>
                    </a:cubicBezTo>
                    <a:cubicBezTo>
                      <a:pt x="71" y="12"/>
                      <a:pt x="79" y="11"/>
                      <a:pt x="87" y="10"/>
                    </a:cubicBezTo>
                    <a:cubicBezTo>
                      <a:pt x="94" y="9"/>
                      <a:pt x="101" y="7"/>
                      <a:pt x="106" y="6"/>
                    </a:cubicBezTo>
                    <a:cubicBezTo>
                      <a:pt x="117" y="2"/>
                      <a:pt x="124" y="0"/>
                      <a:pt x="12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5" name="椭圆 1244">
                <a:extLst>
                  <a:ext uri="{FF2B5EF4-FFF2-40B4-BE49-F238E27FC236}">
                    <a16:creationId xmlns:a16="http://schemas.microsoft.com/office/drawing/2014/main" id="{4F4FFCE4-45AF-4745-B7E4-B457EDA13F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9713" y="1631951"/>
                <a:ext cx="4763" cy="19367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6" name="椭圆 1245">
                <a:extLst>
                  <a:ext uri="{FF2B5EF4-FFF2-40B4-BE49-F238E27FC236}">
                    <a16:creationId xmlns:a16="http://schemas.microsoft.com/office/drawing/2014/main" id="{E5E3C900-FE6A-4AC9-B03E-1FF8958119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13688" y="1631951"/>
                <a:ext cx="3175" cy="1952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7" name="椭圆 1246">
                <a:extLst>
                  <a:ext uri="{FF2B5EF4-FFF2-40B4-BE49-F238E27FC236}">
                    <a16:creationId xmlns:a16="http://schemas.microsoft.com/office/drawing/2014/main" id="{CABB6A7C-A7FE-4453-8E17-151EE0986A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66076" y="1628776"/>
                <a:ext cx="4763" cy="196850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8" name="椭圆 1247">
                <a:extLst>
                  <a:ext uri="{FF2B5EF4-FFF2-40B4-BE49-F238E27FC236}">
                    <a16:creationId xmlns:a16="http://schemas.microsoft.com/office/drawing/2014/main" id="{BFF3539A-A205-4096-9E95-5D40A68B9A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10526" y="1612901"/>
                <a:ext cx="4763" cy="21272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9" name="椭圆 1248">
                <a:extLst>
                  <a:ext uri="{FF2B5EF4-FFF2-40B4-BE49-F238E27FC236}">
                    <a16:creationId xmlns:a16="http://schemas.microsoft.com/office/drawing/2014/main" id="{72654C06-55FA-4720-8226-EB22934871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10501" y="1612901"/>
                <a:ext cx="4763" cy="21272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0" name="椭圆 1249">
                <a:extLst>
                  <a:ext uri="{FF2B5EF4-FFF2-40B4-BE49-F238E27FC236}">
                    <a16:creationId xmlns:a16="http://schemas.microsoft.com/office/drawing/2014/main" id="{E745CAD7-99C0-471A-A9CB-54A4E09F9E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07213" y="1909763"/>
                <a:ext cx="1970088" cy="1970088"/>
              </a:xfrm>
              <a:prstGeom prst="ellipse">
                <a:avLst/>
              </a:pr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1" name="椭圆 1250">
                <a:extLst>
                  <a:ext uri="{FF2B5EF4-FFF2-40B4-BE49-F238E27FC236}">
                    <a16:creationId xmlns:a16="http://schemas.microsoft.com/office/drawing/2014/main" id="{F7E07434-FCEB-459E-ABEF-B2722D72D0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64376" y="2058988"/>
                <a:ext cx="1655763" cy="1657350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2" name="任意多边形: 形状 1251">
                <a:extLst>
                  <a:ext uri="{FF2B5EF4-FFF2-40B4-BE49-F238E27FC236}">
                    <a16:creationId xmlns:a16="http://schemas.microsoft.com/office/drawing/2014/main" id="{C2B8A808-A257-4BA6-9A3C-D157F74DD6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2788" y="2054226"/>
                <a:ext cx="1657350" cy="1665288"/>
              </a:xfrm>
              <a:custGeom>
                <a:avLst/>
                <a:gdLst>
                  <a:gd name="T0" fmla="*/ 725 w 725"/>
                  <a:gd name="T1" fmla="*/ 359 h 729"/>
                  <a:gd name="T2" fmla="*/ 714 w 725"/>
                  <a:gd name="T3" fmla="*/ 276 h 729"/>
                  <a:gd name="T4" fmla="*/ 674 w 725"/>
                  <a:gd name="T5" fmla="*/ 180 h 729"/>
                  <a:gd name="T6" fmla="*/ 513 w 725"/>
                  <a:gd name="T7" fmla="*/ 36 h 729"/>
                  <a:gd name="T8" fmla="*/ 337 w 725"/>
                  <a:gd name="T9" fmla="*/ 4 h 729"/>
                  <a:gd name="T10" fmla="*/ 240 w 725"/>
                  <a:gd name="T11" fmla="*/ 25 h 729"/>
                  <a:gd name="T12" fmla="*/ 42 w 725"/>
                  <a:gd name="T13" fmla="*/ 198 h 729"/>
                  <a:gd name="T14" fmla="*/ 20 w 725"/>
                  <a:gd name="T15" fmla="*/ 250 h 729"/>
                  <a:gd name="T16" fmla="*/ 2 w 725"/>
                  <a:gd name="T17" fmla="*/ 364 h 729"/>
                  <a:gd name="T18" fmla="*/ 20 w 725"/>
                  <a:gd name="T19" fmla="*/ 478 h 729"/>
                  <a:gd name="T20" fmla="*/ 42 w 725"/>
                  <a:gd name="T21" fmla="*/ 531 h 729"/>
                  <a:gd name="T22" fmla="*/ 240 w 725"/>
                  <a:gd name="T23" fmla="*/ 704 h 729"/>
                  <a:gd name="T24" fmla="*/ 337 w 725"/>
                  <a:gd name="T25" fmla="*/ 725 h 729"/>
                  <a:gd name="T26" fmla="*/ 513 w 725"/>
                  <a:gd name="T27" fmla="*/ 693 h 729"/>
                  <a:gd name="T28" fmla="*/ 674 w 725"/>
                  <a:gd name="T29" fmla="*/ 549 h 729"/>
                  <a:gd name="T30" fmla="*/ 714 w 725"/>
                  <a:gd name="T31" fmla="*/ 453 h 729"/>
                  <a:gd name="T32" fmla="*/ 725 w 725"/>
                  <a:gd name="T33" fmla="*/ 370 h 729"/>
                  <a:gd name="T34" fmla="*/ 725 w 725"/>
                  <a:gd name="T35" fmla="*/ 370 h 729"/>
                  <a:gd name="T36" fmla="*/ 715 w 725"/>
                  <a:gd name="T37" fmla="*/ 453 h 729"/>
                  <a:gd name="T38" fmla="*/ 675 w 725"/>
                  <a:gd name="T39" fmla="*/ 550 h 729"/>
                  <a:gd name="T40" fmla="*/ 514 w 725"/>
                  <a:gd name="T41" fmla="*/ 695 h 729"/>
                  <a:gd name="T42" fmla="*/ 336 w 725"/>
                  <a:gd name="T43" fmla="*/ 727 h 729"/>
                  <a:gd name="T44" fmla="*/ 239 w 725"/>
                  <a:gd name="T45" fmla="*/ 706 h 729"/>
                  <a:gd name="T46" fmla="*/ 41 w 725"/>
                  <a:gd name="T47" fmla="*/ 532 h 729"/>
                  <a:gd name="T48" fmla="*/ 18 w 725"/>
                  <a:gd name="T49" fmla="*/ 479 h 729"/>
                  <a:gd name="T50" fmla="*/ 0 w 725"/>
                  <a:gd name="T51" fmla="*/ 364 h 729"/>
                  <a:gd name="T52" fmla="*/ 18 w 725"/>
                  <a:gd name="T53" fmla="*/ 250 h 729"/>
                  <a:gd name="T54" fmla="*/ 41 w 725"/>
                  <a:gd name="T55" fmla="*/ 197 h 729"/>
                  <a:gd name="T56" fmla="*/ 239 w 725"/>
                  <a:gd name="T57" fmla="*/ 23 h 729"/>
                  <a:gd name="T58" fmla="*/ 336 w 725"/>
                  <a:gd name="T59" fmla="*/ 2 h 729"/>
                  <a:gd name="T60" fmla="*/ 514 w 725"/>
                  <a:gd name="T61" fmla="*/ 34 h 729"/>
                  <a:gd name="T62" fmla="*/ 675 w 725"/>
                  <a:gd name="T63" fmla="*/ 179 h 729"/>
                  <a:gd name="T64" fmla="*/ 715 w 725"/>
                  <a:gd name="T65" fmla="*/ 276 h 729"/>
                  <a:gd name="T66" fmla="*/ 725 w 725"/>
                  <a:gd name="T67" fmla="*/ 359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25" h="729">
                    <a:moveTo>
                      <a:pt x="725" y="364"/>
                    </a:moveTo>
                    <a:cubicBezTo>
                      <a:pt x="725" y="364"/>
                      <a:pt x="725" y="362"/>
                      <a:pt x="725" y="359"/>
                    </a:cubicBezTo>
                    <a:cubicBezTo>
                      <a:pt x="725" y="355"/>
                      <a:pt x="725" y="349"/>
                      <a:pt x="724" y="341"/>
                    </a:cubicBezTo>
                    <a:cubicBezTo>
                      <a:pt x="723" y="326"/>
                      <a:pt x="721" y="304"/>
                      <a:pt x="714" y="276"/>
                    </a:cubicBezTo>
                    <a:cubicBezTo>
                      <a:pt x="710" y="262"/>
                      <a:pt x="706" y="247"/>
                      <a:pt x="699" y="231"/>
                    </a:cubicBezTo>
                    <a:cubicBezTo>
                      <a:pt x="693" y="214"/>
                      <a:pt x="685" y="197"/>
                      <a:pt x="674" y="180"/>
                    </a:cubicBezTo>
                    <a:cubicBezTo>
                      <a:pt x="653" y="145"/>
                      <a:pt x="623" y="108"/>
                      <a:pt x="582" y="77"/>
                    </a:cubicBezTo>
                    <a:cubicBezTo>
                      <a:pt x="562" y="61"/>
                      <a:pt x="538" y="47"/>
                      <a:pt x="513" y="36"/>
                    </a:cubicBezTo>
                    <a:cubicBezTo>
                      <a:pt x="487" y="24"/>
                      <a:pt x="460" y="15"/>
                      <a:pt x="430" y="9"/>
                    </a:cubicBezTo>
                    <a:cubicBezTo>
                      <a:pt x="400" y="4"/>
                      <a:pt x="369" y="2"/>
                      <a:pt x="337" y="4"/>
                    </a:cubicBezTo>
                    <a:cubicBezTo>
                      <a:pt x="321" y="5"/>
                      <a:pt x="304" y="8"/>
                      <a:pt x="288" y="11"/>
                    </a:cubicBezTo>
                    <a:cubicBezTo>
                      <a:pt x="272" y="14"/>
                      <a:pt x="256" y="19"/>
                      <a:pt x="240" y="25"/>
                    </a:cubicBezTo>
                    <a:cubicBezTo>
                      <a:pt x="176" y="48"/>
                      <a:pt x="116" y="91"/>
                      <a:pt x="72" y="151"/>
                    </a:cubicBezTo>
                    <a:cubicBezTo>
                      <a:pt x="61" y="166"/>
                      <a:pt x="51" y="182"/>
                      <a:pt x="42" y="198"/>
                    </a:cubicBezTo>
                    <a:cubicBezTo>
                      <a:pt x="38" y="206"/>
                      <a:pt x="34" y="215"/>
                      <a:pt x="30" y="224"/>
                    </a:cubicBezTo>
                    <a:cubicBezTo>
                      <a:pt x="27" y="233"/>
                      <a:pt x="23" y="241"/>
                      <a:pt x="20" y="250"/>
                    </a:cubicBezTo>
                    <a:cubicBezTo>
                      <a:pt x="14" y="269"/>
                      <a:pt x="10" y="287"/>
                      <a:pt x="7" y="306"/>
                    </a:cubicBezTo>
                    <a:cubicBezTo>
                      <a:pt x="4" y="325"/>
                      <a:pt x="2" y="345"/>
                      <a:pt x="2" y="364"/>
                    </a:cubicBezTo>
                    <a:cubicBezTo>
                      <a:pt x="2" y="384"/>
                      <a:pt x="4" y="403"/>
                      <a:pt x="7" y="423"/>
                    </a:cubicBezTo>
                    <a:cubicBezTo>
                      <a:pt x="10" y="442"/>
                      <a:pt x="14" y="460"/>
                      <a:pt x="20" y="478"/>
                    </a:cubicBezTo>
                    <a:cubicBezTo>
                      <a:pt x="23" y="488"/>
                      <a:pt x="27" y="496"/>
                      <a:pt x="30" y="505"/>
                    </a:cubicBezTo>
                    <a:cubicBezTo>
                      <a:pt x="34" y="514"/>
                      <a:pt x="38" y="522"/>
                      <a:pt x="42" y="531"/>
                    </a:cubicBezTo>
                    <a:cubicBezTo>
                      <a:pt x="51" y="547"/>
                      <a:pt x="61" y="563"/>
                      <a:pt x="72" y="578"/>
                    </a:cubicBezTo>
                    <a:cubicBezTo>
                      <a:pt x="116" y="638"/>
                      <a:pt x="176" y="681"/>
                      <a:pt x="240" y="704"/>
                    </a:cubicBezTo>
                    <a:cubicBezTo>
                      <a:pt x="256" y="710"/>
                      <a:pt x="272" y="715"/>
                      <a:pt x="288" y="718"/>
                    </a:cubicBezTo>
                    <a:cubicBezTo>
                      <a:pt x="304" y="721"/>
                      <a:pt x="321" y="724"/>
                      <a:pt x="337" y="725"/>
                    </a:cubicBezTo>
                    <a:cubicBezTo>
                      <a:pt x="369" y="727"/>
                      <a:pt x="400" y="725"/>
                      <a:pt x="430" y="720"/>
                    </a:cubicBezTo>
                    <a:cubicBezTo>
                      <a:pt x="460" y="714"/>
                      <a:pt x="487" y="705"/>
                      <a:pt x="513" y="693"/>
                    </a:cubicBezTo>
                    <a:cubicBezTo>
                      <a:pt x="538" y="682"/>
                      <a:pt x="562" y="668"/>
                      <a:pt x="582" y="652"/>
                    </a:cubicBezTo>
                    <a:cubicBezTo>
                      <a:pt x="623" y="621"/>
                      <a:pt x="653" y="584"/>
                      <a:pt x="674" y="549"/>
                    </a:cubicBezTo>
                    <a:cubicBezTo>
                      <a:pt x="685" y="532"/>
                      <a:pt x="693" y="515"/>
                      <a:pt x="699" y="498"/>
                    </a:cubicBezTo>
                    <a:cubicBezTo>
                      <a:pt x="706" y="482"/>
                      <a:pt x="710" y="467"/>
                      <a:pt x="714" y="453"/>
                    </a:cubicBezTo>
                    <a:cubicBezTo>
                      <a:pt x="721" y="425"/>
                      <a:pt x="723" y="403"/>
                      <a:pt x="724" y="388"/>
                    </a:cubicBezTo>
                    <a:cubicBezTo>
                      <a:pt x="725" y="380"/>
                      <a:pt x="725" y="374"/>
                      <a:pt x="725" y="370"/>
                    </a:cubicBezTo>
                    <a:cubicBezTo>
                      <a:pt x="725" y="366"/>
                      <a:pt x="725" y="364"/>
                      <a:pt x="725" y="364"/>
                    </a:cubicBezTo>
                    <a:cubicBezTo>
                      <a:pt x="725" y="364"/>
                      <a:pt x="725" y="366"/>
                      <a:pt x="725" y="370"/>
                    </a:cubicBezTo>
                    <a:cubicBezTo>
                      <a:pt x="725" y="374"/>
                      <a:pt x="725" y="380"/>
                      <a:pt x="725" y="388"/>
                    </a:cubicBezTo>
                    <a:cubicBezTo>
                      <a:pt x="724" y="403"/>
                      <a:pt x="722" y="425"/>
                      <a:pt x="715" y="453"/>
                    </a:cubicBezTo>
                    <a:cubicBezTo>
                      <a:pt x="711" y="467"/>
                      <a:pt x="707" y="482"/>
                      <a:pt x="700" y="499"/>
                    </a:cubicBezTo>
                    <a:cubicBezTo>
                      <a:pt x="694" y="515"/>
                      <a:pt x="686" y="532"/>
                      <a:pt x="675" y="550"/>
                    </a:cubicBezTo>
                    <a:cubicBezTo>
                      <a:pt x="654" y="585"/>
                      <a:pt x="624" y="622"/>
                      <a:pt x="583" y="653"/>
                    </a:cubicBezTo>
                    <a:cubicBezTo>
                      <a:pt x="562" y="669"/>
                      <a:pt x="539" y="683"/>
                      <a:pt x="514" y="695"/>
                    </a:cubicBezTo>
                    <a:cubicBezTo>
                      <a:pt x="488" y="707"/>
                      <a:pt x="460" y="716"/>
                      <a:pt x="430" y="721"/>
                    </a:cubicBezTo>
                    <a:cubicBezTo>
                      <a:pt x="400" y="727"/>
                      <a:pt x="369" y="729"/>
                      <a:pt x="336" y="727"/>
                    </a:cubicBezTo>
                    <a:cubicBezTo>
                      <a:pt x="320" y="726"/>
                      <a:pt x="304" y="723"/>
                      <a:pt x="288" y="720"/>
                    </a:cubicBezTo>
                    <a:cubicBezTo>
                      <a:pt x="272" y="716"/>
                      <a:pt x="255" y="712"/>
                      <a:pt x="239" y="706"/>
                    </a:cubicBezTo>
                    <a:cubicBezTo>
                      <a:pt x="175" y="683"/>
                      <a:pt x="114" y="640"/>
                      <a:pt x="70" y="579"/>
                    </a:cubicBezTo>
                    <a:cubicBezTo>
                      <a:pt x="59" y="564"/>
                      <a:pt x="49" y="548"/>
                      <a:pt x="41" y="532"/>
                    </a:cubicBezTo>
                    <a:cubicBezTo>
                      <a:pt x="36" y="523"/>
                      <a:pt x="32" y="515"/>
                      <a:pt x="28" y="506"/>
                    </a:cubicBezTo>
                    <a:cubicBezTo>
                      <a:pt x="25" y="497"/>
                      <a:pt x="21" y="488"/>
                      <a:pt x="18" y="479"/>
                    </a:cubicBezTo>
                    <a:cubicBezTo>
                      <a:pt x="12" y="461"/>
                      <a:pt x="7" y="442"/>
                      <a:pt x="5" y="423"/>
                    </a:cubicBezTo>
                    <a:cubicBezTo>
                      <a:pt x="1" y="404"/>
                      <a:pt x="0" y="384"/>
                      <a:pt x="0" y="364"/>
                    </a:cubicBezTo>
                    <a:cubicBezTo>
                      <a:pt x="0" y="345"/>
                      <a:pt x="1" y="325"/>
                      <a:pt x="5" y="306"/>
                    </a:cubicBezTo>
                    <a:cubicBezTo>
                      <a:pt x="7" y="287"/>
                      <a:pt x="12" y="268"/>
                      <a:pt x="18" y="250"/>
                    </a:cubicBezTo>
                    <a:cubicBezTo>
                      <a:pt x="21" y="241"/>
                      <a:pt x="25" y="232"/>
                      <a:pt x="28" y="223"/>
                    </a:cubicBezTo>
                    <a:cubicBezTo>
                      <a:pt x="32" y="214"/>
                      <a:pt x="36" y="206"/>
                      <a:pt x="41" y="197"/>
                    </a:cubicBezTo>
                    <a:cubicBezTo>
                      <a:pt x="49" y="181"/>
                      <a:pt x="59" y="164"/>
                      <a:pt x="70" y="150"/>
                    </a:cubicBezTo>
                    <a:cubicBezTo>
                      <a:pt x="114" y="89"/>
                      <a:pt x="175" y="46"/>
                      <a:pt x="239" y="23"/>
                    </a:cubicBezTo>
                    <a:cubicBezTo>
                      <a:pt x="255" y="17"/>
                      <a:pt x="272" y="13"/>
                      <a:pt x="288" y="9"/>
                    </a:cubicBezTo>
                    <a:cubicBezTo>
                      <a:pt x="304" y="6"/>
                      <a:pt x="320" y="3"/>
                      <a:pt x="336" y="2"/>
                    </a:cubicBezTo>
                    <a:cubicBezTo>
                      <a:pt x="369" y="0"/>
                      <a:pt x="400" y="2"/>
                      <a:pt x="430" y="8"/>
                    </a:cubicBezTo>
                    <a:cubicBezTo>
                      <a:pt x="460" y="13"/>
                      <a:pt x="488" y="22"/>
                      <a:pt x="514" y="34"/>
                    </a:cubicBezTo>
                    <a:cubicBezTo>
                      <a:pt x="539" y="46"/>
                      <a:pt x="562" y="60"/>
                      <a:pt x="583" y="76"/>
                    </a:cubicBezTo>
                    <a:cubicBezTo>
                      <a:pt x="624" y="107"/>
                      <a:pt x="654" y="144"/>
                      <a:pt x="675" y="179"/>
                    </a:cubicBezTo>
                    <a:cubicBezTo>
                      <a:pt x="685" y="197"/>
                      <a:pt x="694" y="214"/>
                      <a:pt x="700" y="230"/>
                    </a:cubicBezTo>
                    <a:cubicBezTo>
                      <a:pt x="707" y="246"/>
                      <a:pt x="711" y="262"/>
                      <a:pt x="715" y="276"/>
                    </a:cubicBezTo>
                    <a:cubicBezTo>
                      <a:pt x="722" y="304"/>
                      <a:pt x="724" y="326"/>
                      <a:pt x="725" y="341"/>
                    </a:cubicBezTo>
                    <a:cubicBezTo>
                      <a:pt x="725" y="349"/>
                      <a:pt x="725" y="355"/>
                      <a:pt x="725" y="359"/>
                    </a:cubicBezTo>
                    <a:cubicBezTo>
                      <a:pt x="725" y="362"/>
                      <a:pt x="725" y="364"/>
                      <a:pt x="725" y="36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3" name="任意多边形: 形状 1252">
                <a:extLst>
                  <a:ext uri="{FF2B5EF4-FFF2-40B4-BE49-F238E27FC236}">
                    <a16:creationId xmlns:a16="http://schemas.microsoft.com/office/drawing/2014/main" id="{E09A0ECF-37BF-4555-99E3-614E85707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0276" y="2847976"/>
                <a:ext cx="96838" cy="11113"/>
              </a:xfrm>
              <a:custGeom>
                <a:avLst/>
                <a:gdLst>
                  <a:gd name="T0" fmla="*/ 21 w 42"/>
                  <a:gd name="T1" fmla="*/ 4 h 5"/>
                  <a:gd name="T2" fmla="*/ 0 w 42"/>
                  <a:gd name="T3" fmla="*/ 3 h 5"/>
                  <a:gd name="T4" fmla="*/ 21 w 42"/>
                  <a:gd name="T5" fmla="*/ 0 h 5"/>
                  <a:gd name="T6" fmla="*/ 42 w 42"/>
                  <a:gd name="T7" fmla="*/ 1 h 5"/>
                  <a:gd name="T8" fmla="*/ 21 w 42"/>
                  <a:gd name="T9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5">
                    <a:moveTo>
                      <a:pt x="21" y="4"/>
                    </a:moveTo>
                    <a:cubicBezTo>
                      <a:pt x="10" y="5"/>
                      <a:pt x="0" y="4"/>
                      <a:pt x="0" y="3"/>
                    </a:cubicBezTo>
                    <a:cubicBezTo>
                      <a:pt x="0" y="2"/>
                      <a:pt x="9" y="1"/>
                      <a:pt x="21" y="0"/>
                    </a:cubicBezTo>
                    <a:cubicBezTo>
                      <a:pt x="32" y="0"/>
                      <a:pt x="42" y="0"/>
                      <a:pt x="42" y="1"/>
                    </a:cubicBezTo>
                    <a:cubicBezTo>
                      <a:pt x="42" y="2"/>
                      <a:pt x="33" y="4"/>
                      <a:pt x="21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4" name="任意多边形: 形状 1253">
                <a:extLst>
                  <a:ext uri="{FF2B5EF4-FFF2-40B4-BE49-F238E27FC236}">
                    <a16:creationId xmlns:a16="http://schemas.microsoft.com/office/drawing/2014/main" id="{2B0FD856-C522-44EA-ADE4-94C0A5495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34401" y="3030538"/>
                <a:ext cx="93663" cy="26988"/>
              </a:xfrm>
              <a:custGeom>
                <a:avLst/>
                <a:gdLst>
                  <a:gd name="T0" fmla="*/ 20 w 41"/>
                  <a:gd name="T1" fmla="*/ 8 h 12"/>
                  <a:gd name="T2" fmla="*/ 1 w 41"/>
                  <a:gd name="T3" fmla="*/ 1 h 12"/>
                  <a:gd name="T4" fmla="*/ 21 w 41"/>
                  <a:gd name="T5" fmla="*/ 4 h 12"/>
                  <a:gd name="T6" fmla="*/ 41 w 41"/>
                  <a:gd name="T7" fmla="*/ 10 h 12"/>
                  <a:gd name="T8" fmla="*/ 20 w 41"/>
                  <a:gd name="T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2">
                    <a:moveTo>
                      <a:pt x="20" y="8"/>
                    </a:moveTo>
                    <a:cubicBezTo>
                      <a:pt x="9" y="5"/>
                      <a:pt x="0" y="2"/>
                      <a:pt x="1" y="1"/>
                    </a:cubicBezTo>
                    <a:cubicBezTo>
                      <a:pt x="1" y="0"/>
                      <a:pt x="10" y="1"/>
                      <a:pt x="21" y="4"/>
                    </a:cubicBezTo>
                    <a:cubicBezTo>
                      <a:pt x="33" y="6"/>
                      <a:pt x="41" y="9"/>
                      <a:pt x="41" y="10"/>
                    </a:cubicBezTo>
                    <a:cubicBezTo>
                      <a:pt x="41" y="12"/>
                      <a:pt x="32" y="10"/>
                      <a:pt x="20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5" name="任意多边形: 形状 1254">
                <a:extLst>
                  <a:ext uri="{FF2B5EF4-FFF2-40B4-BE49-F238E27FC236}">
                    <a16:creationId xmlns:a16="http://schemas.microsoft.com/office/drawing/2014/main" id="{29D91163-E281-4CB4-BA24-618574F4F9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72488" y="3197226"/>
                <a:ext cx="85725" cy="49213"/>
              </a:xfrm>
              <a:custGeom>
                <a:avLst/>
                <a:gdLst>
                  <a:gd name="T0" fmla="*/ 18 w 37"/>
                  <a:gd name="T1" fmla="*/ 13 h 22"/>
                  <a:gd name="T2" fmla="*/ 0 w 37"/>
                  <a:gd name="T3" fmla="*/ 1 h 22"/>
                  <a:gd name="T4" fmla="*/ 19 w 37"/>
                  <a:gd name="T5" fmla="*/ 9 h 22"/>
                  <a:gd name="T6" fmla="*/ 37 w 37"/>
                  <a:gd name="T7" fmla="*/ 21 h 22"/>
                  <a:gd name="T8" fmla="*/ 18 w 37"/>
                  <a:gd name="T9" fmla="*/ 1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18" y="13"/>
                    </a:moveTo>
                    <a:cubicBezTo>
                      <a:pt x="7" y="7"/>
                      <a:pt x="0" y="2"/>
                      <a:pt x="0" y="1"/>
                    </a:cubicBezTo>
                    <a:cubicBezTo>
                      <a:pt x="1" y="0"/>
                      <a:pt x="9" y="4"/>
                      <a:pt x="19" y="9"/>
                    </a:cubicBezTo>
                    <a:cubicBezTo>
                      <a:pt x="30" y="15"/>
                      <a:pt x="37" y="20"/>
                      <a:pt x="37" y="21"/>
                    </a:cubicBezTo>
                    <a:cubicBezTo>
                      <a:pt x="36" y="22"/>
                      <a:pt x="28" y="18"/>
                      <a:pt x="18" y="1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6" name="任意多边形: 形状 1255">
                <a:extLst>
                  <a:ext uri="{FF2B5EF4-FFF2-40B4-BE49-F238E27FC236}">
                    <a16:creationId xmlns:a16="http://schemas.microsoft.com/office/drawing/2014/main" id="{837F9671-FECA-4AE8-9294-680C2F34C1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66126" y="3343276"/>
                <a:ext cx="73025" cy="68263"/>
              </a:xfrm>
              <a:custGeom>
                <a:avLst/>
                <a:gdLst>
                  <a:gd name="T0" fmla="*/ 15 w 32"/>
                  <a:gd name="T1" fmla="*/ 16 h 30"/>
                  <a:gd name="T2" fmla="*/ 1 w 32"/>
                  <a:gd name="T3" fmla="*/ 0 h 30"/>
                  <a:gd name="T4" fmla="*/ 18 w 32"/>
                  <a:gd name="T5" fmla="*/ 13 h 30"/>
                  <a:gd name="T6" fmla="*/ 31 w 32"/>
                  <a:gd name="T7" fmla="*/ 29 h 30"/>
                  <a:gd name="T8" fmla="*/ 15 w 32"/>
                  <a:gd name="T9" fmla="*/ 1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0">
                    <a:moveTo>
                      <a:pt x="15" y="16"/>
                    </a:moveTo>
                    <a:cubicBezTo>
                      <a:pt x="7" y="8"/>
                      <a:pt x="0" y="1"/>
                      <a:pt x="1" y="0"/>
                    </a:cubicBezTo>
                    <a:cubicBezTo>
                      <a:pt x="2" y="0"/>
                      <a:pt x="9" y="6"/>
                      <a:pt x="18" y="13"/>
                    </a:cubicBezTo>
                    <a:cubicBezTo>
                      <a:pt x="26" y="21"/>
                      <a:pt x="32" y="28"/>
                      <a:pt x="31" y="29"/>
                    </a:cubicBezTo>
                    <a:cubicBezTo>
                      <a:pt x="30" y="30"/>
                      <a:pt x="23" y="24"/>
                      <a:pt x="15" y="1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7" name="任意多边形: 形状 1256">
                <a:extLst>
                  <a:ext uri="{FF2B5EF4-FFF2-40B4-BE49-F238E27FC236}">
                    <a16:creationId xmlns:a16="http://schemas.microsoft.com/office/drawing/2014/main" id="{307A40C7-9376-451A-885E-3D432E73A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26426" y="3452813"/>
                <a:ext cx="52388" cy="84138"/>
              </a:xfrm>
              <a:custGeom>
                <a:avLst/>
                <a:gdLst>
                  <a:gd name="T0" fmla="*/ 10 w 23"/>
                  <a:gd name="T1" fmla="*/ 20 h 37"/>
                  <a:gd name="T2" fmla="*/ 1 w 23"/>
                  <a:gd name="T3" fmla="*/ 1 h 37"/>
                  <a:gd name="T4" fmla="*/ 13 w 23"/>
                  <a:gd name="T5" fmla="*/ 18 h 37"/>
                  <a:gd name="T6" fmla="*/ 22 w 23"/>
                  <a:gd name="T7" fmla="*/ 37 h 37"/>
                  <a:gd name="T8" fmla="*/ 10 w 23"/>
                  <a:gd name="T9" fmla="*/ 2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37">
                    <a:moveTo>
                      <a:pt x="10" y="20"/>
                    </a:moveTo>
                    <a:cubicBezTo>
                      <a:pt x="4" y="10"/>
                      <a:pt x="0" y="1"/>
                      <a:pt x="1" y="1"/>
                    </a:cubicBezTo>
                    <a:cubicBezTo>
                      <a:pt x="2" y="0"/>
                      <a:pt x="7" y="8"/>
                      <a:pt x="13" y="18"/>
                    </a:cubicBezTo>
                    <a:cubicBezTo>
                      <a:pt x="19" y="28"/>
                      <a:pt x="23" y="36"/>
                      <a:pt x="22" y="37"/>
                    </a:cubicBezTo>
                    <a:cubicBezTo>
                      <a:pt x="21" y="37"/>
                      <a:pt x="16" y="30"/>
                      <a:pt x="10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8" name="任意多边形: 形状 1257">
                <a:extLst>
                  <a:ext uri="{FF2B5EF4-FFF2-40B4-BE49-F238E27FC236}">
                    <a16:creationId xmlns:a16="http://schemas.microsoft.com/office/drawing/2014/main" id="{C03E21CD-A64B-4001-B215-CA9E6B6891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1326" y="3524251"/>
                <a:ext cx="30163" cy="93663"/>
              </a:xfrm>
              <a:custGeom>
                <a:avLst/>
                <a:gdLst>
                  <a:gd name="T0" fmla="*/ 4 w 13"/>
                  <a:gd name="T1" fmla="*/ 21 h 41"/>
                  <a:gd name="T2" fmla="*/ 1 w 13"/>
                  <a:gd name="T3" fmla="*/ 0 h 41"/>
                  <a:gd name="T4" fmla="*/ 8 w 13"/>
                  <a:gd name="T5" fmla="*/ 20 h 41"/>
                  <a:gd name="T6" fmla="*/ 12 w 13"/>
                  <a:gd name="T7" fmla="*/ 40 h 41"/>
                  <a:gd name="T8" fmla="*/ 4 w 13"/>
                  <a:gd name="T9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1">
                    <a:moveTo>
                      <a:pt x="4" y="21"/>
                    </a:moveTo>
                    <a:cubicBezTo>
                      <a:pt x="1" y="10"/>
                      <a:pt x="0" y="0"/>
                      <a:pt x="1" y="0"/>
                    </a:cubicBezTo>
                    <a:cubicBezTo>
                      <a:pt x="2" y="0"/>
                      <a:pt x="5" y="9"/>
                      <a:pt x="8" y="20"/>
                    </a:cubicBezTo>
                    <a:cubicBezTo>
                      <a:pt x="11" y="31"/>
                      <a:pt x="13" y="40"/>
                      <a:pt x="12" y="40"/>
                    </a:cubicBezTo>
                    <a:cubicBezTo>
                      <a:pt x="11" y="41"/>
                      <a:pt x="7" y="32"/>
                      <a:pt x="4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9" name="椭圆 1258">
                <a:extLst>
                  <a:ext uri="{FF2B5EF4-FFF2-40B4-BE49-F238E27FC236}">
                    <a16:creationId xmlns:a16="http://schemas.microsoft.com/office/drawing/2014/main" id="{C100A166-8604-479F-9985-9EEC77825A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0351" y="3546476"/>
                <a:ext cx="9525" cy="96838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0" name="任意多边形: 形状 1259">
                <a:extLst>
                  <a:ext uri="{FF2B5EF4-FFF2-40B4-BE49-F238E27FC236}">
                    <a16:creationId xmlns:a16="http://schemas.microsoft.com/office/drawing/2014/main" id="{A5AD47C4-AE89-4020-916C-648D4A2C29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80326" y="3521076"/>
                <a:ext cx="31750" cy="92075"/>
              </a:xfrm>
              <a:custGeom>
                <a:avLst/>
                <a:gdLst>
                  <a:gd name="T0" fmla="*/ 5 w 14"/>
                  <a:gd name="T1" fmla="*/ 19 h 40"/>
                  <a:gd name="T2" fmla="*/ 13 w 14"/>
                  <a:gd name="T3" fmla="*/ 0 h 40"/>
                  <a:gd name="T4" fmla="*/ 9 w 14"/>
                  <a:gd name="T5" fmla="*/ 20 h 40"/>
                  <a:gd name="T6" fmla="*/ 2 w 14"/>
                  <a:gd name="T7" fmla="*/ 40 h 40"/>
                  <a:gd name="T8" fmla="*/ 5 w 14"/>
                  <a:gd name="T9" fmla="*/ 1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40">
                    <a:moveTo>
                      <a:pt x="5" y="19"/>
                    </a:moveTo>
                    <a:cubicBezTo>
                      <a:pt x="9" y="8"/>
                      <a:pt x="12" y="0"/>
                      <a:pt x="13" y="0"/>
                    </a:cubicBezTo>
                    <a:cubicBezTo>
                      <a:pt x="14" y="0"/>
                      <a:pt x="12" y="9"/>
                      <a:pt x="9" y="20"/>
                    </a:cubicBezTo>
                    <a:cubicBezTo>
                      <a:pt x="6" y="31"/>
                      <a:pt x="3" y="40"/>
                      <a:pt x="2" y="40"/>
                    </a:cubicBezTo>
                    <a:cubicBezTo>
                      <a:pt x="0" y="40"/>
                      <a:pt x="2" y="30"/>
                      <a:pt x="5" y="1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1" name="任意多边形: 形状 1260">
                <a:extLst>
                  <a:ext uri="{FF2B5EF4-FFF2-40B4-BE49-F238E27FC236}">
                    <a16:creationId xmlns:a16="http://schemas.microsoft.com/office/drawing/2014/main" id="{9B6D5220-3BB5-4705-96D8-D59E6B7D7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4588" y="3448051"/>
                <a:ext cx="53975" cy="82550"/>
              </a:xfrm>
              <a:custGeom>
                <a:avLst/>
                <a:gdLst>
                  <a:gd name="T0" fmla="*/ 10 w 24"/>
                  <a:gd name="T1" fmla="*/ 17 h 36"/>
                  <a:gd name="T2" fmla="*/ 23 w 24"/>
                  <a:gd name="T3" fmla="*/ 0 h 36"/>
                  <a:gd name="T4" fmla="*/ 13 w 24"/>
                  <a:gd name="T5" fmla="*/ 19 h 36"/>
                  <a:gd name="T6" fmla="*/ 1 w 24"/>
                  <a:gd name="T7" fmla="*/ 36 h 36"/>
                  <a:gd name="T8" fmla="*/ 10 w 24"/>
                  <a:gd name="T9" fmla="*/ 17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36">
                    <a:moveTo>
                      <a:pt x="10" y="17"/>
                    </a:moveTo>
                    <a:cubicBezTo>
                      <a:pt x="16" y="7"/>
                      <a:pt x="22" y="0"/>
                      <a:pt x="23" y="0"/>
                    </a:cubicBezTo>
                    <a:cubicBezTo>
                      <a:pt x="24" y="1"/>
                      <a:pt x="19" y="9"/>
                      <a:pt x="13" y="19"/>
                    </a:cubicBezTo>
                    <a:cubicBezTo>
                      <a:pt x="7" y="29"/>
                      <a:pt x="2" y="36"/>
                      <a:pt x="1" y="36"/>
                    </a:cubicBezTo>
                    <a:cubicBezTo>
                      <a:pt x="0" y="35"/>
                      <a:pt x="4" y="27"/>
                      <a:pt x="10" y="1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2" name="任意多边形: 形状 1261">
                <a:extLst>
                  <a:ext uri="{FF2B5EF4-FFF2-40B4-BE49-F238E27FC236}">
                    <a16:creationId xmlns:a16="http://schemas.microsoft.com/office/drawing/2014/main" id="{D3506357-3705-4774-B6DD-6C2F8D4D4E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37426" y="3333751"/>
                <a:ext cx="73025" cy="68263"/>
              </a:xfrm>
              <a:custGeom>
                <a:avLst/>
                <a:gdLst>
                  <a:gd name="T0" fmla="*/ 15 w 32"/>
                  <a:gd name="T1" fmla="*/ 13 h 30"/>
                  <a:gd name="T2" fmla="*/ 31 w 32"/>
                  <a:gd name="T3" fmla="*/ 1 h 30"/>
                  <a:gd name="T4" fmla="*/ 17 w 32"/>
                  <a:gd name="T5" fmla="*/ 16 h 30"/>
                  <a:gd name="T6" fmla="*/ 1 w 32"/>
                  <a:gd name="T7" fmla="*/ 29 h 30"/>
                  <a:gd name="T8" fmla="*/ 15 w 32"/>
                  <a:gd name="T9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0">
                    <a:moveTo>
                      <a:pt x="15" y="13"/>
                    </a:moveTo>
                    <a:cubicBezTo>
                      <a:pt x="23" y="5"/>
                      <a:pt x="31" y="0"/>
                      <a:pt x="31" y="1"/>
                    </a:cubicBezTo>
                    <a:cubicBezTo>
                      <a:pt x="32" y="1"/>
                      <a:pt x="26" y="8"/>
                      <a:pt x="17" y="16"/>
                    </a:cubicBezTo>
                    <a:cubicBezTo>
                      <a:pt x="9" y="24"/>
                      <a:pt x="2" y="30"/>
                      <a:pt x="1" y="29"/>
                    </a:cubicBezTo>
                    <a:cubicBezTo>
                      <a:pt x="0" y="28"/>
                      <a:pt x="6" y="21"/>
                      <a:pt x="15" y="1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3" name="任意多边形: 形状 1262">
                <a:extLst>
                  <a:ext uri="{FF2B5EF4-FFF2-40B4-BE49-F238E27FC236}">
                    <a16:creationId xmlns:a16="http://schemas.microsoft.com/office/drawing/2014/main" id="{BE9F8200-2E5C-4B28-BC01-61374CCD0E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19951" y="3187701"/>
                <a:ext cx="87313" cy="47625"/>
              </a:xfrm>
              <a:custGeom>
                <a:avLst/>
                <a:gdLst>
                  <a:gd name="T0" fmla="*/ 18 w 38"/>
                  <a:gd name="T1" fmla="*/ 8 h 21"/>
                  <a:gd name="T2" fmla="*/ 37 w 38"/>
                  <a:gd name="T3" fmla="*/ 1 h 21"/>
                  <a:gd name="T4" fmla="*/ 20 w 38"/>
                  <a:gd name="T5" fmla="*/ 12 h 21"/>
                  <a:gd name="T6" fmla="*/ 0 w 38"/>
                  <a:gd name="T7" fmla="*/ 20 h 21"/>
                  <a:gd name="T8" fmla="*/ 18 w 38"/>
                  <a:gd name="T9" fmla="*/ 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1">
                    <a:moveTo>
                      <a:pt x="18" y="8"/>
                    </a:moveTo>
                    <a:cubicBezTo>
                      <a:pt x="28" y="3"/>
                      <a:pt x="37" y="0"/>
                      <a:pt x="37" y="1"/>
                    </a:cubicBezTo>
                    <a:cubicBezTo>
                      <a:pt x="38" y="1"/>
                      <a:pt x="30" y="7"/>
                      <a:pt x="20" y="12"/>
                    </a:cubicBezTo>
                    <a:cubicBezTo>
                      <a:pt x="10" y="17"/>
                      <a:pt x="1" y="21"/>
                      <a:pt x="0" y="20"/>
                    </a:cubicBezTo>
                    <a:cubicBezTo>
                      <a:pt x="0" y="19"/>
                      <a:pt x="8" y="14"/>
                      <a:pt x="18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4" name="任意多边形: 形状 1263">
                <a:extLst>
                  <a:ext uri="{FF2B5EF4-FFF2-40B4-BE49-F238E27FC236}">
                    <a16:creationId xmlns:a16="http://schemas.microsoft.com/office/drawing/2014/main" id="{CD0AA95C-B68B-4F67-8C4E-D727A38D84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688" y="3017838"/>
                <a:ext cx="95250" cy="25400"/>
              </a:xfrm>
              <a:custGeom>
                <a:avLst/>
                <a:gdLst>
                  <a:gd name="T0" fmla="*/ 21 w 42"/>
                  <a:gd name="T1" fmla="*/ 3 h 11"/>
                  <a:gd name="T2" fmla="*/ 41 w 42"/>
                  <a:gd name="T3" fmla="*/ 1 h 11"/>
                  <a:gd name="T4" fmla="*/ 21 w 42"/>
                  <a:gd name="T5" fmla="*/ 7 h 11"/>
                  <a:gd name="T6" fmla="*/ 1 w 42"/>
                  <a:gd name="T7" fmla="*/ 9 h 11"/>
                  <a:gd name="T8" fmla="*/ 21 w 42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11">
                    <a:moveTo>
                      <a:pt x="21" y="3"/>
                    </a:moveTo>
                    <a:cubicBezTo>
                      <a:pt x="32" y="1"/>
                      <a:pt x="41" y="0"/>
                      <a:pt x="41" y="1"/>
                    </a:cubicBezTo>
                    <a:cubicBezTo>
                      <a:pt x="42" y="2"/>
                      <a:pt x="33" y="5"/>
                      <a:pt x="21" y="7"/>
                    </a:cubicBezTo>
                    <a:cubicBezTo>
                      <a:pt x="10" y="10"/>
                      <a:pt x="1" y="11"/>
                      <a:pt x="1" y="9"/>
                    </a:cubicBezTo>
                    <a:cubicBezTo>
                      <a:pt x="0" y="8"/>
                      <a:pt x="9" y="5"/>
                      <a:pt x="21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5" name="任意多边形: 形状 1264">
                <a:extLst>
                  <a:ext uri="{FF2B5EF4-FFF2-40B4-BE49-F238E27FC236}">
                    <a16:creationId xmlns:a16="http://schemas.microsoft.com/office/drawing/2014/main" id="{6E0F0148-FA20-44B8-A655-21F15CE9F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7401" y="2833688"/>
                <a:ext cx="96838" cy="11113"/>
              </a:xfrm>
              <a:custGeom>
                <a:avLst/>
                <a:gdLst>
                  <a:gd name="T0" fmla="*/ 21 w 42"/>
                  <a:gd name="T1" fmla="*/ 1 h 5"/>
                  <a:gd name="T2" fmla="*/ 42 w 42"/>
                  <a:gd name="T3" fmla="*/ 4 h 5"/>
                  <a:gd name="T4" fmla="*/ 21 w 42"/>
                  <a:gd name="T5" fmla="*/ 5 h 5"/>
                  <a:gd name="T6" fmla="*/ 1 w 42"/>
                  <a:gd name="T7" fmla="*/ 1 h 5"/>
                  <a:gd name="T8" fmla="*/ 21 w 42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5">
                    <a:moveTo>
                      <a:pt x="21" y="1"/>
                    </a:moveTo>
                    <a:cubicBezTo>
                      <a:pt x="33" y="1"/>
                      <a:pt x="42" y="3"/>
                      <a:pt x="42" y="4"/>
                    </a:cubicBezTo>
                    <a:cubicBezTo>
                      <a:pt x="42" y="5"/>
                      <a:pt x="33" y="5"/>
                      <a:pt x="21" y="5"/>
                    </a:cubicBezTo>
                    <a:cubicBezTo>
                      <a:pt x="10" y="4"/>
                      <a:pt x="0" y="2"/>
                      <a:pt x="1" y="1"/>
                    </a:cubicBezTo>
                    <a:cubicBezTo>
                      <a:pt x="1" y="0"/>
                      <a:pt x="10" y="0"/>
                      <a:pt x="21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6" name="任意多边形: 形状 1265">
                <a:extLst>
                  <a:ext uri="{FF2B5EF4-FFF2-40B4-BE49-F238E27FC236}">
                    <a16:creationId xmlns:a16="http://schemas.microsoft.com/office/drawing/2014/main" id="{A18C742F-3201-4DA3-A925-1E1FD00D9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8676" y="2632076"/>
                <a:ext cx="92075" cy="36513"/>
              </a:xfrm>
              <a:custGeom>
                <a:avLst/>
                <a:gdLst>
                  <a:gd name="T0" fmla="*/ 21 w 40"/>
                  <a:gd name="T1" fmla="*/ 7 h 16"/>
                  <a:gd name="T2" fmla="*/ 40 w 40"/>
                  <a:gd name="T3" fmla="*/ 15 h 16"/>
                  <a:gd name="T4" fmla="*/ 20 w 40"/>
                  <a:gd name="T5" fmla="*/ 10 h 16"/>
                  <a:gd name="T6" fmla="*/ 1 w 40"/>
                  <a:gd name="T7" fmla="*/ 2 h 16"/>
                  <a:gd name="T8" fmla="*/ 21 w 40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16">
                    <a:moveTo>
                      <a:pt x="21" y="7"/>
                    </a:moveTo>
                    <a:cubicBezTo>
                      <a:pt x="32" y="11"/>
                      <a:pt x="40" y="15"/>
                      <a:pt x="40" y="15"/>
                    </a:cubicBezTo>
                    <a:cubicBezTo>
                      <a:pt x="40" y="16"/>
                      <a:pt x="30" y="14"/>
                      <a:pt x="20" y="10"/>
                    </a:cubicBezTo>
                    <a:cubicBezTo>
                      <a:pt x="9" y="7"/>
                      <a:pt x="0" y="3"/>
                      <a:pt x="1" y="2"/>
                    </a:cubicBezTo>
                    <a:cubicBezTo>
                      <a:pt x="1" y="0"/>
                      <a:pt x="10" y="3"/>
                      <a:pt x="21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7" name="任意多边形: 形状 1266">
                <a:extLst>
                  <a:ext uri="{FF2B5EF4-FFF2-40B4-BE49-F238E27FC236}">
                    <a16:creationId xmlns:a16="http://schemas.microsoft.com/office/drawing/2014/main" id="{557ACBB3-60A1-4535-9370-D5619E523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2338" y="2451101"/>
                <a:ext cx="80963" cy="60325"/>
              </a:xfrm>
              <a:custGeom>
                <a:avLst/>
                <a:gdLst>
                  <a:gd name="T0" fmla="*/ 19 w 35"/>
                  <a:gd name="T1" fmla="*/ 11 h 26"/>
                  <a:gd name="T2" fmla="*/ 35 w 35"/>
                  <a:gd name="T3" fmla="*/ 25 h 26"/>
                  <a:gd name="T4" fmla="*/ 16 w 35"/>
                  <a:gd name="T5" fmla="*/ 15 h 26"/>
                  <a:gd name="T6" fmla="*/ 1 w 35"/>
                  <a:gd name="T7" fmla="*/ 1 h 26"/>
                  <a:gd name="T8" fmla="*/ 19 w 35"/>
                  <a:gd name="T9" fmla="*/ 1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19" y="11"/>
                    </a:moveTo>
                    <a:cubicBezTo>
                      <a:pt x="28" y="18"/>
                      <a:pt x="35" y="24"/>
                      <a:pt x="35" y="25"/>
                    </a:cubicBezTo>
                    <a:cubicBezTo>
                      <a:pt x="34" y="26"/>
                      <a:pt x="26" y="21"/>
                      <a:pt x="16" y="15"/>
                    </a:cubicBezTo>
                    <a:cubicBezTo>
                      <a:pt x="7" y="8"/>
                      <a:pt x="0" y="2"/>
                      <a:pt x="1" y="1"/>
                    </a:cubicBezTo>
                    <a:cubicBezTo>
                      <a:pt x="1" y="0"/>
                      <a:pt x="9" y="5"/>
                      <a:pt x="19" y="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8" name="任意多边形: 形状 1267">
                <a:extLst>
                  <a:ext uri="{FF2B5EF4-FFF2-40B4-BE49-F238E27FC236}">
                    <a16:creationId xmlns:a16="http://schemas.microsoft.com/office/drawing/2014/main" id="{54581B2D-82D6-4E36-A779-040E9BE11D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10451" y="2303463"/>
                <a:ext cx="63500" cy="74613"/>
              </a:xfrm>
              <a:custGeom>
                <a:avLst/>
                <a:gdLst>
                  <a:gd name="T0" fmla="*/ 16 w 28"/>
                  <a:gd name="T1" fmla="*/ 15 h 33"/>
                  <a:gd name="T2" fmla="*/ 28 w 28"/>
                  <a:gd name="T3" fmla="*/ 33 h 33"/>
                  <a:gd name="T4" fmla="*/ 13 w 28"/>
                  <a:gd name="T5" fmla="*/ 18 h 33"/>
                  <a:gd name="T6" fmla="*/ 1 w 28"/>
                  <a:gd name="T7" fmla="*/ 1 h 33"/>
                  <a:gd name="T8" fmla="*/ 16 w 28"/>
                  <a:gd name="T9" fmla="*/ 1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33">
                    <a:moveTo>
                      <a:pt x="16" y="15"/>
                    </a:moveTo>
                    <a:cubicBezTo>
                      <a:pt x="23" y="24"/>
                      <a:pt x="28" y="32"/>
                      <a:pt x="28" y="33"/>
                    </a:cubicBezTo>
                    <a:cubicBezTo>
                      <a:pt x="27" y="33"/>
                      <a:pt x="20" y="27"/>
                      <a:pt x="13" y="18"/>
                    </a:cubicBezTo>
                    <a:cubicBezTo>
                      <a:pt x="5" y="9"/>
                      <a:pt x="0" y="1"/>
                      <a:pt x="1" y="1"/>
                    </a:cubicBezTo>
                    <a:cubicBezTo>
                      <a:pt x="2" y="0"/>
                      <a:pt x="9" y="6"/>
                      <a:pt x="16" y="1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9" name="任意多边形: 形状 1268">
                <a:extLst>
                  <a:ext uri="{FF2B5EF4-FFF2-40B4-BE49-F238E27FC236}">
                    <a16:creationId xmlns:a16="http://schemas.microsoft.com/office/drawing/2014/main" id="{A26E1C8F-11DC-4CF9-B54D-93CC92A4F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83488" y="2195513"/>
                <a:ext cx="42863" cy="88900"/>
              </a:xfrm>
              <a:custGeom>
                <a:avLst/>
                <a:gdLst>
                  <a:gd name="T0" fmla="*/ 11 w 19"/>
                  <a:gd name="T1" fmla="*/ 19 h 39"/>
                  <a:gd name="T2" fmla="*/ 18 w 19"/>
                  <a:gd name="T3" fmla="*/ 39 h 39"/>
                  <a:gd name="T4" fmla="*/ 8 w 19"/>
                  <a:gd name="T5" fmla="*/ 20 h 39"/>
                  <a:gd name="T6" fmla="*/ 1 w 19"/>
                  <a:gd name="T7" fmla="*/ 1 h 39"/>
                  <a:gd name="T8" fmla="*/ 11 w 19"/>
                  <a:gd name="T9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39">
                    <a:moveTo>
                      <a:pt x="11" y="19"/>
                    </a:moveTo>
                    <a:cubicBezTo>
                      <a:pt x="16" y="29"/>
                      <a:pt x="19" y="38"/>
                      <a:pt x="18" y="39"/>
                    </a:cubicBezTo>
                    <a:cubicBezTo>
                      <a:pt x="17" y="39"/>
                      <a:pt x="13" y="31"/>
                      <a:pt x="8" y="20"/>
                    </a:cubicBezTo>
                    <a:cubicBezTo>
                      <a:pt x="3" y="10"/>
                      <a:pt x="0" y="1"/>
                      <a:pt x="1" y="1"/>
                    </a:cubicBezTo>
                    <a:cubicBezTo>
                      <a:pt x="2" y="0"/>
                      <a:pt x="7" y="8"/>
                      <a:pt x="11" y="1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0" name="任意多边形: 形状 1269">
                <a:extLst>
                  <a:ext uri="{FF2B5EF4-FFF2-40B4-BE49-F238E27FC236}">
                    <a16:creationId xmlns:a16="http://schemas.microsoft.com/office/drawing/2014/main" id="{266C297D-2A6C-4189-9438-6414A4FF22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80338" y="2141538"/>
                <a:ext cx="17463" cy="93663"/>
              </a:xfrm>
              <a:custGeom>
                <a:avLst/>
                <a:gdLst>
                  <a:gd name="T0" fmla="*/ 6 w 8"/>
                  <a:gd name="T1" fmla="*/ 20 h 41"/>
                  <a:gd name="T2" fmla="*/ 7 w 8"/>
                  <a:gd name="T3" fmla="*/ 41 h 41"/>
                  <a:gd name="T4" fmla="*/ 2 w 8"/>
                  <a:gd name="T5" fmla="*/ 21 h 41"/>
                  <a:gd name="T6" fmla="*/ 1 w 8"/>
                  <a:gd name="T7" fmla="*/ 0 h 41"/>
                  <a:gd name="T8" fmla="*/ 6 w 8"/>
                  <a:gd name="T9" fmla="*/ 2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1">
                    <a:moveTo>
                      <a:pt x="6" y="20"/>
                    </a:moveTo>
                    <a:cubicBezTo>
                      <a:pt x="8" y="31"/>
                      <a:pt x="8" y="41"/>
                      <a:pt x="7" y="41"/>
                    </a:cubicBezTo>
                    <a:cubicBezTo>
                      <a:pt x="6" y="41"/>
                      <a:pt x="4" y="32"/>
                      <a:pt x="2" y="21"/>
                    </a:cubicBezTo>
                    <a:cubicBezTo>
                      <a:pt x="0" y="9"/>
                      <a:pt x="0" y="0"/>
                      <a:pt x="1" y="0"/>
                    </a:cubicBezTo>
                    <a:cubicBezTo>
                      <a:pt x="2" y="0"/>
                      <a:pt x="5" y="9"/>
                      <a:pt x="6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1" name="任意多边形: 形状 1270">
                <a:extLst>
                  <a:ext uri="{FF2B5EF4-FFF2-40B4-BE49-F238E27FC236}">
                    <a16:creationId xmlns:a16="http://schemas.microsoft.com/office/drawing/2014/main" id="{C4B92A40-98BC-416F-B1A9-3CC14177BC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72426" y="2138363"/>
                <a:ext cx="17463" cy="93663"/>
              </a:xfrm>
              <a:custGeom>
                <a:avLst/>
                <a:gdLst>
                  <a:gd name="T0" fmla="*/ 6 w 8"/>
                  <a:gd name="T1" fmla="*/ 21 h 41"/>
                  <a:gd name="T2" fmla="*/ 1 w 8"/>
                  <a:gd name="T3" fmla="*/ 41 h 41"/>
                  <a:gd name="T4" fmla="*/ 2 w 8"/>
                  <a:gd name="T5" fmla="*/ 20 h 41"/>
                  <a:gd name="T6" fmla="*/ 6 w 8"/>
                  <a:gd name="T7" fmla="*/ 0 h 41"/>
                  <a:gd name="T8" fmla="*/ 6 w 8"/>
                  <a:gd name="T9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1">
                    <a:moveTo>
                      <a:pt x="6" y="21"/>
                    </a:moveTo>
                    <a:cubicBezTo>
                      <a:pt x="4" y="32"/>
                      <a:pt x="2" y="41"/>
                      <a:pt x="1" y="41"/>
                    </a:cubicBezTo>
                    <a:cubicBezTo>
                      <a:pt x="0" y="41"/>
                      <a:pt x="1" y="32"/>
                      <a:pt x="2" y="20"/>
                    </a:cubicBezTo>
                    <a:cubicBezTo>
                      <a:pt x="3" y="9"/>
                      <a:pt x="5" y="0"/>
                      <a:pt x="6" y="0"/>
                    </a:cubicBezTo>
                    <a:cubicBezTo>
                      <a:pt x="8" y="0"/>
                      <a:pt x="7" y="9"/>
                      <a:pt x="6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2" name="任意多边形: 形状 1271">
                <a:extLst>
                  <a:ext uri="{FF2B5EF4-FFF2-40B4-BE49-F238E27FC236}">
                    <a16:creationId xmlns:a16="http://schemas.microsoft.com/office/drawing/2014/main" id="{52CF4CEA-786E-4244-960B-7B40134D9F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5463" y="2189163"/>
                <a:ext cx="41275" cy="90488"/>
              </a:xfrm>
              <a:custGeom>
                <a:avLst/>
                <a:gdLst>
                  <a:gd name="T0" fmla="*/ 11 w 18"/>
                  <a:gd name="T1" fmla="*/ 21 h 40"/>
                  <a:gd name="T2" fmla="*/ 1 w 18"/>
                  <a:gd name="T3" fmla="*/ 39 h 40"/>
                  <a:gd name="T4" fmla="*/ 7 w 18"/>
                  <a:gd name="T5" fmla="*/ 19 h 40"/>
                  <a:gd name="T6" fmla="*/ 17 w 18"/>
                  <a:gd name="T7" fmla="*/ 1 h 40"/>
                  <a:gd name="T8" fmla="*/ 11 w 18"/>
                  <a:gd name="T9" fmla="*/ 21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0">
                    <a:moveTo>
                      <a:pt x="11" y="21"/>
                    </a:moveTo>
                    <a:cubicBezTo>
                      <a:pt x="6" y="31"/>
                      <a:pt x="2" y="40"/>
                      <a:pt x="1" y="39"/>
                    </a:cubicBezTo>
                    <a:cubicBezTo>
                      <a:pt x="0" y="39"/>
                      <a:pt x="3" y="30"/>
                      <a:pt x="7" y="19"/>
                    </a:cubicBezTo>
                    <a:cubicBezTo>
                      <a:pt x="11" y="9"/>
                      <a:pt x="16" y="0"/>
                      <a:pt x="17" y="1"/>
                    </a:cubicBezTo>
                    <a:cubicBezTo>
                      <a:pt x="18" y="1"/>
                      <a:pt x="15" y="10"/>
                      <a:pt x="11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3" name="任意多边形: 形状 1272">
                <a:extLst>
                  <a:ext uri="{FF2B5EF4-FFF2-40B4-BE49-F238E27FC236}">
                    <a16:creationId xmlns:a16="http://schemas.microsoft.com/office/drawing/2014/main" id="{3F2C2C2D-A2DD-4E91-B9E3-55A22DCD4E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9451" y="2293938"/>
                <a:ext cx="63500" cy="77788"/>
              </a:xfrm>
              <a:custGeom>
                <a:avLst/>
                <a:gdLst>
                  <a:gd name="T0" fmla="*/ 15 w 28"/>
                  <a:gd name="T1" fmla="*/ 18 h 34"/>
                  <a:gd name="T2" fmla="*/ 1 w 28"/>
                  <a:gd name="T3" fmla="*/ 33 h 34"/>
                  <a:gd name="T4" fmla="*/ 12 w 28"/>
                  <a:gd name="T5" fmla="*/ 16 h 34"/>
                  <a:gd name="T6" fmla="*/ 27 w 28"/>
                  <a:gd name="T7" fmla="*/ 0 h 34"/>
                  <a:gd name="T8" fmla="*/ 15 w 28"/>
                  <a:gd name="T9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34">
                    <a:moveTo>
                      <a:pt x="15" y="18"/>
                    </a:moveTo>
                    <a:cubicBezTo>
                      <a:pt x="8" y="27"/>
                      <a:pt x="2" y="34"/>
                      <a:pt x="1" y="33"/>
                    </a:cubicBezTo>
                    <a:cubicBezTo>
                      <a:pt x="0" y="32"/>
                      <a:pt x="5" y="25"/>
                      <a:pt x="12" y="16"/>
                    </a:cubicBezTo>
                    <a:cubicBezTo>
                      <a:pt x="19" y="6"/>
                      <a:pt x="26" y="0"/>
                      <a:pt x="27" y="0"/>
                    </a:cubicBezTo>
                    <a:cubicBezTo>
                      <a:pt x="28" y="1"/>
                      <a:pt x="23" y="9"/>
                      <a:pt x="15" y="1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4" name="任意多边形: 形状 1273">
                <a:extLst>
                  <a:ext uri="{FF2B5EF4-FFF2-40B4-BE49-F238E27FC236}">
                    <a16:creationId xmlns:a16="http://schemas.microsoft.com/office/drawing/2014/main" id="{C7BCB14F-231F-46D0-A27F-869EB0FB57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4863" y="2439988"/>
                <a:ext cx="80963" cy="60325"/>
              </a:xfrm>
              <a:custGeom>
                <a:avLst/>
                <a:gdLst>
                  <a:gd name="T0" fmla="*/ 18 w 35"/>
                  <a:gd name="T1" fmla="*/ 15 h 26"/>
                  <a:gd name="T2" fmla="*/ 0 w 35"/>
                  <a:gd name="T3" fmla="*/ 25 h 26"/>
                  <a:gd name="T4" fmla="*/ 16 w 35"/>
                  <a:gd name="T5" fmla="*/ 11 h 26"/>
                  <a:gd name="T6" fmla="*/ 34 w 35"/>
                  <a:gd name="T7" fmla="*/ 1 h 26"/>
                  <a:gd name="T8" fmla="*/ 18 w 35"/>
                  <a:gd name="T9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18" y="15"/>
                    </a:moveTo>
                    <a:cubicBezTo>
                      <a:pt x="9" y="21"/>
                      <a:pt x="1" y="26"/>
                      <a:pt x="0" y="25"/>
                    </a:cubicBezTo>
                    <a:cubicBezTo>
                      <a:pt x="0" y="25"/>
                      <a:pt x="7" y="18"/>
                      <a:pt x="16" y="11"/>
                    </a:cubicBezTo>
                    <a:cubicBezTo>
                      <a:pt x="25" y="5"/>
                      <a:pt x="33" y="0"/>
                      <a:pt x="34" y="1"/>
                    </a:cubicBezTo>
                    <a:cubicBezTo>
                      <a:pt x="35" y="2"/>
                      <a:pt x="28" y="8"/>
                      <a:pt x="18" y="1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5" name="任意多边形: 形状 1274">
                <a:extLst>
                  <a:ext uri="{FF2B5EF4-FFF2-40B4-BE49-F238E27FC236}">
                    <a16:creationId xmlns:a16="http://schemas.microsoft.com/office/drawing/2014/main" id="{4CA33D6E-239D-43AE-BC67-47A5D441B4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09001" y="2619376"/>
                <a:ext cx="92075" cy="38100"/>
              </a:xfrm>
              <a:custGeom>
                <a:avLst/>
                <a:gdLst>
                  <a:gd name="T0" fmla="*/ 21 w 40"/>
                  <a:gd name="T1" fmla="*/ 11 h 17"/>
                  <a:gd name="T2" fmla="*/ 0 w 40"/>
                  <a:gd name="T3" fmla="*/ 16 h 17"/>
                  <a:gd name="T4" fmla="*/ 19 w 40"/>
                  <a:gd name="T5" fmla="*/ 7 h 17"/>
                  <a:gd name="T6" fmla="*/ 39 w 40"/>
                  <a:gd name="T7" fmla="*/ 1 h 17"/>
                  <a:gd name="T8" fmla="*/ 21 w 40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17">
                    <a:moveTo>
                      <a:pt x="21" y="11"/>
                    </a:moveTo>
                    <a:cubicBezTo>
                      <a:pt x="10" y="15"/>
                      <a:pt x="1" y="17"/>
                      <a:pt x="0" y="16"/>
                    </a:cubicBezTo>
                    <a:cubicBezTo>
                      <a:pt x="0" y="15"/>
                      <a:pt x="8" y="11"/>
                      <a:pt x="19" y="7"/>
                    </a:cubicBezTo>
                    <a:cubicBezTo>
                      <a:pt x="30" y="3"/>
                      <a:pt x="39" y="0"/>
                      <a:pt x="39" y="1"/>
                    </a:cubicBezTo>
                    <a:cubicBezTo>
                      <a:pt x="40" y="3"/>
                      <a:pt x="31" y="7"/>
                      <a:pt x="21" y="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6" name="任意多边形: 形状 1275">
                <a:extLst>
                  <a:ext uri="{FF2B5EF4-FFF2-40B4-BE49-F238E27FC236}">
                    <a16:creationId xmlns:a16="http://schemas.microsoft.com/office/drawing/2014/main" id="{1E6F3AEA-2393-4537-A82D-29705242FF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8688" y="2817813"/>
                <a:ext cx="95250" cy="12700"/>
              </a:xfrm>
              <a:custGeom>
                <a:avLst/>
                <a:gdLst>
                  <a:gd name="T0" fmla="*/ 21 w 42"/>
                  <a:gd name="T1" fmla="*/ 5 h 6"/>
                  <a:gd name="T2" fmla="*/ 1 w 42"/>
                  <a:gd name="T3" fmla="*/ 5 h 6"/>
                  <a:gd name="T4" fmla="*/ 21 w 42"/>
                  <a:gd name="T5" fmla="*/ 1 h 6"/>
                  <a:gd name="T6" fmla="*/ 42 w 42"/>
                  <a:gd name="T7" fmla="*/ 2 h 6"/>
                  <a:gd name="T8" fmla="*/ 21 w 42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6">
                    <a:moveTo>
                      <a:pt x="21" y="5"/>
                    </a:moveTo>
                    <a:cubicBezTo>
                      <a:pt x="10" y="6"/>
                      <a:pt x="1" y="6"/>
                      <a:pt x="1" y="5"/>
                    </a:cubicBezTo>
                    <a:cubicBezTo>
                      <a:pt x="0" y="4"/>
                      <a:pt x="10" y="3"/>
                      <a:pt x="21" y="1"/>
                    </a:cubicBezTo>
                    <a:cubicBezTo>
                      <a:pt x="33" y="0"/>
                      <a:pt x="42" y="0"/>
                      <a:pt x="42" y="2"/>
                    </a:cubicBezTo>
                    <a:cubicBezTo>
                      <a:pt x="42" y="3"/>
                      <a:pt x="33" y="5"/>
                      <a:pt x="21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7" name="任意多边形: 形状 1276">
                <a:extLst>
                  <a:ext uri="{FF2B5EF4-FFF2-40B4-BE49-F238E27FC236}">
                    <a16:creationId xmlns:a16="http://schemas.microsoft.com/office/drawing/2014/main" id="{15E0002D-3D8C-4E31-8F4D-61E131E728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8963" y="1992313"/>
                <a:ext cx="630238" cy="923925"/>
              </a:xfrm>
              <a:custGeom>
                <a:avLst/>
                <a:gdLst>
                  <a:gd name="T0" fmla="*/ 276 w 276"/>
                  <a:gd name="T1" fmla="*/ 0 h 404"/>
                  <a:gd name="T2" fmla="*/ 275 w 276"/>
                  <a:gd name="T3" fmla="*/ 0 h 404"/>
                  <a:gd name="T4" fmla="*/ 271 w 276"/>
                  <a:gd name="T5" fmla="*/ 2 h 404"/>
                  <a:gd name="T6" fmla="*/ 257 w 276"/>
                  <a:gd name="T7" fmla="*/ 7 h 404"/>
                  <a:gd name="T8" fmla="*/ 207 w 276"/>
                  <a:gd name="T9" fmla="*/ 32 h 404"/>
                  <a:gd name="T10" fmla="*/ 175 w 276"/>
                  <a:gd name="T11" fmla="*/ 53 h 404"/>
                  <a:gd name="T12" fmla="*/ 140 w 276"/>
                  <a:gd name="T13" fmla="*/ 81 h 404"/>
                  <a:gd name="T14" fmla="*/ 73 w 276"/>
                  <a:gd name="T15" fmla="*/ 157 h 404"/>
                  <a:gd name="T16" fmla="*/ 27 w 276"/>
                  <a:gd name="T17" fmla="*/ 247 h 404"/>
                  <a:gd name="T18" fmla="*/ 13 w 276"/>
                  <a:gd name="T19" fmla="*/ 289 h 404"/>
                  <a:gd name="T20" fmla="*/ 6 w 276"/>
                  <a:gd name="T21" fmla="*/ 327 h 404"/>
                  <a:gd name="T22" fmla="*/ 1 w 276"/>
                  <a:gd name="T23" fmla="*/ 383 h 404"/>
                  <a:gd name="T24" fmla="*/ 0 w 276"/>
                  <a:gd name="T25" fmla="*/ 398 h 404"/>
                  <a:gd name="T26" fmla="*/ 0 w 276"/>
                  <a:gd name="T27" fmla="*/ 402 h 404"/>
                  <a:gd name="T28" fmla="*/ 0 w 276"/>
                  <a:gd name="T29" fmla="*/ 404 h 404"/>
                  <a:gd name="T30" fmla="*/ 0 w 276"/>
                  <a:gd name="T31" fmla="*/ 402 h 404"/>
                  <a:gd name="T32" fmla="*/ 0 w 276"/>
                  <a:gd name="T33" fmla="*/ 398 h 404"/>
                  <a:gd name="T34" fmla="*/ 0 w 276"/>
                  <a:gd name="T35" fmla="*/ 383 h 404"/>
                  <a:gd name="T36" fmla="*/ 4 w 276"/>
                  <a:gd name="T37" fmla="*/ 327 h 404"/>
                  <a:gd name="T38" fmla="*/ 12 w 276"/>
                  <a:gd name="T39" fmla="*/ 289 h 404"/>
                  <a:gd name="T40" fmla="*/ 25 w 276"/>
                  <a:gd name="T41" fmla="*/ 246 h 404"/>
                  <a:gd name="T42" fmla="*/ 71 w 276"/>
                  <a:gd name="T43" fmla="*/ 156 h 404"/>
                  <a:gd name="T44" fmla="*/ 139 w 276"/>
                  <a:gd name="T45" fmla="*/ 79 h 404"/>
                  <a:gd name="T46" fmla="*/ 174 w 276"/>
                  <a:gd name="T47" fmla="*/ 52 h 404"/>
                  <a:gd name="T48" fmla="*/ 207 w 276"/>
                  <a:gd name="T49" fmla="*/ 31 h 404"/>
                  <a:gd name="T50" fmla="*/ 257 w 276"/>
                  <a:gd name="T51" fmla="*/ 7 h 404"/>
                  <a:gd name="T52" fmla="*/ 271 w 276"/>
                  <a:gd name="T53" fmla="*/ 1 h 404"/>
                  <a:gd name="T54" fmla="*/ 275 w 276"/>
                  <a:gd name="T55" fmla="*/ 0 h 404"/>
                  <a:gd name="T56" fmla="*/ 276 w 276"/>
                  <a:gd name="T57" fmla="*/ 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76" h="404">
                    <a:moveTo>
                      <a:pt x="276" y="0"/>
                    </a:moveTo>
                    <a:cubicBezTo>
                      <a:pt x="276" y="0"/>
                      <a:pt x="276" y="0"/>
                      <a:pt x="275" y="0"/>
                    </a:cubicBezTo>
                    <a:cubicBezTo>
                      <a:pt x="274" y="1"/>
                      <a:pt x="273" y="1"/>
                      <a:pt x="271" y="2"/>
                    </a:cubicBezTo>
                    <a:cubicBezTo>
                      <a:pt x="268" y="3"/>
                      <a:pt x="263" y="5"/>
                      <a:pt x="257" y="7"/>
                    </a:cubicBezTo>
                    <a:cubicBezTo>
                      <a:pt x="245" y="12"/>
                      <a:pt x="228" y="20"/>
                      <a:pt x="207" y="32"/>
                    </a:cubicBezTo>
                    <a:cubicBezTo>
                      <a:pt x="197" y="38"/>
                      <a:pt x="186" y="45"/>
                      <a:pt x="175" y="53"/>
                    </a:cubicBezTo>
                    <a:cubicBezTo>
                      <a:pt x="164" y="61"/>
                      <a:pt x="152" y="70"/>
                      <a:pt x="140" y="81"/>
                    </a:cubicBezTo>
                    <a:cubicBezTo>
                      <a:pt x="117" y="102"/>
                      <a:pt x="93" y="127"/>
                      <a:pt x="73" y="157"/>
                    </a:cubicBezTo>
                    <a:cubicBezTo>
                      <a:pt x="53" y="187"/>
                      <a:pt x="37" y="218"/>
                      <a:pt x="27" y="247"/>
                    </a:cubicBezTo>
                    <a:cubicBezTo>
                      <a:pt x="21" y="262"/>
                      <a:pt x="17" y="276"/>
                      <a:pt x="13" y="289"/>
                    </a:cubicBezTo>
                    <a:cubicBezTo>
                      <a:pt x="10" y="303"/>
                      <a:pt x="7" y="316"/>
                      <a:pt x="6" y="327"/>
                    </a:cubicBezTo>
                    <a:cubicBezTo>
                      <a:pt x="2" y="351"/>
                      <a:pt x="1" y="370"/>
                      <a:pt x="1" y="383"/>
                    </a:cubicBezTo>
                    <a:cubicBezTo>
                      <a:pt x="0" y="390"/>
                      <a:pt x="0" y="395"/>
                      <a:pt x="0" y="398"/>
                    </a:cubicBezTo>
                    <a:cubicBezTo>
                      <a:pt x="0" y="400"/>
                      <a:pt x="0" y="401"/>
                      <a:pt x="0" y="402"/>
                    </a:cubicBezTo>
                    <a:cubicBezTo>
                      <a:pt x="0" y="403"/>
                      <a:pt x="0" y="404"/>
                      <a:pt x="0" y="404"/>
                    </a:cubicBezTo>
                    <a:cubicBezTo>
                      <a:pt x="0" y="404"/>
                      <a:pt x="0" y="403"/>
                      <a:pt x="0" y="402"/>
                    </a:cubicBezTo>
                    <a:cubicBezTo>
                      <a:pt x="0" y="401"/>
                      <a:pt x="0" y="400"/>
                      <a:pt x="0" y="398"/>
                    </a:cubicBezTo>
                    <a:cubicBezTo>
                      <a:pt x="0" y="395"/>
                      <a:pt x="0" y="390"/>
                      <a:pt x="0" y="383"/>
                    </a:cubicBezTo>
                    <a:cubicBezTo>
                      <a:pt x="0" y="370"/>
                      <a:pt x="1" y="351"/>
                      <a:pt x="4" y="327"/>
                    </a:cubicBezTo>
                    <a:cubicBezTo>
                      <a:pt x="6" y="315"/>
                      <a:pt x="8" y="303"/>
                      <a:pt x="12" y="289"/>
                    </a:cubicBezTo>
                    <a:cubicBezTo>
                      <a:pt x="15" y="276"/>
                      <a:pt x="19" y="261"/>
                      <a:pt x="25" y="246"/>
                    </a:cubicBezTo>
                    <a:cubicBezTo>
                      <a:pt x="35" y="217"/>
                      <a:pt x="51" y="186"/>
                      <a:pt x="71" y="156"/>
                    </a:cubicBezTo>
                    <a:cubicBezTo>
                      <a:pt x="92" y="126"/>
                      <a:pt x="115" y="100"/>
                      <a:pt x="139" y="79"/>
                    </a:cubicBezTo>
                    <a:cubicBezTo>
                      <a:pt x="151" y="69"/>
                      <a:pt x="162" y="60"/>
                      <a:pt x="174" y="52"/>
                    </a:cubicBezTo>
                    <a:cubicBezTo>
                      <a:pt x="185" y="44"/>
                      <a:pt x="196" y="37"/>
                      <a:pt x="207" y="31"/>
                    </a:cubicBezTo>
                    <a:cubicBezTo>
                      <a:pt x="227" y="19"/>
                      <a:pt x="245" y="11"/>
                      <a:pt x="257" y="7"/>
                    </a:cubicBezTo>
                    <a:cubicBezTo>
                      <a:pt x="263" y="4"/>
                      <a:pt x="268" y="2"/>
                      <a:pt x="271" y="1"/>
                    </a:cubicBezTo>
                    <a:cubicBezTo>
                      <a:pt x="273" y="1"/>
                      <a:pt x="274" y="0"/>
                      <a:pt x="275" y="0"/>
                    </a:cubicBezTo>
                    <a:cubicBezTo>
                      <a:pt x="276" y="0"/>
                      <a:pt x="276" y="0"/>
                      <a:pt x="27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8" name="任意多边形: 形状 1277">
                <a:extLst>
                  <a:ext uri="{FF2B5EF4-FFF2-40B4-BE49-F238E27FC236}">
                    <a16:creationId xmlns:a16="http://schemas.microsoft.com/office/drawing/2014/main" id="{370CC034-059D-4B38-AF52-C852DCD2C9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1751" y="1936751"/>
                <a:ext cx="195263" cy="28575"/>
              </a:xfrm>
              <a:custGeom>
                <a:avLst/>
                <a:gdLst>
                  <a:gd name="T0" fmla="*/ 85 w 85"/>
                  <a:gd name="T1" fmla="*/ 0 h 12"/>
                  <a:gd name="T2" fmla="*/ 72 w 85"/>
                  <a:gd name="T3" fmla="*/ 2 h 12"/>
                  <a:gd name="T4" fmla="*/ 42 w 85"/>
                  <a:gd name="T5" fmla="*/ 5 h 12"/>
                  <a:gd name="T6" fmla="*/ 12 w 85"/>
                  <a:gd name="T7" fmla="*/ 10 h 12"/>
                  <a:gd name="T8" fmla="*/ 0 w 85"/>
                  <a:gd name="T9" fmla="*/ 11 h 12"/>
                  <a:gd name="T10" fmla="*/ 12 w 85"/>
                  <a:gd name="T11" fmla="*/ 8 h 12"/>
                  <a:gd name="T12" fmla="*/ 42 w 85"/>
                  <a:gd name="T13" fmla="*/ 3 h 12"/>
                  <a:gd name="T14" fmla="*/ 72 w 85"/>
                  <a:gd name="T15" fmla="*/ 0 h 12"/>
                  <a:gd name="T16" fmla="*/ 85 w 85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5" h="12">
                    <a:moveTo>
                      <a:pt x="85" y="0"/>
                    </a:moveTo>
                    <a:cubicBezTo>
                      <a:pt x="85" y="1"/>
                      <a:pt x="80" y="1"/>
                      <a:pt x="72" y="2"/>
                    </a:cubicBezTo>
                    <a:cubicBezTo>
                      <a:pt x="65" y="3"/>
                      <a:pt x="54" y="4"/>
                      <a:pt x="42" y="5"/>
                    </a:cubicBezTo>
                    <a:cubicBezTo>
                      <a:pt x="30" y="7"/>
                      <a:pt x="20" y="8"/>
                      <a:pt x="12" y="10"/>
                    </a:cubicBezTo>
                    <a:cubicBezTo>
                      <a:pt x="4" y="11"/>
                      <a:pt x="0" y="12"/>
                      <a:pt x="0" y="11"/>
                    </a:cubicBezTo>
                    <a:cubicBezTo>
                      <a:pt x="0" y="11"/>
                      <a:pt x="4" y="10"/>
                      <a:pt x="12" y="8"/>
                    </a:cubicBezTo>
                    <a:cubicBezTo>
                      <a:pt x="20" y="7"/>
                      <a:pt x="30" y="5"/>
                      <a:pt x="42" y="3"/>
                    </a:cubicBezTo>
                    <a:cubicBezTo>
                      <a:pt x="54" y="2"/>
                      <a:pt x="64" y="1"/>
                      <a:pt x="72" y="0"/>
                    </a:cubicBezTo>
                    <a:cubicBezTo>
                      <a:pt x="80" y="0"/>
                      <a:pt x="85" y="0"/>
                      <a:pt x="8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9" name="任意多边形: 形状 1278">
                <a:extLst>
                  <a:ext uri="{FF2B5EF4-FFF2-40B4-BE49-F238E27FC236}">
                    <a16:creationId xmlns:a16="http://schemas.microsoft.com/office/drawing/2014/main" id="{37F574F8-1A32-4CFD-B011-C26B2FA74A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1876" y="2557463"/>
                <a:ext cx="15875" cy="44450"/>
              </a:xfrm>
              <a:custGeom>
                <a:avLst/>
                <a:gdLst>
                  <a:gd name="T0" fmla="*/ 0 w 7"/>
                  <a:gd name="T1" fmla="*/ 0 h 20"/>
                  <a:gd name="T2" fmla="*/ 7 w 7"/>
                  <a:gd name="T3" fmla="*/ 20 h 20"/>
                  <a:gd name="T4" fmla="*/ 1 w 7"/>
                  <a:gd name="T5" fmla="*/ 4 h 20"/>
                  <a:gd name="T6" fmla="*/ 0 w 7"/>
                  <a:gd name="T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20">
                    <a:moveTo>
                      <a:pt x="0" y="0"/>
                    </a:moveTo>
                    <a:cubicBezTo>
                      <a:pt x="2" y="5"/>
                      <a:pt x="4" y="12"/>
                      <a:pt x="7" y="20"/>
                    </a:cubicBezTo>
                    <a:cubicBezTo>
                      <a:pt x="5" y="14"/>
                      <a:pt x="3" y="9"/>
                      <a:pt x="1" y="4"/>
                    </a:cubicBezTo>
                    <a:cubicBezTo>
                      <a:pt x="1" y="3"/>
                      <a:pt x="0" y="1"/>
                      <a:pt x="0" y="0"/>
                    </a:cubicBezTo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0" name="任意多边形: 形状 1279">
                <a:extLst>
                  <a:ext uri="{FF2B5EF4-FFF2-40B4-BE49-F238E27FC236}">
                    <a16:creationId xmlns:a16="http://schemas.microsoft.com/office/drawing/2014/main" id="{119FA104-6405-41EA-9224-3EFDF8D99A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37588" y="2522538"/>
                <a:ext cx="15875" cy="42863"/>
              </a:xfrm>
              <a:custGeom>
                <a:avLst/>
                <a:gdLst>
                  <a:gd name="T0" fmla="*/ 0 w 7"/>
                  <a:gd name="T1" fmla="*/ 0 h 19"/>
                  <a:gd name="T2" fmla="*/ 6 w 7"/>
                  <a:gd name="T3" fmla="*/ 15 h 19"/>
                  <a:gd name="T4" fmla="*/ 7 w 7"/>
                  <a:gd name="T5" fmla="*/ 19 h 19"/>
                  <a:gd name="T6" fmla="*/ 0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cubicBezTo>
                      <a:pt x="0" y="0"/>
                      <a:pt x="2" y="5"/>
                      <a:pt x="6" y="15"/>
                    </a:cubicBezTo>
                    <a:cubicBezTo>
                      <a:pt x="6" y="16"/>
                      <a:pt x="7" y="18"/>
                      <a:pt x="7" y="19"/>
                    </a:cubicBezTo>
                    <a:cubicBezTo>
                      <a:pt x="3" y="7"/>
                      <a:pt x="0" y="0"/>
                      <a:pt x="0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1" name="任意多边形: 形状 1280">
                <a:extLst>
                  <a:ext uri="{FF2B5EF4-FFF2-40B4-BE49-F238E27FC236}">
                    <a16:creationId xmlns:a16="http://schemas.microsoft.com/office/drawing/2014/main" id="{F33B72EE-2112-4FB9-94B3-B699A05C28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4413" y="2751138"/>
                <a:ext cx="1427163" cy="1063625"/>
              </a:xfrm>
              <a:custGeom>
                <a:avLst/>
                <a:gdLst>
                  <a:gd name="T0" fmla="*/ 589 w 624"/>
                  <a:gd name="T1" fmla="*/ 0 h 465"/>
                  <a:gd name="T2" fmla="*/ 593 w 624"/>
                  <a:gd name="T3" fmla="*/ 36 h 465"/>
                  <a:gd name="T4" fmla="*/ 593 w 624"/>
                  <a:gd name="T5" fmla="*/ 51 h 465"/>
                  <a:gd name="T6" fmla="*/ 593 w 624"/>
                  <a:gd name="T7" fmla="*/ 53 h 465"/>
                  <a:gd name="T8" fmla="*/ 593 w 624"/>
                  <a:gd name="T9" fmla="*/ 54 h 465"/>
                  <a:gd name="T10" fmla="*/ 593 w 624"/>
                  <a:gd name="T11" fmla="*/ 59 h 465"/>
                  <a:gd name="T12" fmla="*/ 593 w 624"/>
                  <a:gd name="T13" fmla="*/ 59 h 465"/>
                  <a:gd name="T14" fmla="*/ 593 w 624"/>
                  <a:gd name="T15" fmla="*/ 65 h 465"/>
                  <a:gd name="T16" fmla="*/ 593 w 624"/>
                  <a:gd name="T17" fmla="*/ 66 h 465"/>
                  <a:gd name="T18" fmla="*/ 593 w 624"/>
                  <a:gd name="T19" fmla="*/ 68 h 465"/>
                  <a:gd name="T20" fmla="*/ 593 w 624"/>
                  <a:gd name="T21" fmla="*/ 83 h 465"/>
                  <a:gd name="T22" fmla="*/ 583 w 624"/>
                  <a:gd name="T23" fmla="*/ 148 h 465"/>
                  <a:gd name="T24" fmla="*/ 568 w 624"/>
                  <a:gd name="T25" fmla="*/ 194 h 465"/>
                  <a:gd name="T26" fmla="*/ 543 w 624"/>
                  <a:gd name="T27" fmla="*/ 245 h 465"/>
                  <a:gd name="T28" fmla="*/ 451 w 624"/>
                  <a:gd name="T29" fmla="*/ 348 h 465"/>
                  <a:gd name="T30" fmla="*/ 394 w 624"/>
                  <a:gd name="T31" fmla="*/ 384 h 465"/>
                  <a:gd name="T32" fmla="*/ 257 w 624"/>
                  <a:gd name="T33" fmla="*/ 422 h 465"/>
                  <a:gd name="T34" fmla="*/ 231 w 624"/>
                  <a:gd name="T35" fmla="*/ 423 h 465"/>
                  <a:gd name="T36" fmla="*/ 204 w 624"/>
                  <a:gd name="T37" fmla="*/ 422 h 465"/>
                  <a:gd name="T38" fmla="*/ 156 w 624"/>
                  <a:gd name="T39" fmla="*/ 415 h 465"/>
                  <a:gd name="T40" fmla="*/ 107 w 624"/>
                  <a:gd name="T41" fmla="*/ 401 h 465"/>
                  <a:gd name="T42" fmla="*/ 1 w 624"/>
                  <a:gd name="T43" fmla="*/ 341 h 465"/>
                  <a:gd name="T44" fmla="*/ 0 w 624"/>
                  <a:gd name="T45" fmla="*/ 348 h 465"/>
                  <a:gd name="T46" fmla="*/ 256 w 624"/>
                  <a:gd name="T47" fmla="*/ 465 h 465"/>
                  <a:gd name="T48" fmla="*/ 420 w 624"/>
                  <a:gd name="T49" fmla="*/ 422 h 465"/>
                  <a:gd name="T50" fmla="*/ 589 w 624"/>
                  <a:gd name="T51" fmla="*/ 0 h 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24" h="465">
                    <a:moveTo>
                      <a:pt x="589" y="0"/>
                    </a:moveTo>
                    <a:cubicBezTo>
                      <a:pt x="591" y="14"/>
                      <a:pt x="592" y="27"/>
                      <a:pt x="593" y="36"/>
                    </a:cubicBezTo>
                    <a:cubicBezTo>
                      <a:pt x="593" y="42"/>
                      <a:pt x="593" y="47"/>
                      <a:pt x="593" y="51"/>
                    </a:cubicBezTo>
                    <a:cubicBezTo>
                      <a:pt x="593" y="51"/>
                      <a:pt x="593" y="52"/>
                      <a:pt x="593" y="53"/>
                    </a:cubicBezTo>
                    <a:cubicBezTo>
                      <a:pt x="593" y="53"/>
                      <a:pt x="593" y="53"/>
                      <a:pt x="593" y="54"/>
                    </a:cubicBezTo>
                    <a:cubicBezTo>
                      <a:pt x="593" y="57"/>
                      <a:pt x="593" y="59"/>
                      <a:pt x="593" y="59"/>
                    </a:cubicBezTo>
                    <a:cubicBezTo>
                      <a:pt x="593" y="59"/>
                      <a:pt x="593" y="59"/>
                      <a:pt x="593" y="59"/>
                    </a:cubicBezTo>
                    <a:cubicBezTo>
                      <a:pt x="593" y="59"/>
                      <a:pt x="593" y="61"/>
                      <a:pt x="593" y="65"/>
                    </a:cubicBezTo>
                    <a:cubicBezTo>
                      <a:pt x="593" y="65"/>
                      <a:pt x="593" y="66"/>
                      <a:pt x="593" y="66"/>
                    </a:cubicBezTo>
                    <a:cubicBezTo>
                      <a:pt x="593" y="67"/>
                      <a:pt x="593" y="67"/>
                      <a:pt x="593" y="68"/>
                    </a:cubicBezTo>
                    <a:cubicBezTo>
                      <a:pt x="593" y="72"/>
                      <a:pt x="593" y="77"/>
                      <a:pt x="593" y="83"/>
                    </a:cubicBezTo>
                    <a:cubicBezTo>
                      <a:pt x="592" y="98"/>
                      <a:pt x="590" y="120"/>
                      <a:pt x="583" y="148"/>
                    </a:cubicBezTo>
                    <a:cubicBezTo>
                      <a:pt x="579" y="162"/>
                      <a:pt x="575" y="177"/>
                      <a:pt x="568" y="194"/>
                    </a:cubicBezTo>
                    <a:cubicBezTo>
                      <a:pt x="562" y="210"/>
                      <a:pt x="554" y="227"/>
                      <a:pt x="543" y="245"/>
                    </a:cubicBezTo>
                    <a:cubicBezTo>
                      <a:pt x="522" y="280"/>
                      <a:pt x="492" y="317"/>
                      <a:pt x="451" y="348"/>
                    </a:cubicBezTo>
                    <a:cubicBezTo>
                      <a:pt x="434" y="361"/>
                      <a:pt x="415" y="374"/>
                      <a:pt x="394" y="384"/>
                    </a:cubicBezTo>
                    <a:cubicBezTo>
                      <a:pt x="348" y="410"/>
                      <a:pt x="301" y="420"/>
                      <a:pt x="257" y="422"/>
                    </a:cubicBezTo>
                    <a:cubicBezTo>
                      <a:pt x="248" y="422"/>
                      <a:pt x="240" y="423"/>
                      <a:pt x="231" y="423"/>
                    </a:cubicBezTo>
                    <a:cubicBezTo>
                      <a:pt x="222" y="423"/>
                      <a:pt x="213" y="422"/>
                      <a:pt x="204" y="422"/>
                    </a:cubicBezTo>
                    <a:cubicBezTo>
                      <a:pt x="188" y="421"/>
                      <a:pt x="172" y="418"/>
                      <a:pt x="156" y="415"/>
                    </a:cubicBezTo>
                    <a:cubicBezTo>
                      <a:pt x="140" y="411"/>
                      <a:pt x="123" y="407"/>
                      <a:pt x="107" y="401"/>
                    </a:cubicBezTo>
                    <a:cubicBezTo>
                      <a:pt x="70" y="388"/>
                      <a:pt x="34" y="367"/>
                      <a:pt x="1" y="341"/>
                    </a:cubicBezTo>
                    <a:cubicBezTo>
                      <a:pt x="1" y="343"/>
                      <a:pt x="1" y="345"/>
                      <a:pt x="0" y="348"/>
                    </a:cubicBezTo>
                    <a:cubicBezTo>
                      <a:pt x="54" y="401"/>
                      <a:pt x="142" y="465"/>
                      <a:pt x="256" y="465"/>
                    </a:cubicBezTo>
                    <a:cubicBezTo>
                      <a:pt x="306" y="465"/>
                      <a:pt x="361" y="453"/>
                      <a:pt x="420" y="422"/>
                    </a:cubicBezTo>
                    <a:cubicBezTo>
                      <a:pt x="624" y="316"/>
                      <a:pt x="616" y="119"/>
                      <a:pt x="589" y="0"/>
                    </a:cubicBezTo>
                  </a:path>
                </a:pathLst>
              </a:custGeom>
              <a:solidFill>
                <a:srgbClr val="092E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2" name="任意多边形: 形状 1281">
                <a:extLst>
                  <a:ext uri="{FF2B5EF4-FFF2-40B4-BE49-F238E27FC236}">
                    <a16:creationId xmlns:a16="http://schemas.microsoft.com/office/drawing/2014/main" id="{35115517-3BC4-49AB-8729-D1369D5BEE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10563" y="2601913"/>
                <a:ext cx="508000" cy="996950"/>
              </a:xfrm>
              <a:custGeom>
                <a:avLst/>
                <a:gdLst>
                  <a:gd name="T0" fmla="*/ 179 w 222"/>
                  <a:gd name="T1" fmla="*/ 131 h 436"/>
                  <a:gd name="T2" fmla="*/ 179 w 222"/>
                  <a:gd name="T3" fmla="*/ 133 h 436"/>
                  <a:gd name="T4" fmla="*/ 179 w 222"/>
                  <a:gd name="T5" fmla="*/ 131 h 436"/>
                  <a:gd name="T6" fmla="*/ 179 w 222"/>
                  <a:gd name="T7" fmla="*/ 116 h 436"/>
                  <a:gd name="T8" fmla="*/ 179 w 222"/>
                  <a:gd name="T9" fmla="*/ 118 h 436"/>
                  <a:gd name="T10" fmla="*/ 179 w 222"/>
                  <a:gd name="T11" fmla="*/ 116 h 436"/>
                  <a:gd name="T12" fmla="*/ 156 w 222"/>
                  <a:gd name="T13" fmla="*/ 0 h 436"/>
                  <a:gd name="T14" fmla="*/ 0 w 222"/>
                  <a:gd name="T15" fmla="*/ 436 h 436"/>
                  <a:gd name="T16" fmla="*/ 36 w 222"/>
                  <a:gd name="T17" fmla="*/ 412 h 436"/>
                  <a:gd name="T18" fmla="*/ 128 w 222"/>
                  <a:gd name="T19" fmla="*/ 309 h 436"/>
                  <a:gd name="T20" fmla="*/ 153 w 222"/>
                  <a:gd name="T21" fmla="*/ 258 h 436"/>
                  <a:gd name="T22" fmla="*/ 168 w 222"/>
                  <a:gd name="T23" fmla="*/ 213 h 436"/>
                  <a:gd name="T24" fmla="*/ 178 w 222"/>
                  <a:gd name="T25" fmla="*/ 148 h 436"/>
                  <a:gd name="T26" fmla="*/ 179 w 222"/>
                  <a:gd name="T27" fmla="*/ 130 h 436"/>
                  <a:gd name="T28" fmla="*/ 179 w 222"/>
                  <a:gd name="T29" fmla="*/ 124 h 436"/>
                  <a:gd name="T30" fmla="*/ 179 w 222"/>
                  <a:gd name="T31" fmla="*/ 119 h 436"/>
                  <a:gd name="T32" fmla="*/ 178 w 222"/>
                  <a:gd name="T33" fmla="*/ 101 h 436"/>
                  <a:gd name="T34" fmla="*/ 171 w 222"/>
                  <a:gd name="T35" fmla="*/ 51 h 436"/>
                  <a:gd name="T36" fmla="*/ 156 w 222"/>
                  <a:gd name="T37" fmla="*/ 0 h 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2" h="436">
                    <a:moveTo>
                      <a:pt x="179" y="131"/>
                    </a:moveTo>
                    <a:cubicBezTo>
                      <a:pt x="179" y="132"/>
                      <a:pt x="179" y="132"/>
                      <a:pt x="179" y="133"/>
                    </a:cubicBezTo>
                    <a:cubicBezTo>
                      <a:pt x="179" y="132"/>
                      <a:pt x="179" y="132"/>
                      <a:pt x="179" y="131"/>
                    </a:cubicBezTo>
                    <a:moveTo>
                      <a:pt x="179" y="116"/>
                    </a:moveTo>
                    <a:cubicBezTo>
                      <a:pt x="179" y="117"/>
                      <a:pt x="179" y="117"/>
                      <a:pt x="179" y="118"/>
                    </a:cubicBezTo>
                    <a:cubicBezTo>
                      <a:pt x="179" y="117"/>
                      <a:pt x="179" y="116"/>
                      <a:pt x="179" y="116"/>
                    </a:cubicBezTo>
                    <a:moveTo>
                      <a:pt x="156" y="0"/>
                    </a:moveTo>
                    <a:cubicBezTo>
                      <a:pt x="183" y="81"/>
                      <a:pt x="222" y="288"/>
                      <a:pt x="0" y="436"/>
                    </a:cubicBezTo>
                    <a:cubicBezTo>
                      <a:pt x="13" y="429"/>
                      <a:pt x="25" y="421"/>
                      <a:pt x="36" y="412"/>
                    </a:cubicBezTo>
                    <a:cubicBezTo>
                      <a:pt x="77" y="381"/>
                      <a:pt x="107" y="344"/>
                      <a:pt x="128" y="309"/>
                    </a:cubicBezTo>
                    <a:cubicBezTo>
                      <a:pt x="139" y="292"/>
                      <a:pt x="147" y="275"/>
                      <a:pt x="153" y="258"/>
                    </a:cubicBezTo>
                    <a:cubicBezTo>
                      <a:pt x="160" y="242"/>
                      <a:pt x="164" y="227"/>
                      <a:pt x="168" y="213"/>
                    </a:cubicBezTo>
                    <a:cubicBezTo>
                      <a:pt x="175" y="185"/>
                      <a:pt x="177" y="163"/>
                      <a:pt x="178" y="148"/>
                    </a:cubicBezTo>
                    <a:cubicBezTo>
                      <a:pt x="179" y="140"/>
                      <a:pt x="179" y="134"/>
                      <a:pt x="179" y="130"/>
                    </a:cubicBezTo>
                    <a:cubicBezTo>
                      <a:pt x="179" y="126"/>
                      <a:pt x="179" y="124"/>
                      <a:pt x="179" y="124"/>
                    </a:cubicBezTo>
                    <a:cubicBezTo>
                      <a:pt x="179" y="124"/>
                      <a:pt x="179" y="122"/>
                      <a:pt x="179" y="119"/>
                    </a:cubicBezTo>
                    <a:cubicBezTo>
                      <a:pt x="179" y="115"/>
                      <a:pt x="179" y="109"/>
                      <a:pt x="178" y="101"/>
                    </a:cubicBezTo>
                    <a:cubicBezTo>
                      <a:pt x="178" y="89"/>
                      <a:pt x="176" y="72"/>
                      <a:pt x="171" y="51"/>
                    </a:cubicBezTo>
                    <a:cubicBezTo>
                      <a:pt x="166" y="31"/>
                      <a:pt x="161" y="14"/>
                      <a:pt x="156" y="0"/>
                    </a:cubicBezTo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3" name="任意多边形: 形状 1282">
                <a:extLst>
                  <a:ext uri="{FF2B5EF4-FFF2-40B4-BE49-F238E27FC236}">
                    <a16:creationId xmlns:a16="http://schemas.microsoft.com/office/drawing/2014/main" id="{1CB8507A-72BC-4C4D-AB9D-44F531567D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66001" y="2719388"/>
                <a:ext cx="1354138" cy="998538"/>
              </a:xfrm>
              <a:custGeom>
                <a:avLst/>
                <a:gdLst>
                  <a:gd name="T0" fmla="*/ 0 w 592"/>
                  <a:gd name="T1" fmla="*/ 353 h 437"/>
                  <a:gd name="T2" fmla="*/ 0 w 592"/>
                  <a:gd name="T3" fmla="*/ 355 h 437"/>
                  <a:gd name="T4" fmla="*/ 106 w 592"/>
                  <a:gd name="T5" fmla="*/ 415 h 437"/>
                  <a:gd name="T6" fmla="*/ 155 w 592"/>
                  <a:gd name="T7" fmla="*/ 429 h 437"/>
                  <a:gd name="T8" fmla="*/ 203 w 592"/>
                  <a:gd name="T9" fmla="*/ 436 h 437"/>
                  <a:gd name="T10" fmla="*/ 230 w 592"/>
                  <a:gd name="T11" fmla="*/ 437 h 437"/>
                  <a:gd name="T12" fmla="*/ 256 w 592"/>
                  <a:gd name="T13" fmla="*/ 436 h 437"/>
                  <a:gd name="T14" fmla="*/ 239 w 592"/>
                  <a:gd name="T15" fmla="*/ 436 h 437"/>
                  <a:gd name="T16" fmla="*/ 187 w 592"/>
                  <a:gd name="T17" fmla="*/ 433 h 437"/>
                  <a:gd name="T18" fmla="*/ 0 w 592"/>
                  <a:gd name="T19" fmla="*/ 353 h 437"/>
                  <a:gd name="T20" fmla="*/ 584 w 592"/>
                  <a:gd name="T21" fmla="*/ 0 h 437"/>
                  <a:gd name="T22" fmla="*/ 591 w 592"/>
                  <a:gd name="T23" fmla="*/ 50 h 437"/>
                  <a:gd name="T24" fmla="*/ 592 w 592"/>
                  <a:gd name="T25" fmla="*/ 68 h 437"/>
                  <a:gd name="T26" fmla="*/ 592 w 592"/>
                  <a:gd name="T27" fmla="*/ 73 h 437"/>
                  <a:gd name="T28" fmla="*/ 592 w 592"/>
                  <a:gd name="T29" fmla="*/ 79 h 437"/>
                  <a:gd name="T30" fmla="*/ 591 w 592"/>
                  <a:gd name="T31" fmla="*/ 97 h 437"/>
                  <a:gd name="T32" fmla="*/ 581 w 592"/>
                  <a:gd name="T33" fmla="*/ 162 h 437"/>
                  <a:gd name="T34" fmla="*/ 566 w 592"/>
                  <a:gd name="T35" fmla="*/ 207 h 437"/>
                  <a:gd name="T36" fmla="*/ 541 w 592"/>
                  <a:gd name="T37" fmla="*/ 258 h 437"/>
                  <a:gd name="T38" fmla="*/ 449 w 592"/>
                  <a:gd name="T39" fmla="*/ 361 h 437"/>
                  <a:gd name="T40" fmla="*/ 413 w 592"/>
                  <a:gd name="T41" fmla="*/ 385 h 437"/>
                  <a:gd name="T42" fmla="*/ 402 w 592"/>
                  <a:gd name="T43" fmla="*/ 392 h 437"/>
                  <a:gd name="T44" fmla="*/ 393 w 592"/>
                  <a:gd name="T45" fmla="*/ 398 h 437"/>
                  <a:gd name="T46" fmla="*/ 450 w 592"/>
                  <a:gd name="T47" fmla="*/ 362 h 437"/>
                  <a:gd name="T48" fmla="*/ 542 w 592"/>
                  <a:gd name="T49" fmla="*/ 259 h 437"/>
                  <a:gd name="T50" fmla="*/ 567 w 592"/>
                  <a:gd name="T51" fmla="*/ 208 h 437"/>
                  <a:gd name="T52" fmla="*/ 582 w 592"/>
                  <a:gd name="T53" fmla="*/ 162 h 437"/>
                  <a:gd name="T54" fmla="*/ 592 w 592"/>
                  <a:gd name="T55" fmla="*/ 97 h 437"/>
                  <a:gd name="T56" fmla="*/ 592 w 592"/>
                  <a:gd name="T57" fmla="*/ 82 h 437"/>
                  <a:gd name="T58" fmla="*/ 592 w 592"/>
                  <a:gd name="T59" fmla="*/ 80 h 437"/>
                  <a:gd name="T60" fmla="*/ 592 w 592"/>
                  <a:gd name="T61" fmla="*/ 79 h 437"/>
                  <a:gd name="T62" fmla="*/ 592 w 592"/>
                  <a:gd name="T63" fmla="*/ 73 h 437"/>
                  <a:gd name="T64" fmla="*/ 592 w 592"/>
                  <a:gd name="T65" fmla="*/ 73 h 437"/>
                  <a:gd name="T66" fmla="*/ 592 w 592"/>
                  <a:gd name="T67" fmla="*/ 68 h 437"/>
                  <a:gd name="T68" fmla="*/ 592 w 592"/>
                  <a:gd name="T69" fmla="*/ 67 h 437"/>
                  <a:gd name="T70" fmla="*/ 592 w 592"/>
                  <a:gd name="T71" fmla="*/ 65 h 437"/>
                  <a:gd name="T72" fmla="*/ 592 w 592"/>
                  <a:gd name="T73" fmla="*/ 50 h 437"/>
                  <a:gd name="T74" fmla="*/ 588 w 592"/>
                  <a:gd name="T75" fmla="*/ 14 h 437"/>
                  <a:gd name="T76" fmla="*/ 584 w 592"/>
                  <a:gd name="T77" fmla="*/ 0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92" h="437">
                    <a:moveTo>
                      <a:pt x="0" y="353"/>
                    </a:moveTo>
                    <a:cubicBezTo>
                      <a:pt x="0" y="353"/>
                      <a:pt x="0" y="354"/>
                      <a:pt x="0" y="355"/>
                    </a:cubicBezTo>
                    <a:cubicBezTo>
                      <a:pt x="33" y="381"/>
                      <a:pt x="69" y="402"/>
                      <a:pt x="106" y="415"/>
                    </a:cubicBezTo>
                    <a:cubicBezTo>
                      <a:pt x="122" y="421"/>
                      <a:pt x="139" y="425"/>
                      <a:pt x="155" y="429"/>
                    </a:cubicBezTo>
                    <a:cubicBezTo>
                      <a:pt x="171" y="432"/>
                      <a:pt x="187" y="435"/>
                      <a:pt x="203" y="436"/>
                    </a:cubicBezTo>
                    <a:cubicBezTo>
                      <a:pt x="212" y="436"/>
                      <a:pt x="221" y="437"/>
                      <a:pt x="230" y="437"/>
                    </a:cubicBezTo>
                    <a:cubicBezTo>
                      <a:pt x="239" y="437"/>
                      <a:pt x="247" y="436"/>
                      <a:pt x="256" y="436"/>
                    </a:cubicBezTo>
                    <a:cubicBezTo>
                      <a:pt x="250" y="436"/>
                      <a:pt x="245" y="436"/>
                      <a:pt x="239" y="436"/>
                    </a:cubicBezTo>
                    <a:cubicBezTo>
                      <a:pt x="221" y="436"/>
                      <a:pt x="203" y="435"/>
                      <a:pt x="187" y="433"/>
                    </a:cubicBezTo>
                    <a:cubicBezTo>
                      <a:pt x="106" y="425"/>
                      <a:pt x="42" y="387"/>
                      <a:pt x="0" y="353"/>
                    </a:cubicBezTo>
                    <a:moveTo>
                      <a:pt x="584" y="0"/>
                    </a:moveTo>
                    <a:cubicBezTo>
                      <a:pt x="589" y="21"/>
                      <a:pt x="591" y="38"/>
                      <a:pt x="591" y="50"/>
                    </a:cubicBezTo>
                    <a:cubicBezTo>
                      <a:pt x="592" y="58"/>
                      <a:pt x="592" y="64"/>
                      <a:pt x="592" y="68"/>
                    </a:cubicBezTo>
                    <a:cubicBezTo>
                      <a:pt x="592" y="71"/>
                      <a:pt x="592" y="73"/>
                      <a:pt x="592" y="73"/>
                    </a:cubicBezTo>
                    <a:cubicBezTo>
                      <a:pt x="592" y="73"/>
                      <a:pt x="592" y="75"/>
                      <a:pt x="592" y="79"/>
                    </a:cubicBezTo>
                    <a:cubicBezTo>
                      <a:pt x="592" y="83"/>
                      <a:pt x="592" y="89"/>
                      <a:pt x="591" y="97"/>
                    </a:cubicBezTo>
                    <a:cubicBezTo>
                      <a:pt x="590" y="112"/>
                      <a:pt x="588" y="134"/>
                      <a:pt x="581" y="162"/>
                    </a:cubicBezTo>
                    <a:cubicBezTo>
                      <a:pt x="577" y="176"/>
                      <a:pt x="573" y="191"/>
                      <a:pt x="566" y="207"/>
                    </a:cubicBezTo>
                    <a:cubicBezTo>
                      <a:pt x="560" y="224"/>
                      <a:pt x="552" y="241"/>
                      <a:pt x="541" y="258"/>
                    </a:cubicBezTo>
                    <a:cubicBezTo>
                      <a:pt x="520" y="293"/>
                      <a:pt x="490" y="330"/>
                      <a:pt x="449" y="361"/>
                    </a:cubicBezTo>
                    <a:cubicBezTo>
                      <a:pt x="438" y="370"/>
                      <a:pt x="426" y="378"/>
                      <a:pt x="413" y="385"/>
                    </a:cubicBezTo>
                    <a:cubicBezTo>
                      <a:pt x="409" y="388"/>
                      <a:pt x="406" y="390"/>
                      <a:pt x="402" y="392"/>
                    </a:cubicBezTo>
                    <a:cubicBezTo>
                      <a:pt x="399" y="394"/>
                      <a:pt x="396" y="396"/>
                      <a:pt x="393" y="398"/>
                    </a:cubicBezTo>
                    <a:cubicBezTo>
                      <a:pt x="414" y="388"/>
                      <a:pt x="433" y="375"/>
                      <a:pt x="450" y="362"/>
                    </a:cubicBezTo>
                    <a:cubicBezTo>
                      <a:pt x="491" y="331"/>
                      <a:pt x="521" y="294"/>
                      <a:pt x="542" y="259"/>
                    </a:cubicBezTo>
                    <a:cubicBezTo>
                      <a:pt x="553" y="241"/>
                      <a:pt x="561" y="224"/>
                      <a:pt x="567" y="208"/>
                    </a:cubicBezTo>
                    <a:cubicBezTo>
                      <a:pt x="574" y="191"/>
                      <a:pt x="578" y="176"/>
                      <a:pt x="582" y="162"/>
                    </a:cubicBezTo>
                    <a:cubicBezTo>
                      <a:pt x="589" y="134"/>
                      <a:pt x="591" y="112"/>
                      <a:pt x="592" y="97"/>
                    </a:cubicBezTo>
                    <a:cubicBezTo>
                      <a:pt x="592" y="91"/>
                      <a:pt x="592" y="86"/>
                      <a:pt x="592" y="82"/>
                    </a:cubicBezTo>
                    <a:cubicBezTo>
                      <a:pt x="592" y="81"/>
                      <a:pt x="592" y="81"/>
                      <a:pt x="592" y="80"/>
                    </a:cubicBezTo>
                    <a:cubicBezTo>
                      <a:pt x="592" y="80"/>
                      <a:pt x="592" y="79"/>
                      <a:pt x="592" y="79"/>
                    </a:cubicBezTo>
                    <a:cubicBezTo>
                      <a:pt x="592" y="75"/>
                      <a:pt x="592" y="73"/>
                      <a:pt x="592" y="73"/>
                    </a:cubicBezTo>
                    <a:cubicBezTo>
                      <a:pt x="592" y="73"/>
                      <a:pt x="592" y="73"/>
                      <a:pt x="592" y="73"/>
                    </a:cubicBezTo>
                    <a:cubicBezTo>
                      <a:pt x="592" y="73"/>
                      <a:pt x="592" y="71"/>
                      <a:pt x="592" y="68"/>
                    </a:cubicBezTo>
                    <a:cubicBezTo>
                      <a:pt x="592" y="67"/>
                      <a:pt x="592" y="67"/>
                      <a:pt x="592" y="67"/>
                    </a:cubicBezTo>
                    <a:cubicBezTo>
                      <a:pt x="592" y="66"/>
                      <a:pt x="592" y="66"/>
                      <a:pt x="592" y="65"/>
                    </a:cubicBezTo>
                    <a:cubicBezTo>
                      <a:pt x="592" y="61"/>
                      <a:pt x="592" y="56"/>
                      <a:pt x="592" y="50"/>
                    </a:cubicBezTo>
                    <a:cubicBezTo>
                      <a:pt x="591" y="41"/>
                      <a:pt x="590" y="28"/>
                      <a:pt x="588" y="14"/>
                    </a:cubicBezTo>
                    <a:cubicBezTo>
                      <a:pt x="587" y="9"/>
                      <a:pt x="586" y="5"/>
                      <a:pt x="584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4" name="任意多边形: 形状 1283">
                <a:extLst>
                  <a:ext uri="{FF2B5EF4-FFF2-40B4-BE49-F238E27FC236}">
                    <a16:creationId xmlns:a16="http://schemas.microsoft.com/office/drawing/2014/main" id="{10F166B8-722E-4AD0-8D93-B0E25D0309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8763" y="2447926"/>
                <a:ext cx="249238" cy="604838"/>
              </a:xfrm>
              <a:custGeom>
                <a:avLst/>
                <a:gdLst>
                  <a:gd name="T0" fmla="*/ 107 w 109"/>
                  <a:gd name="T1" fmla="*/ 0 h 265"/>
                  <a:gd name="T2" fmla="*/ 102 w 109"/>
                  <a:gd name="T3" fmla="*/ 159 h 265"/>
                  <a:gd name="T4" fmla="*/ 91 w 109"/>
                  <a:gd name="T5" fmla="*/ 215 h 265"/>
                  <a:gd name="T6" fmla="*/ 53 w 109"/>
                  <a:gd name="T7" fmla="*/ 257 h 265"/>
                  <a:gd name="T8" fmla="*/ 0 w 109"/>
                  <a:gd name="T9" fmla="*/ 247 h 265"/>
                  <a:gd name="T10" fmla="*/ 107 w 109"/>
                  <a:gd name="T11" fmla="*/ 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9" h="265">
                    <a:moveTo>
                      <a:pt x="107" y="0"/>
                    </a:moveTo>
                    <a:cubicBezTo>
                      <a:pt x="109" y="53"/>
                      <a:pt x="107" y="106"/>
                      <a:pt x="102" y="159"/>
                    </a:cubicBezTo>
                    <a:cubicBezTo>
                      <a:pt x="100" y="178"/>
                      <a:pt x="98" y="198"/>
                      <a:pt x="91" y="215"/>
                    </a:cubicBezTo>
                    <a:cubicBezTo>
                      <a:pt x="84" y="233"/>
                      <a:pt x="71" y="250"/>
                      <a:pt x="53" y="257"/>
                    </a:cubicBezTo>
                    <a:cubicBezTo>
                      <a:pt x="35" y="265"/>
                      <a:pt x="13" y="262"/>
                      <a:pt x="0" y="247"/>
                    </a:cubicBezTo>
                    <a:cubicBezTo>
                      <a:pt x="107" y="0"/>
                      <a:pt x="107" y="0"/>
                      <a:pt x="107" y="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5" name="任意多边形: 形状 1284">
                <a:extLst>
                  <a:ext uri="{FF2B5EF4-FFF2-40B4-BE49-F238E27FC236}">
                    <a16:creationId xmlns:a16="http://schemas.microsoft.com/office/drawing/2014/main" id="{9B962CE0-3434-4ECF-A741-EFD39FE525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4001" y="2314576"/>
                <a:ext cx="301625" cy="601663"/>
              </a:xfrm>
              <a:custGeom>
                <a:avLst/>
                <a:gdLst>
                  <a:gd name="T0" fmla="*/ 0 w 190"/>
                  <a:gd name="T1" fmla="*/ 320 h 379"/>
                  <a:gd name="T2" fmla="*/ 190 w 190"/>
                  <a:gd name="T3" fmla="*/ 0 h 379"/>
                  <a:gd name="T4" fmla="*/ 75 w 190"/>
                  <a:gd name="T5" fmla="*/ 360 h 379"/>
                  <a:gd name="T6" fmla="*/ 17 w 190"/>
                  <a:gd name="T7" fmla="*/ 379 h 379"/>
                  <a:gd name="T8" fmla="*/ 0 w 190"/>
                  <a:gd name="T9" fmla="*/ 320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" h="379">
                    <a:moveTo>
                      <a:pt x="0" y="320"/>
                    </a:moveTo>
                    <a:lnTo>
                      <a:pt x="190" y="0"/>
                    </a:lnTo>
                    <a:lnTo>
                      <a:pt x="75" y="360"/>
                    </a:lnTo>
                    <a:lnTo>
                      <a:pt x="17" y="379"/>
                    </a:lnTo>
                    <a:lnTo>
                      <a:pt x="0" y="32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6" name="任意多边形: 形状 1285">
                <a:extLst>
                  <a:ext uri="{FF2B5EF4-FFF2-40B4-BE49-F238E27FC236}">
                    <a16:creationId xmlns:a16="http://schemas.microsoft.com/office/drawing/2014/main" id="{6BCB78AC-D42F-47E7-98E7-F4D09F945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4001" y="2314576"/>
                <a:ext cx="301625" cy="601663"/>
              </a:xfrm>
              <a:custGeom>
                <a:avLst/>
                <a:gdLst>
                  <a:gd name="T0" fmla="*/ 0 w 190"/>
                  <a:gd name="T1" fmla="*/ 320 h 379"/>
                  <a:gd name="T2" fmla="*/ 190 w 190"/>
                  <a:gd name="T3" fmla="*/ 0 h 379"/>
                  <a:gd name="T4" fmla="*/ 75 w 190"/>
                  <a:gd name="T5" fmla="*/ 360 h 379"/>
                  <a:gd name="T6" fmla="*/ 17 w 190"/>
                  <a:gd name="T7" fmla="*/ 379 h 379"/>
                  <a:gd name="T8" fmla="*/ 0 w 190"/>
                  <a:gd name="T9" fmla="*/ 320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" h="379">
                    <a:moveTo>
                      <a:pt x="0" y="320"/>
                    </a:moveTo>
                    <a:lnTo>
                      <a:pt x="190" y="0"/>
                    </a:lnTo>
                    <a:lnTo>
                      <a:pt x="75" y="360"/>
                    </a:lnTo>
                    <a:lnTo>
                      <a:pt x="17" y="379"/>
                    </a:lnTo>
                    <a:lnTo>
                      <a:pt x="0" y="32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7" name="任意多边形: 形状 1286">
                <a:extLst>
                  <a:ext uri="{FF2B5EF4-FFF2-40B4-BE49-F238E27FC236}">
                    <a16:creationId xmlns:a16="http://schemas.microsoft.com/office/drawing/2014/main" id="{F82A2FC7-868E-4EBE-A44E-AEF9A4D8B0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51788" y="2314576"/>
                <a:ext cx="223838" cy="571500"/>
              </a:xfrm>
              <a:custGeom>
                <a:avLst/>
                <a:gdLst>
                  <a:gd name="T0" fmla="*/ 141 w 141"/>
                  <a:gd name="T1" fmla="*/ 0 h 360"/>
                  <a:gd name="T2" fmla="*/ 0 w 141"/>
                  <a:gd name="T3" fmla="*/ 327 h 360"/>
                  <a:gd name="T4" fmla="*/ 26 w 141"/>
                  <a:gd name="T5" fmla="*/ 360 h 360"/>
                  <a:gd name="T6" fmla="*/ 141 w 141"/>
                  <a:gd name="T7" fmla="*/ 0 h 360"/>
                  <a:gd name="T8" fmla="*/ 141 w 141"/>
                  <a:gd name="T9" fmla="*/ 0 h 360"/>
                  <a:gd name="T10" fmla="*/ 141 w 141"/>
                  <a:gd name="T11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1" h="360">
                    <a:moveTo>
                      <a:pt x="141" y="0"/>
                    </a:moveTo>
                    <a:lnTo>
                      <a:pt x="0" y="327"/>
                    </a:lnTo>
                    <a:lnTo>
                      <a:pt x="26" y="360"/>
                    </a:lnTo>
                    <a:lnTo>
                      <a:pt x="141" y="0"/>
                    </a:lnTo>
                    <a:close/>
                    <a:moveTo>
                      <a:pt x="141" y="0"/>
                    </a:moveTo>
                    <a:lnTo>
                      <a:pt x="141" y="0"/>
                    </a:lnTo>
                    <a:close/>
                  </a:path>
                </a:pathLst>
              </a:custGeom>
              <a:solidFill>
                <a:srgbClr val="092E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8" name="任意多边形: 形状 1287">
                <a:extLst>
                  <a:ext uri="{FF2B5EF4-FFF2-40B4-BE49-F238E27FC236}">
                    <a16:creationId xmlns:a16="http://schemas.microsoft.com/office/drawing/2014/main" id="{FA5E436F-1440-4E78-9CF6-76BD895A2C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51788" y="2314576"/>
                <a:ext cx="223838" cy="571500"/>
              </a:xfrm>
              <a:custGeom>
                <a:avLst/>
                <a:gdLst>
                  <a:gd name="T0" fmla="*/ 141 w 141"/>
                  <a:gd name="T1" fmla="*/ 0 h 360"/>
                  <a:gd name="T2" fmla="*/ 0 w 141"/>
                  <a:gd name="T3" fmla="*/ 327 h 360"/>
                  <a:gd name="T4" fmla="*/ 26 w 141"/>
                  <a:gd name="T5" fmla="*/ 360 h 360"/>
                  <a:gd name="T6" fmla="*/ 141 w 141"/>
                  <a:gd name="T7" fmla="*/ 0 h 360"/>
                  <a:gd name="T8" fmla="*/ 141 w 141"/>
                  <a:gd name="T9" fmla="*/ 0 h 360"/>
                  <a:gd name="T10" fmla="*/ 141 w 141"/>
                  <a:gd name="T11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1" h="360">
                    <a:moveTo>
                      <a:pt x="141" y="0"/>
                    </a:moveTo>
                    <a:lnTo>
                      <a:pt x="0" y="327"/>
                    </a:lnTo>
                    <a:lnTo>
                      <a:pt x="26" y="360"/>
                    </a:lnTo>
                    <a:lnTo>
                      <a:pt x="141" y="0"/>
                    </a:lnTo>
                    <a:moveTo>
                      <a:pt x="141" y="0"/>
                    </a:moveTo>
                    <a:lnTo>
                      <a:pt x="141" y="0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9" name="椭圆 1288">
                <a:extLst>
                  <a:ext uri="{FF2B5EF4-FFF2-40B4-BE49-F238E27FC236}">
                    <a16:creationId xmlns:a16="http://schemas.microsoft.com/office/drawing/2014/main" id="{BCAE72E3-F85F-4AAF-8E21-D8A00BD3BA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02563" y="2817813"/>
                <a:ext cx="195263" cy="193675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dirty="0"/>
              </a:p>
            </p:txBody>
          </p:sp>
          <p:sp>
            <p:nvSpPr>
              <p:cNvPr id="1290" name="任意多边形: 形状 1289">
                <a:extLst>
                  <a:ext uri="{FF2B5EF4-FFF2-40B4-BE49-F238E27FC236}">
                    <a16:creationId xmlns:a16="http://schemas.microsoft.com/office/drawing/2014/main" id="{B63B189D-10C5-49A0-9DB3-DE462D4CF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0976" y="2814638"/>
                <a:ext cx="198438" cy="200025"/>
              </a:xfrm>
              <a:custGeom>
                <a:avLst/>
                <a:gdLst>
                  <a:gd name="T0" fmla="*/ 86 w 87"/>
                  <a:gd name="T1" fmla="*/ 44 h 87"/>
                  <a:gd name="T2" fmla="*/ 84 w 87"/>
                  <a:gd name="T3" fmla="*/ 33 h 87"/>
                  <a:gd name="T4" fmla="*/ 69 w 87"/>
                  <a:gd name="T5" fmla="*/ 11 h 87"/>
                  <a:gd name="T6" fmla="*/ 51 w 87"/>
                  <a:gd name="T7" fmla="*/ 3 h 87"/>
                  <a:gd name="T8" fmla="*/ 30 w 87"/>
                  <a:gd name="T9" fmla="*/ 5 h 87"/>
                  <a:gd name="T10" fmla="*/ 19 w 87"/>
                  <a:gd name="T11" fmla="*/ 10 h 87"/>
                  <a:gd name="T12" fmla="*/ 10 w 87"/>
                  <a:gd name="T13" fmla="*/ 19 h 87"/>
                  <a:gd name="T14" fmla="*/ 2 w 87"/>
                  <a:gd name="T15" fmla="*/ 44 h 87"/>
                  <a:gd name="T16" fmla="*/ 10 w 87"/>
                  <a:gd name="T17" fmla="*/ 68 h 87"/>
                  <a:gd name="T18" fmla="*/ 19 w 87"/>
                  <a:gd name="T19" fmla="*/ 77 h 87"/>
                  <a:gd name="T20" fmla="*/ 30 w 87"/>
                  <a:gd name="T21" fmla="*/ 83 h 87"/>
                  <a:gd name="T22" fmla="*/ 51 w 87"/>
                  <a:gd name="T23" fmla="*/ 84 h 87"/>
                  <a:gd name="T24" fmla="*/ 69 w 87"/>
                  <a:gd name="T25" fmla="*/ 77 h 87"/>
                  <a:gd name="T26" fmla="*/ 84 w 87"/>
                  <a:gd name="T27" fmla="*/ 54 h 87"/>
                  <a:gd name="T28" fmla="*/ 86 w 87"/>
                  <a:gd name="T29" fmla="*/ 44 h 87"/>
                  <a:gd name="T30" fmla="*/ 85 w 87"/>
                  <a:gd name="T31" fmla="*/ 54 h 87"/>
                  <a:gd name="T32" fmla="*/ 70 w 87"/>
                  <a:gd name="T33" fmla="*/ 78 h 87"/>
                  <a:gd name="T34" fmla="*/ 52 w 87"/>
                  <a:gd name="T35" fmla="*/ 86 h 87"/>
                  <a:gd name="T36" fmla="*/ 29 w 87"/>
                  <a:gd name="T37" fmla="*/ 84 h 87"/>
                  <a:gd name="T38" fmla="*/ 18 w 87"/>
                  <a:gd name="T39" fmla="*/ 78 h 87"/>
                  <a:gd name="T40" fmla="*/ 9 w 87"/>
                  <a:gd name="T41" fmla="*/ 69 h 87"/>
                  <a:gd name="T42" fmla="*/ 0 w 87"/>
                  <a:gd name="T43" fmla="*/ 44 h 87"/>
                  <a:gd name="T44" fmla="*/ 9 w 87"/>
                  <a:gd name="T45" fmla="*/ 18 h 87"/>
                  <a:gd name="T46" fmla="*/ 18 w 87"/>
                  <a:gd name="T47" fmla="*/ 9 h 87"/>
                  <a:gd name="T48" fmla="*/ 29 w 87"/>
                  <a:gd name="T49" fmla="*/ 3 h 87"/>
                  <a:gd name="T50" fmla="*/ 52 w 87"/>
                  <a:gd name="T51" fmla="*/ 1 h 87"/>
                  <a:gd name="T52" fmla="*/ 70 w 87"/>
                  <a:gd name="T53" fmla="*/ 9 h 87"/>
                  <a:gd name="T54" fmla="*/ 85 w 87"/>
                  <a:gd name="T55" fmla="*/ 33 h 87"/>
                  <a:gd name="T56" fmla="*/ 86 w 87"/>
                  <a:gd name="T57" fmla="*/ 44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7" h="87">
                    <a:moveTo>
                      <a:pt x="86" y="44"/>
                    </a:moveTo>
                    <a:cubicBezTo>
                      <a:pt x="86" y="44"/>
                      <a:pt x="86" y="40"/>
                      <a:pt x="84" y="33"/>
                    </a:cubicBezTo>
                    <a:cubicBezTo>
                      <a:pt x="83" y="27"/>
                      <a:pt x="79" y="18"/>
                      <a:pt x="69" y="11"/>
                    </a:cubicBezTo>
                    <a:cubicBezTo>
                      <a:pt x="64" y="7"/>
                      <a:pt x="58" y="4"/>
                      <a:pt x="51" y="3"/>
                    </a:cubicBezTo>
                    <a:cubicBezTo>
                      <a:pt x="45" y="2"/>
                      <a:pt x="37" y="2"/>
                      <a:pt x="30" y="5"/>
                    </a:cubicBezTo>
                    <a:cubicBezTo>
                      <a:pt x="26" y="6"/>
                      <a:pt x="22" y="8"/>
                      <a:pt x="19" y="10"/>
                    </a:cubicBezTo>
                    <a:cubicBezTo>
                      <a:pt x="16" y="13"/>
                      <a:pt x="13" y="16"/>
                      <a:pt x="10" y="19"/>
                    </a:cubicBezTo>
                    <a:cubicBezTo>
                      <a:pt x="5" y="26"/>
                      <a:pt x="3" y="35"/>
                      <a:pt x="2" y="44"/>
                    </a:cubicBezTo>
                    <a:cubicBezTo>
                      <a:pt x="3" y="53"/>
                      <a:pt x="5" y="61"/>
                      <a:pt x="10" y="68"/>
                    </a:cubicBezTo>
                    <a:cubicBezTo>
                      <a:pt x="13" y="72"/>
                      <a:pt x="16" y="74"/>
                      <a:pt x="19" y="77"/>
                    </a:cubicBezTo>
                    <a:cubicBezTo>
                      <a:pt x="22" y="79"/>
                      <a:pt x="26" y="81"/>
                      <a:pt x="30" y="83"/>
                    </a:cubicBezTo>
                    <a:cubicBezTo>
                      <a:pt x="37" y="85"/>
                      <a:pt x="45" y="86"/>
                      <a:pt x="51" y="84"/>
                    </a:cubicBezTo>
                    <a:cubicBezTo>
                      <a:pt x="58" y="83"/>
                      <a:pt x="64" y="80"/>
                      <a:pt x="69" y="77"/>
                    </a:cubicBezTo>
                    <a:cubicBezTo>
                      <a:pt x="79" y="70"/>
                      <a:pt x="83" y="60"/>
                      <a:pt x="84" y="54"/>
                    </a:cubicBezTo>
                    <a:cubicBezTo>
                      <a:pt x="86" y="47"/>
                      <a:pt x="86" y="44"/>
                      <a:pt x="86" y="44"/>
                    </a:cubicBezTo>
                    <a:cubicBezTo>
                      <a:pt x="86" y="44"/>
                      <a:pt x="87" y="47"/>
                      <a:pt x="85" y="54"/>
                    </a:cubicBezTo>
                    <a:cubicBezTo>
                      <a:pt x="84" y="61"/>
                      <a:pt x="80" y="70"/>
                      <a:pt x="70" y="78"/>
                    </a:cubicBezTo>
                    <a:cubicBezTo>
                      <a:pt x="65" y="82"/>
                      <a:pt x="59" y="85"/>
                      <a:pt x="52" y="86"/>
                    </a:cubicBezTo>
                    <a:cubicBezTo>
                      <a:pt x="45" y="87"/>
                      <a:pt x="37" y="87"/>
                      <a:pt x="29" y="84"/>
                    </a:cubicBezTo>
                    <a:cubicBezTo>
                      <a:pt x="25" y="83"/>
                      <a:pt x="21" y="81"/>
                      <a:pt x="18" y="78"/>
                    </a:cubicBezTo>
                    <a:cubicBezTo>
                      <a:pt x="15" y="76"/>
                      <a:pt x="11" y="73"/>
                      <a:pt x="9" y="69"/>
                    </a:cubicBezTo>
                    <a:cubicBezTo>
                      <a:pt x="3" y="62"/>
                      <a:pt x="0" y="53"/>
                      <a:pt x="0" y="44"/>
                    </a:cubicBezTo>
                    <a:cubicBezTo>
                      <a:pt x="0" y="34"/>
                      <a:pt x="3" y="25"/>
                      <a:pt x="9" y="18"/>
                    </a:cubicBezTo>
                    <a:cubicBezTo>
                      <a:pt x="11" y="14"/>
                      <a:pt x="15" y="11"/>
                      <a:pt x="18" y="9"/>
                    </a:cubicBezTo>
                    <a:cubicBezTo>
                      <a:pt x="21" y="6"/>
                      <a:pt x="25" y="4"/>
                      <a:pt x="29" y="3"/>
                    </a:cubicBezTo>
                    <a:cubicBezTo>
                      <a:pt x="37" y="0"/>
                      <a:pt x="45" y="0"/>
                      <a:pt x="52" y="1"/>
                    </a:cubicBezTo>
                    <a:cubicBezTo>
                      <a:pt x="59" y="2"/>
                      <a:pt x="65" y="6"/>
                      <a:pt x="70" y="9"/>
                    </a:cubicBezTo>
                    <a:cubicBezTo>
                      <a:pt x="80" y="17"/>
                      <a:pt x="84" y="27"/>
                      <a:pt x="85" y="33"/>
                    </a:cubicBezTo>
                    <a:cubicBezTo>
                      <a:pt x="87" y="40"/>
                      <a:pt x="86" y="44"/>
                      <a:pt x="86" y="4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1" name="椭圆 1290">
                <a:extLst>
                  <a:ext uri="{FF2B5EF4-FFF2-40B4-BE49-F238E27FC236}">
                    <a16:creationId xmlns:a16="http://schemas.microsoft.com/office/drawing/2014/main" id="{A235504C-FB9C-4DC6-97C3-CEC58809BC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7963" y="2843213"/>
                <a:ext cx="144463" cy="142875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2" name="任意多边形: 形状 1291">
                <a:extLst>
                  <a:ext uri="{FF2B5EF4-FFF2-40B4-BE49-F238E27FC236}">
                    <a16:creationId xmlns:a16="http://schemas.microsoft.com/office/drawing/2014/main" id="{AC54AB21-D750-4B4F-ACFA-8BB5F0E97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7401" y="3324226"/>
                <a:ext cx="476250" cy="1914525"/>
              </a:xfrm>
              <a:custGeom>
                <a:avLst/>
                <a:gdLst>
                  <a:gd name="T0" fmla="*/ 0 w 300"/>
                  <a:gd name="T1" fmla="*/ 1206 h 1206"/>
                  <a:gd name="T2" fmla="*/ 300 w 300"/>
                  <a:gd name="T3" fmla="*/ 1206 h 1206"/>
                  <a:gd name="T4" fmla="*/ 160 w 300"/>
                  <a:gd name="T5" fmla="*/ 0 h 1206"/>
                  <a:gd name="T6" fmla="*/ 0 w 300"/>
                  <a:gd name="T7" fmla="*/ 1206 h 1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0" h="1206">
                    <a:moveTo>
                      <a:pt x="0" y="1206"/>
                    </a:moveTo>
                    <a:lnTo>
                      <a:pt x="300" y="1206"/>
                    </a:lnTo>
                    <a:lnTo>
                      <a:pt x="160" y="0"/>
                    </a:lnTo>
                    <a:lnTo>
                      <a:pt x="0" y="1206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3" name="任意多边形: 形状 1292">
                <a:extLst>
                  <a:ext uri="{FF2B5EF4-FFF2-40B4-BE49-F238E27FC236}">
                    <a16:creationId xmlns:a16="http://schemas.microsoft.com/office/drawing/2014/main" id="{D22DCD76-BC5E-4F2D-A9D9-275A395C4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1" y="3324226"/>
                <a:ext cx="2908300" cy="1971675"/>
              </a:xfrm>
              <a:custGeom>
                <a:avLst/>
                <a:gdLst>
                  <a:gd name="T0" fmla="*/ 194 w 1832"/>
                  <a:gd name="T1" fmla="*/ 0 h 1242"/>
                  <a:gd name="T2" fmla="*/ 0 w 1832"/>
                  <a:gd name="T3" fmla="*/ 1220 h 1242"/>
                  <a:gd name="T4" fmla="*/ 1668 w 1832"/>
                  <a:gd name="T5" fmla="*/ 1242 h 1242"/>
                  <a:gd name="T6" fmla="*/ 1832 w 1832"/>
                  <a:gd name="T7" fmla="*/ 0 h 1242"/>
                  <a:gd name="T8" fmla="*/ 194 w 1832"/>
                  <a:gd name="T9" fmla="*/ 0 h 1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2" h="1242">
                    <a:moveTo>
                      <a:pt x="194" y="0"/>
                    </a:moveTo>
                    <a:lnTo>
                      <a:pt x="0" y="1220"/>
                    </a:lnTo>
                    <a:lnTo>
                      <a:pt x="1668" y="1242"/>
                    </a:lnTo>
                    <a:lnTo>
                      <a:pt x="1832" y="0"/>
                    </a:lnTo>
                    <a:lnTo>
                      <a:pt x="194" y="0"/>
                    </a:ln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4" name="任意多边形: 形状 1293">
                <a:extLst>
                  <a:ext uri="{FF2B5EF4-FFF2-40B4-BE49-F238E27FC236}">
                    <a16:creationId xmlns:a16="http://schemas.microsoft.com/office/drawing/2014/main" id="{F794F8E3-920B-4F67-8B3B-2610CA36F9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1" y="3324226"/>
                <a:ext cx="2908300" cy="1971675"/>
              </a:xfrm>
              <a:custGeom>
                <a:avLst/>
                <a:gdLst>
                  <a:gd name="T0" fmla="*/ 194 w 1832"/>
                  <a:gd name="T1" fmla="*/ 0 h 1242"/>
                  <a:gd name="T2" fmla="*/ 0 w 1832"/>
                  <a:gd name="T3" fmla="*/ 1220 h 1242"/>
                  <a:gd name="T4" fmla="*/ 1668 w 1832"/>
                  <a:gd name="T5" fmla="*/ 1242 h 1242"/>
                  <a:gd name="T6" fmla="*/ 1832 w 1832"/>
                  <a:gd name="T7" fmla="*/ 0 h 1242"/>
                  <a:gd name="T8" fmla="*/ 194 w 1832"/>
                  <a:gd name="T9" fmla="*/ 0 h 1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2" h="1242">
                    <a:moveTo>
                      <a:pt x="194" y="0"/>
                    </a:moveTo>
                    <a:lnTo>
                      <a:pt x="0" y="1220"/>
                    </a:lnTo>
                    <a:lnTo>
                      <a:pt x="1668" y="1242"/>
                    </a:lnTo>
                    <a:lnTo>
                      <a:pt x="1832" y="0"/>
                    </a:lnTo>
                    <a:lnTo>
                      <a:pt x="19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5" name="任意多边形: 形状 1294">
                <a:extLst>
                  <a:ext uri="{FF2B5EF4-FFF2-40B4-BE49-F238E27FC236}">
                    <a16:creationId xmlns:a16="http://schemas.microsoft.com/office/drawing/2014/main" id="{9D130469-4E27-4527-BF80-FFAA8CB549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36 w 1682"/>
                  <a:gd name="T5" fmla="*/ 0 h 225"/>
                  <a:gd name="T6" fmla="*/ 1682 w 1682"/>
                  <a:gd name="T7" fmla="*/ 0 h 225"/>
                  <a:gd name="T8" fmla="*/ 1654 w 1682"/>
                  <a:gd name="T9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54" y="225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6" name="任意多边形: 形状 1295">
                <a:extLst>
                  <a:ext uri="{FF2B5EF4-FFF2-40B4-BE49-F238E27FC236}">
                    <a16:creationId xmlns:a16="http://schemas.microsoft.com/office/drawing/2014/main" id="{70EA4467-A783-42FD-B251-53804BD713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36 w 1682"/>
                  <a:gd name="T5" fmla="*/ 0 h 225"/>
                  <a:gd name="T6" fmla="*/ 1682 w 1682"/>
                  <a:gd name="T7" fmla="*/ 0 h 225"/>
                  <a:gd name="T8" fmla="*/ 1654 w 1682"/>
                  <a:gd name="T9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54" y="2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7" name="任意多边形: 形状 1296">
                <a:extLst>
                  <a:ext uri="{FF2B5EF4-FFF2-40B4-BE49-F238E27FC236}">
                    <a16:creationId xmlns:a16="http://schemas.microsoft.com/office/drawing/2014/main" id="{E23F0AFB-E2E4-47D9-B00B-86F3E7EE06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0 w 1682"/>
                  <a:gd name="T5" fmla="*/ 225 h 225"/>
                  <a:gd name="T6" fmla="*/ 36 w 1682"/>
                  <a:gd name="T7" fmla="*/ 0 h 225"/>
                  <a:gd name="T8" fmla="*/ 1682 w 1682"/>
                  <a:gd name="T9" fmla="*/ 0 h 225"/>
                  <a:gd name="T10" fmla="*/ 1682 w 1682"/>
                  <a:gd name="T11" fmla="*/ 0 h 225"/>
                  <a:gd name="T12" fmla="*/ 1654 w 1682"/>
                  <a:gd name="T13" fmla="*/ 225 h 225"/>
                  <a:gd name="T14" fmla="*/ 0 w 1682"/>
                  <a:gd name="T15" fmla="*/ 225 h 225"/>
                  <a:gd name="T16" fmla="*/ 1652 w 1682"/>
                  <a:gd name="T17" fmla="*/ 225 h 225"/>
                  <a:gd name="T18" fmla="*/ 1682 w 1682"/>
                  <a:gd name="T19" fmla="*/ 0 h 225"/>
                  <a:gd name="T20" fmla="*/ 36 w 1682"/>
                  <a:gd name="T21" fmla="*/ 0 h 225"/>
                  <a:gd name="T22" fmla="*/ 0 w 1682"/>
                  <a:gd name="T2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82" y="0"/>
                    </a:lnTo>
                    <a:lnTo>
                      <a:pt x="1654" y="225"/>
                    </a:lnTo>
                    <a:close/>
                    <a:moveTo>
                      <a:pt x="0" y="225"/>
                    </a:moveTo>
                    <a:lnTo>
                      <a:pt x="1652" y="225"/>
                    </a:lnTo>
                    <a:lnTo>
                      <a:pt x="1682" y="0"/>
                    </a:lnTo>
                    <a:lnTo>
                      <a:pt x="36" y="0"/>
                    </a:lnTo>
                    <a:lnTo>
                      <a:pt x="0" y="225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8" name="任意多边形: 形状 1297">
                <a:extLst>
                  <a:ext uri="{FF2B5EF4-FFF2-40B4-BE49-F238E27FC236}">
                    <a16:creationId xmlns:a16="http://schemas.microsoft.com/office/drawing/2014/main" id="{C179B156-BBF4-4C03-A5D3-77B54152E1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0 w 1682"/>
                  <a:gd name="T5" fmla="*/ 225 h 225"/>
                  <a:gd name="T6" fmla="*/ 36 w 1682"/>
                  <a:gd name="T7" fmla="*/ 0 h 225"/>
                  <a:gd name="T8" fmla="*/ 1682 w 1682"/>
                  <a:gd name="T9" fmla="*/ 0 h 225"/>
                  <a:gd name="T10" fmla="*/ 1682 w 1682"/>
                  <a:gd name="T11" fmla="*/ 0 h 225"/>
                  <a:gd name="T12" fmla="*/ 1654 w 1682"/>
                  <a:gd name="T13" fmla="*/ 225 h 225"/>
                  <a:gd name="T14" fmla="*/ 0 w 1682"/>
                  <a:gd name="T15" fmla="*/ 225 h 225"/>
                  <a:gd name="T16" fmla="*/ 1652 w 1682"/>
                  <a:gd name="T17" fmla="*/ 225 h 225"/>
                  <a:gd name="T18" fmla="*/ 1682 w 1682"/>
                  <a:gd name="T19" fmla="*/ 0 h 225"/>
                  <a:gd name="T20" fmla="*/ 36 w 1682"/>
                  <a:gd name="T21" fmla="*/ 0 h 225"/>
                  <a:gd name="T22" fmla="*/ 0 w 1682"/>
                  <a:gd name="T2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82" y="0"/>
                    </a:lnTo>
                    <a:lnTo>
                      <a:pt x="1654" y="225"/>
                    </a:lnTo>
                    <a:moveTo>
                      <a:pt x="0" y="225"/>
                    </a:moveTo>
                    <a:lnTo>
                      <a:pt x="1652" y="225"/>
                    </a:lnTo>
                    <a:lnTo>
                      <a:pt x="1682" y="0"/>
                    </a:lnTo>
                    <a:lnTo>
                      <a:pt x="36" y="0"/>
                    </a:lnTo>
                    <a:lnTo>
                      <a:pt x="0" y="2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9" name="任意多边形: 形状 1298">
                <a:extLst>
                  <a:ext uri="{FF2B5EF4-FFF2-40B4-BE49-F238E27FC236}">
                    <a16:creationId xmlns:a16="http://schemas.microsoft.com/office/drawing/2014/main" id="{5B50872B-17DD-4E38-8CEF-FC33581D89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6938" y="3324226"/>
                <a:ext cx="2684463" cy="530225"/>
              </a:xfrm>
              <a:custGeom>
                <a:avLst/>
                <a:gdLst>
                  <a:gd name="T0" fmla="*/ 53 w 1691"/>
                  <a:gd name="T1" fmla="*/ 0 h 334"/>
                  <a:gd name="T2" fmla="*/ 0 w 1691"/>
                  <a:gd name="T3" fmla="*/ 334 h 334"/>
                  <a:gd name="T4" fmla="*/ 1646 w 1691"/>
                  <a:gd name="T5" fmla="*/ 334 h 334"/>
                  <a:gd name="T6" fmla="*/ 1691 w 1691"/>
                  <a:gd name="T7" fmla="*/ 0 h 334"/>
                  <a:gd name="T8" fmla="*/ 53 w 1691"/>
                  <a:gd name="T9" fmla="*/ 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1" h="334">
                    <a:moveTo>
                      <a:pt x="53" y="0"/>
                    </a:moveTo>
                    <a:lnTo>
                      <a:pt x="0" y="334"/>
                    </a:lnTo>
                    <a:lnTo>
                      <a:pt x="1646" y="334"/>
                    </a:lnTo>
                    <a:lnTo>
                      <a:pt x="1691" y="0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0" name="任意多边形: 形状 1299">
                <a:extLst>
                  <a:ext uri="{FF2B5EF4-FFF2-40B4-BE49-F238E27FC236}">
                    <a16:creationId xmlns:a16="http://schemas.microsoft.com/office/drawing/2014/main" id="{984E1536-1FF4-41F9-9822-F39D7D2A93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6938" y="3324226"/>
                <a:ext cx="2684463" cy="530225"/>
              </a:xfrm>
              <a:custGeom>
                <a:avLst/>
                <a:gdLst>
                  <a:gd name="T0" fmla="*/ 53 w 1691"/>
                  <a:gd name="T1" fmla="*/ 0 h 334"/>
                  <a:gd name="T2" fmla="*/ 0 w 1691"/>
                  <a:gd name="T3" fmla="*/ 334 h 334"/>
                  <a:gd name="T4" fmla="*/ 1646 w 1691"/>
                  <a:gd name="T5" fmla="*/ 334 h 334"/>
                  <a:gd name="T6" fmla="*/ 1691 w 1691"/>
                  <a:gd name="T7" fmla="*/ 0 h 334"/>
                  <a:gd name="T8" fmla="*/ 53 w 1691"/>
                  <a:gd name="T9" fmla="*/ 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1" h="334">
                    <a:moveTo>
                      <a:pt x="53" y="0"/>
                    </a:moveTo>
                    <a:lnTo>
                      <a:pt x="0" y="334"/>
                    </a:lnTo>
                    <a:lnTo>
                      <a:pt x="1646" y="334"/>
                    </a:lnTo>
                    <a:lnTo>
                      <a:pt x="1691" y="0"/>
                    </a:lnTo>
                    <a:lnTo>
                      <a:pt x="5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1" name="任意多边形: 形状 1300">
                <a:extLst>
                  <a:ext uri="{FF2B5EF4-FFF2-40B4-BE49-F238E27FC236}">
                    <a16:creationId xmlns:a16="http://schemas.microsoft.com/office/drawing/2014/main" id="{B738AC15-7BE5-46FC-B99E-BA8D57D4AB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1" y="3322638"/>
                <a:ext cx="2911475" cy="1927225"/>
              </a:xfrm>
              <a:custGeom>
                <a:avLst/>
                <a:gdLst>
                  <a:gd name="T0" fmla="*/ 135 w 1273"/>
                  <a:gd name="T1" fmla="*/ 1 h 843"/>
                  <a:gd name="T2" fmla="*/ 1272 w 1273"/>
                  <a:gd name="T3" fmla="*/ 0 h 843"/>
                  <a:gd name="T4" fmla="*/ 1273 w 1273"/>
                  <a:gd name="T5" fmla="*/ 0 h 843"/>
                  <a:gd name="T6" fmla="*/ 1273 w 1273"/>
                  <a:gd name="T7" fmla="*/ 1 h 843"/>
                  <a:gd name="T8" fmla="*/ 1161 w 1273"/>
                  <a:gd name="T9" fmla="*/ 842 h 843"/>
                  <a:gd name="T10" fmla="*/ 1161 w 1273"/>
                  <a:gd name="T11" fmla="*/ 843 h 843"/>
                  <a:gd name="T12" fmla="*/ 1160 w 1273"/>
                  <a:gd name="T13" fmla="*/ 843 h 843"/>
                  <a:gd name="T14" fmla="*/ 1147 w 1273"/>
                  <a:gd name="T15" fmla="*/ 843 h 843"/>
                  <a:gd name="T16" fmla="*/ 1 w 1273"/>
                  <a:gd name="T17" fmla="*/ 843 h 843"/>
                  <a:gd name="T18" fmla="*/ 0 w 1273"/>
                  <a:gd name="T19" fmla="*/ 843 h 843"/>
                  <a:gd name="T20" fmla="*/ 0 w 1273"/>
                  <a:gd name="T21" fmla="*/ 842 h 843"/>
                  <a:gd name="T22" fmla="*/ 135 w 1273"/>
                  <a:gd name="T23" fmla="*/ 1 h 843"/>
                  <a:gd name="T24" fmla="*/ 2 w 1273"/>
                  <a:gd name="T25" fmla="*/ 842 h 843"/>
                  <a:gd name="T26" fmla="*/ 1 w 1273"/>
                  <a:gd name="T27" fmla="*/ 841 h 843"/>
                  <a:gd name="T28" fmla="*/ 1147 w 1273"/>
                  <a:gd name="T29" fmla="*/ 841 h 843"/>
                  <a:gd name="T30" fmla="*/ 1160 w 1273"/>
                  <a:gd name="T31" fmla="*/ 841 h 843"/>
                  <a:gd name="T32" fmla="*/ 1159 w 1273"/>
                  <a:gd name="T33" fmla="*/ 842 h 843"/>
                  <a:gd name="T34" fmla="*/ 1271 w 1273"/>
                  <a:gd name="T35" fmla="*/ 1 h 843"/>
                  <a:gd name="T36" fmla="*/ 1272 w 1273"/>
                  <a:gd name="T37" fmla="*/ 2 h 843"/>
                  <a:gd name="T38" fmla="*/ 135 w 1273"/>
                  <a:gd name="T39" fmla="*/ 1 h 8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73" h="843">
                    <a:moveTo>
                      <a:pt x="135" y="1"/>
                    </a:moveTo>
                    <a:cubicBezTo>
                      <a:pt x="144" y="1"/>
                      <a:pt x="598" y="1"/>
                      <a:pt x="1272" y="0"/>
                    </a:cubicBezTo>
                    <a:cubicBezTo>
                      <a:pt x="1273" y="0"/>
                      <a:pt x="1273" y="0"/>
                      <a:pt x="1273" y="0"/>
                    </a:cubicBezTo>
                    <a:cubicBezTo>
                      <a:pt x="1273" y="1"/>
                      <a:pt x="1273" y="1"/>
                      <a:pt x="1273" y="1"/>
                    </a:cubicBezTo>
                    <a:cubicBezTo>
                      <a:pt x="1240" y="254"/>
                      <a:pt x="1202" y="540"/>
                      <a:pt x="1161" y="842"/>
                    </a:cubicBezTo>
                    <a:cubicBezTo>
                      <a:pt x="1161" y="843"/>
                      <a:pt x="1161" y="843"/>
                      <a:pt x="1161" y="843"/>
                    </a:cubicBezTo>
                    <a:cubicBezTo>
                      <a:pt x="1160" y="843"/>
                      <a:pt x="1160" y="843"/>
                      <a:pt x="1160" y="843"/>
                    </a:cubicBezTo>
                    <a:cubicBezTo>
                      <a:pt x="1156" y="843"/>
                      <a:pt x="1152" y="843"/>
                      <a:pt x="1147" y="843"/>
                    </a:cubicBezTo>
                    <a:cubicBezTo>
                      <a:pt x="720" y="843"/>
                      <a:pt x="324" y="843"/>
                      <a:pt x="1" y="843"/>
                    </a:cubicBezTo>
                    <a:cubicBezTo>
                      <a:pt x="0" y="843"/>
                      <a:pt x="0" y="843"/>
                      <a:pt x="0" y="843"/>
                    </a:cubicBezTo>
                    <a:cubicBezTo>
                      <a:pt x="0" y="842"/>
                      <a:pt x="0" y="842"/>
                      <a:pt x="0" y="842"/>
                    </a:cubicBezTo>
                    <a:cubicBezTo>
                      <a:pt x="82" y="333"/>
                      <a:pt x="134" y="8"/>
                      <a:pt x="135" y="1"/>
                    </a:cubicBezTo>
                    <a:cubicBezTo>
                      <a:pt x="134" y="8"/>
                      <a:pt x="83" y="333"/>
                      <a:pt x="2" y="842"/>
                    </a:cubicBezTo>
                    <a:cubicBezTo>
                      <a:pt x="1" y="841"/>
                      <a:pt x="1" y="841"/>
                      <a:pt x="1" y="841"/>
                    </a:cubicBezTo>
                    <a:cubicBezTo>
                      <a:pt x="324" y="841"/>
                      <a:pt x="720" y="841"/>
                      <a:pt x="1147" y="841"/>
                    </a:cubicBezTo>
                    <a:cubicBezTo>
                      <a:pt x="1152" y="841"/>
                      <a:pt x="1156" y="841"/>
                      <a:pt x="1160" y="841"/>
                    </a:cubicBezTo>
                    <a:cubicBezTo>
                      <a:pt x="1159" y="842"/>
                      <a:pt x="1159" y="842"/>
                      <a:pt x="1159" y="842"/>
                    </a:cubicBezTo>
                    <a:cubicBezTo>
                      <a:pt x="1200" y="540"/>
                      <a:pt x="1238" y="253"/>
                      <a:pt x="1271" y="1"/>
                    </a:cubicBezTo>
                    <a:cubicBezTo>
                      <a:pt x="1272" y="2"/>
                      <a:pt x="1272" y="2"/>
                      <a:pt x="1272" y="2"/>
                    </a:cubicBezTo>
                    <a:cubicBezTo>
                      <a:pt x="598" y="1"/>
                      <a:pt x="144" y="1"/>
                      <a:pt x="135" y="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2" name="椭圆 1301">
                <a:extLst>
                  <a:ext uri="{FF2B5EF4-FFF2-40B4-BE49-F238E27FC236}">
                    <a16:creationId xmlns:a16="http://schemas.microsoft.com/office/drawing/2014/main" id="{5B04C5D1-ACFA-44B9-A9D1-A645041388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6938" y="3852863"/>
                <a:ext cx="2613025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3" name="椭圆 1302">
                <a:extLst>
                  <a:ext uri="{FF2B5EF4-FFF2-40B4-BE49-F238E27FC236}">
                    <a16:creationId xmlns:a16="http://schemas.microsoft.com/office/drawing/2014/main" id="{2B470F5B-DB6B-45FF-B523-9CB17C50F4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45026" y="4210051"/>
                <a:ext cx="2630488" cy="317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4" name="椭圆 1303">
                <a:extLst>
                  <a:ext uri="{FF2B5EF4-FFF2-40B4-BE49-F238E27FC236}">
                    <a16:creationId xmlns:a16="http://schemas.microsoft.com/office/drawing/2014/main" id="{647A7A02-6BEA-4C3A-A93C-79A76103DB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2638" y="4538663"/>
                <a:ext cx="2627313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5" name="椭圆 1304">
                <a:extLst>
                  <a:ext uri="{FF2B5EF4-FFF2-40B4-BE49-F238E27FC236}">
                    <a16:creationId xmlns:a16="http://schemas.microsoft.com/office/drawing/2014/main" id="{62C80542-EA2A-4A3B-A5DC-90254106DB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37076" y="4865688"/>
                <a:ext cx="2630488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6" name="任意多边形: 形状 1305">
                <a:extLst>
                  <a:ext uri="{FF2B5EF4-FFF2-40B4-BE49-F238E27FC236}">
                    <a16:creationId xmlns:a16="http://schemas.microsoft.com/office/drawing/2014/main" id="{CD1E2F61-0520-4406-89AC-D926356EDA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2988" y="3854451"/>
                <a:ext cx="222250" cy="1395413"/>
              </a:xfrm>
              <a:custGeom>
                <a:avLst/>
                <a:gdLst>
                  <a:gd name="T0" fmla="*/ 0 w 97"/>
                  <a:gd name="T1" fmla="*/ 610 h 610"/>
                  <a:gd name="T2" fmla="*/ 47 w 97"/>
                  <a:gd name="T3" fmla="*/ 305 h 610"/>
                  <a:gd name="T4" fmla="*/ 96 w 97"/>
                  <a:gd name="T5" fmla="*/ 0 h 610"/>
                  <a:gd name="T6" fmla="*/ 49 w 97"/>
                  <a:gd name="T7" fmla="*/ 305 h 610"/>
                  <a:gd name="T8" fmla="*/ 0 w 97"/>
                  <a:gd name="T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10">
                    <a:moveTo>
                      <a:pt x="0" y="610"/>
                    </a:moveTo>
                    <a:cubicBezTo>
                      <a:pt x="0" y="610"/>
                      <a:pt x="21" y="474"/>
                      <a:pt x="47" y="305"/>
                    </a:cubicBezTo>
                    <a:cubicBezTo>
                      <a:pt x="74" y="137"/>
                      <a:pt x="96" y="0"/>
                      <a:pt x="96" y="0"/>
                    </a:cubicBezTo>
                    <a:cubicBezTo>
                      <a:pt x="97" y="0"/>
                      <a:pt x="76" y="137"/>
                      <a:pt x="49" y="305"/>
                    </a:cubicBezTo>
                    <a:cubicBezTo>
                      <a:pt x="23" y="474"/>
                      <a:pt x="1" y="610"/>
                      <a:pt x="0" y="6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7" name="任意多边形: 形状 1306">
                <a:extLst>
                  <a:ext uri="{FF2B5EF4-FFF2-40B4-BE49-F238E27FC236}">
                    <a16:creationId xmlns:a16="http://schemas.microsoft.com/office/drawing/2014/main" id="{1147DD82-BE92-44CE-921F-2A725C8E2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7801" y="3854451"/>
                <a:ext cx="222250" cy="1395413"/>
              </a:xfrm>
              <a:custGeom>
                <a:avLst/>
                <a:gdLst>
                  <a:gd name="T0" fmla="*/ 0 w 97"/>
                  <a:gd name="T1" fmla="*/ 610 h 610"/>
                  <a:gd name="T2" fmla="*/ 47 w 97"/>
                  <a:gd name="T3" fmla="*/ 305 h 610"/>
                  <a:gd name="T4" fmla="*/ 96 w 97"/>
                  <a:gd name="T5" fmla="*/ 0 h 610"/>
                  <a:gd name="T6" fmla="*/ 49 w 97"/>
                  <a:gd name="T7" fmla="*/ 305 h 610"/>
                  <a:gd name="T8" fmla="*/ 0 w 97"/>
                  <a:gd name="T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10">
                    <a:moveTo>
                      <a:pt x="0" y="610"/>
                    </a:moveTo>
                    <a:cubicBezTo>
                      <a:pt x="0" y="610"/>
                      <a:pt x="21" y="474"/>
                      <a:pt x="47" y="305"/>
                    </a:cubicBezTo>
                    <a:cubicBezTo>
                      <a:pt x="74" y="137"/>
                      <a:pt x="95" y="0"/>
                      <a:pt x="96" y="0"/>
                    </a:cubicBezTo>
                    <a:cubicBezTo>
                      <a:pt x="97" y="0"/>
                      <a:pt x="76" y="137"/>
                      <a:pt x="49" y="305"/>
                    </a:cubicBezTo>
                    <a:cubicBezTo>
                      <a:pt x="23" y="474"/>
                      <a:pt x="1" y="610"/>
                      <a:pt x="0" y="6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8" name="任意多边形: 形状 1307">
                <a:extLst>
                  <a:ext uri="{FF2B5EF4-FFF2-40B4-BE49-F238E27FC236}">
                    <a16:creationId xmlns:a16="http://schemas.microsoft.com/office/drawing/2014/main" id="{0E123CD0-AA6C-41D8-ADD7-DD53F58821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2451" y="3854451"/>
                <a:ext cx="220663" cy="1381125"/>
              </a:xfrm>
              <a:custGeom>
                <a:avLst/>
                <a:gdLst>
                  <a:gd name="T0" fmla="*/ 1 w 96"/>
                  <a:gd name="T1" fmla="*/ 604 h 604"/>
                  <a:gd name="T2" fmla="*/ 47 w 96"/>
                  <a:gd name="T3" fmla="*/ 302 h 604"/>
                  <a:gd name="T4" fmla="*/ 95 w 96"/>
                  <a:gd name="T5" fmla="*/ 0 h 604"/>
                  <a:gd name="T6" fmla="*/ 49 w 96"/>
                  <a:gd name="T7" fmla="*/ 302 h 604"/>
                  <a:gd name="T8" fmla="*/ 1 w 96"/>
                  <a:gd name="T9" fmla="*/ 604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604">
                    <a:moveTo>
                      <a:pt x="1" y="604"/>
                    </a:moveTo>
                    <a:cubicBezTo>
                      <a:pt x="0" y="604"/>
                      <a:pt x="21" y="469"/>
                      <a:pt x="47" y="302"/>
                    </a:cubicBezTo>
                    <a:cubicBezTo>
                      <a:pt x="73" y="135"/>
                      <a:pt x="95" y="0"/>
                      <a:pt x="95" y="0"/>
                    </a:cubicBezTo>
                    <a:cubicBezTo>
                      <a:pt x="96" y="0"/>
                      <a:pt x="75" y="135"/>
                      <a:pt x="49" y="302"/>
                    </a:cubicBezTo>
                    <a:cubicBezTo>
                      <a:pt x="23" y="469"/>
                      <a:pt x="1" y="604"/>
                      <a:pt x="1" y="60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9" name="任意多边形: 形状 1308">
                <a:extLst>
                  <a:ext uri="{FF2B5EF4-FFF2-40B4-BE49-F238E27FC236}">
                    <a16:creationId xmlns:a16="http://schemas.microsoft.com/office/drawing/2014/main" id="{72E3D62A-723F-42DB-91C3-E625CABC9B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5513" y="3854451"/>
                <a:ext cx="219075" cy="1392238"/>
              </a:xfrm>
              <a:custGeom>
                <a:avLst/>
                <a:gdLst>
                  <a:gd name="T0" fmla="*/ 0 w 96"/>
                  <a:gd name="T1" fmla="*/ 609 h 609"/>
                  <a:gd name="T2" fmla="*/ 47 w 96"/>
                  <a:gd name="T3" fmla="*/ 304 h 609"/>
                  <a:gd name="T4" fmla="*/ 96 w 96"/>
                  <a:gd name="T5" fmla="*/ 0 h 609"/>
                  <a:gd name="T6" fmla="*/ 49 w 96"/>
                  <a:gd name="T7" fmla="*/ 305 h 609"/>
                  <a:gd name="T8" fmla="*/ 0 w 96"/>
                  <a:gd name="T9" fmla="*/ 609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609">
                    <a:moveTo>
                      <a:pt x="0" y="609"/>
                    </a:moveTo>
                    <a:cubicBezTo>
                      <a:pt x="0" y="609"/>
                      <a:pt x="21" y="473"/>
                      <a:pt x="47" y="304"/>
                    </a:cubicBezTo>
                    <a:cubicBezTo>
                      <a:pt x="73" y="136"/>
                      <a:pt x="95" y="0"/>
                      <a:pt x="96" y="0"/>
                    </a:cubicBezTo>
                    <a:cubicBezTo>
                      <a:pt x="96" y="0"/>
                      <a:pt x="75" y="137"/>
                      <a:pt x="49" y="305"/>
                    </a:cubicBezTo>
                    <a:cubicBezTo>
                      <a:pt x="23" y="473"/>
                      <a:pt x="1" y="609"/>
                      <a:pt x="0" y="60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0" name="任意多边形: 形状 1309">
                <a:extLst>
                  <a:ext uri="{FF2B5EF4-FFF2-40B4-BE49-F238E27FC236}">
                    <a16:creationId xmlns:a16="http://schemas.microsoft.com/office/drawing/2014/main" id="{163E1A29-64BE-4610-924D-1C21D5532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8576" y="3854451"/>
                <a:ext cx="222250" cy="1392238"/>
              </a:xfrm>
              <a:custGeom>
                <a:avLst/>
                <a:gdLst>
                  <a:gd name="T0" fmla="*/ 1 w 97"/>
                  <a:gd name="T1" fmla="*/ 609 h 609"/>
                  <a:gd name="T2" fmla="*/ 47 w 97"/>
                  <a:gd name="T3" fmla="*/ 304 h 609"/>
                  <a:gd name="T4" fmla="*/ 96 w 97"/>
                  <a:gd name="T5" fmla="*/ 0 h 609"/>
                  <a:gd name="T6" fmla="*/ 49 w 97"/>
                  <a:gd name="T7" fmla="*/ 305 h 609"/>
                  <a:gd name="T8" fmla="*/ 1 w 97"/>
                  <a:gd name="T9" fmla="*/ 609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09">
                    <a:moveTo>
                      <a:pt x="1" y="609"/>
                    </a:moveTo>
                    <a:cubicBezTo>
                      <a:pt x="0" y="609"/>
                      <a:pt x="21" y="473"/>
                      <a:pt x="47" y="304"/>
                    </a:cubicBezTo>
                    <a:cubicBezTo>
                      <a:pt x="74" y="136"/>
                      <a:pt x="96" y="0"/>
                      <a:pt x="96" y="0"/>
                    </a:cubicBezTo>
                    <a:cubicBezTo>
                      <a:pt x="97" y="0"/>
                      <a:pt x="76" y="137"/>
                      <a:pt x="49" y="305"/>
                    </a:cubicBezTo>
                    <a:cubicBezTo>
                      <a:pt x="23" y="473"/>
                      <a:pt x="1" y="609"/>
                      <a:pt x="1" y="60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1" name="任意多边形: 形状 1310">
                <a:extLst>
                  <a:ext uri="{FF2B5EF4-FFF2-40B4-BE49-F238E27FC236}">
                    <a16:creationId xmlns:a16="http://schemas.microsoft.com/office/drawing/2014/main" id="{74E3846F-95E9-4C76-B5B4-89ACA0D788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1638" y="3854451"/>
                <a:ext cx="220663" cy="1395413"/>
              </a:xfrm>
              <a:custGeom>
                <a:avLst/>
                <a:gdLst>
                  <a:gd name="T0" fmla="*/ 1 w 97"/>
                  <a:gd name="T1" fmla="*/ 610 h 610"/>
                  <a:gd name="T2" fmla="*/ 48 w 97"/>
                  <a:gd name="T3" fmla="*/ 305 h 610"/>
                  <a:gd name="T4" fmla="*/ 97 w 97"/>
                  <a:gd name="T5" fmla="*/ 0 h 610"/>
                  <a:gd name="T6" fmla="*/ 50 w 97"/>
                  <a:gd name="T7" fmla="*/ 305 h 610"/>
                  <a:gd name="T8" fmla="*/ 1 w 97"/>
                  <a:gd name="T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10">
                    <a:moveTo>
                      <a:pt x="1" y="610"/>
                    </a:moveTo>
                    <a:cubicBezTo>
                      <a:pt x="0" y="610"/>
                      <a:pt x="21" y="473"/>
                      <a:pt x="48" y="305"/>
                    </a:cubicBezTo>
                    <a:cubicBezTo>
                      <a:pt x="74" y="136"/>
                      <a:pt x="96" y="0"/>
                      <a:pt x="97" y="0"/>
                    </a:cubicBezTo>
                    <a:cubicBezTo>
                      <a:pt x="97" y="0"/>
                      <a:pt x="76" y="137"/>
                      <a:pt x="50" y="305"/>
                    </a:cubicBezTo>
                    <a:cubicBezTo>
                      <a:pt x="23" y="474"/>
                      <a:pt x="1" y="610"/>
                      <a:pt x="1" y="6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2" name="矩形 1311">
                <a:extLst>
                  <a:ext uri="{FF2B5EF4-FFF2-40B4-BE49-F238E27FC236}">
                    <a16:creationId xmlns:a16="http://schemas.microsoft.com/office/drawing/2014/main" id="{7F7DE940-F3BE-4114-9E65-042FB540FF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40488" y="3327401"/>
                <a:ext cx="287338" cy="525463"/>
              </a:xfrm>
              <a:prstGeom prst="rect">
                <a:avLst/>
              </a:prstGeom>
              <a:solidFill>
                <a:srgbClr val="0C3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3" name="任意多边形: 形状 1312">
                <a:extLst>
                  <a:ext uri="{FF2B5EF4-FFF2-40B4-BE49-F238E27FC236}">
                    <a16:creationId xmlns:a16="http://schemas.microsoft.com/office/drawing/2014/main" id="{E683A5C9-8841-4B17-BBD2-A06DC798B1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5251" y="3324226"/>
                <a:ext cx="276225" cy="3175"/>
              </a:xfrm>
              <a:custGeom>
                <a:avLst/>
                <a:gdLst>
                  <a:gd name="T0" fmla="*/ 121 w 121"/>
                  <a:gd name="T1" fmla="*/ 0 h 1"/>
                  <a:gd name="T2" fmla="*/ 0 w 121"/>
                  <a:gd name="T3" fmla="*/ 1 h 1"/>
                  <a:gd name="T4" fmla="*/ 121 w 121"/>
                  <a:gd name="T5" fmla="*/ 1 h 1"/>
                  <a:gd name="T6" fmla="*/ 121 w 12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1" h="1">
                    <a:moveTo>
                      <a:pt x="12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39" y="1"/>
                      <a:pt x="80" y="1"/>
                      <a:pt x="121" y="1"/>
                    </a:cubicBezTo>
                    <a:cubicBezTo>
                      <a:pt x="121" y="0"/>
                      <a:pt x="121" y="0"/>
                      <a:pt x="121" y="0"/>
                    </a:cubicBezTo>
                  </a:path>
                </a:pathLst>
              </a:custGeom>
              <a:solidFill>
                <a:srgbClr val="1E28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4" name="任意多边形: 形状 1313">
                <a:extLst>
                  <a:ext uri="{FF2B5EF4-FFF2-40B4-BE49-F238E27FC236}">
                    <a16:creationId xmlns:a16="http://schemas.microsoft.com/office/drawing/2014/main" id="{9B35CD96-23A9-4131-961B-BC5D007B04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5101" y="3857626"/>
                <a:ext cx="36513" cy="22225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0 h 10"/>
                  <a:gd name="T4" fmla="*/ 1 w 16"/>
                  <a:gd name="T5" fmla="*/ 10 h 10"/>
                  <a:gd name="T6" fmla="*/ 16 w 16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1" y="0"/>
                      <a:pt x="5" y="0"/>
                      <a:pt x="0" y="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7" y="8"/>
                      <a:pt x="12" y="4"/>
                      <a:pt x="16" y="0"/>
                    </a:cubicBezTo>
                  </a:path>
                </a:pathLst>
              </a:custGeom>
              <a:solidFill>
                <a:srgbClr val="BCBC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5" name="任意多边形: 形状 1314">
                <a:extLst>
                  <a:ext uri="{FF2B5EF4-FFF2-40B4-BE49-F238E27FC236}">
                    <a16:creationId xmlns:a16="http://schemas.microsoft.com/office/drawing/2014/main" id="{70D0A4FA-E02E-4584-A53D-7EDE6BF303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3513" y="3852863"/>
                <a:ext cx="42863" cy="4763"/>
              </a:xfrm>
              <a:custGeom>
                <a:avLst/>
                <a:gdLst>
                  <a:gd name="T0" fmla="*/ 0 w 19"/>
                  <a:gd name="T1" fmla="*/ 0 h 2"/>
                  <a:gd name="T2" fmla="*/ 1 w 19"/>
                  <a:gd name="T3" fmla="*/ 2 h 2"/>
                  <a:gd name="T4" fmla="*/ 17 w 19"/>
                  <a:gd name="T5" fmla="*/ 2 h 2"/>
                  <a:gd name="T6" fmla="*/ 19 w 19"/>
                  <a:gd name="T7" fmla="*/ 0 h 2"/>
                  <a:gd name="T8" fmla="*/ 0 w 19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">
                    <a:moveTo>
                      <a:pt x="0" y="0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6" y="2"/>
                      <a:pt x="12" y="2"/>
                      <a:pt x="17" y="2"/>
                    </a:cubicBezTo>
                    <a:cubicBezTo>
                      <a:pt x="18" y="1"/>
                      <a:pt x="18" y="1"/>
                      <a:pt x="19" y="0"/>
                    </a:cubicBezTo>
                    <a:cubicBezTo>
                      <a:pt x="13" y="0"/>
                      <a:pt x="7" y="0"/>
                      <a:pt x="0" y="0"/>
                    </a:cubicBezTo>
                  </a:path>
                </a:pathLst>
              </a:custGeom>
              <a:solidFill>
                <a:srgbClr val="1E28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6" name="任意多边形: 形状 1315">
                <a:extLst>
                  <a:ext uri="{FF2B5EF4-FFF2-40B4-BE49-F238E27FC236}">
                    <a16:creationId xmlns:a16="http://schemas.microsoft.com/office/drawing/2014/main" id="{2036E70E-9DCA-4F6C-A8A0-44E1FE2CA3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5551" y="4238626"/>
                <a:ext cx="314325" cy="277813"/>
              </a:xfrm>
              <a:custGeom>
                <a:avLst/>
                <a:gdLst>
                  <a:gd name="T0" fmla="*/ 137 w 137"/>
                  <a:gd name="T1" fmla="*/ 0 h 121"/>
                  <a:gd name="T2" fmla="*/ 136 w 137"/>
                  <a:gd name="T3" fmla="*/ 1 h 121"/>
                  <a:gd name="T4" fmla="*/ 132 w 137"/>
                  <a:gd name="T5" fmla="*/ 5 h 121"/>
                  <a:gd name="T6" fmla="*/ 118 w 137"/>
                  <a:gd name="T7" fmla="*/ 19 h 121"/>
                  <a:gd name="T8" fmla="*/ 71 w 137"/>
                  <a:gd name="T9" fmla="*/ 63 h 121"/>
                  <a:gd name="T10" fmla="*/ 21 w 137"/>
                  <a:gd name="T11" fmla="*/ 105 h 121"/>
                  <a:gd name="T12" fmla="*/ 6 w 137"/>
                  <a:gd name="T13" fmla="*/ 117 h 121"/>
                  <a:gd name="T14" fmla="*/ 2 w 137"/>
                  <a:gd name="T15" fmla="*/ 120 h 121"/>
                  <a:gd name="T16" fmla="*/ 0 w 137"/>
                  <a:gd name="T17" fmla="*/ 121 h 121"/>
                  <a:gd name="T18" fmla="*/ 1 w 137"/>
                  <a:gd name="T19" fmla="*/ 120 h 121"/>
                  <a:gd name="T20" fmla="*/ 5 w 137"/>
                  <a:gd name="T21" fmla="*/ 116 h 121"/>
                  <a:gd name="T22" fmla="*/ 20 w 137"/>
                  <a:gd name="T23" fmla="*/ 103 h 121"/>
                  <a:gd name="T24" fmla="*/ 69 w 137"/>
                  <a:gd name="T25" fmla="*/ 61 h 121"/>
                  <a:gd name="T26" fmla="*/ 117 w 137"/>
                  <a:gd name="T27" fmla="*/ 18 h 121"/>
                  <a:gd name="T28" fmla="*/ 132 w 137"/>
                  <a:gd name="T29" fmla="*/ 4 h 121"/>
                  <a:gd name="T30" fmla="*/ 136 w 137"/>
                  <a:gd name="T31" fmla="*/ 1 h 121"/>
                  <a:gd name="T32" fmla="*/ 137 w 137"/>
                  <a:gd name="T3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" h="121">
                    <a:moveTo>
                      <a:pt x="137" y="0"/>
                    </a:moveTo>
                    <a:cubicBezTo>
                      <a:pt x="137" y="0"/>
                      <a:pt x="137" y="0"/>
                      <a:pt x="136" y="1"/>
                    </a:cubicBezTo>
                    <a:cubicBezTo>
                      <a:pt x="135" y="2"/>
                      <a:pt x="134" y="3"/>
                      <a:pt x="132" y="5"/>
                    </a:cubicBezTo>
                    <a:cubicBezTo>
                      <a:pt x="129" y="8"/>
                      <a:pt x="124" y="13"/>
                      <a:pt x="118" y="19"/>
                    </a:cubicBezTo>
                    <a:cubicBezTo>
                      <a:pt x="107" y="30"/>
                      <a:pt x="90" y="46"/>
                      <a:pt x="71" y="63"/>
                    </a:cubicBezTo>
                    <a:cubicBezTo>
                      <a:pt x="52" y="79"/>
                      <a:pt x="34" y="94"/>
                      <a:pt x="21" y="105"/>
                    </a:cubicBezTo>
                    <a:cubicBezTo>
                      <a:pt x="15" y="110"/>
                      <a:pt x="10" y="114"/>
                      <a:pt x="6" y="117"/>
                    </a:cubicBezTo>
                    <a:cubicBezTo>
                      <a:pt x="4" y="118"/>
                      <a:pt x="3" y="119"/>
                      <a:pt x="2" y="120"/>
                    </a:cubicBezTo>
                    <a:cubicBezTo>
                      <a:pt x="1" y="121"/>
                      <a:pt x="0" y="121"/>
                      <a:pt x="0" y="121"/>
                    </a:cubicBezTo>
                    <a:cubicBezTo>
                      <a:pt x="0" y="121"/>
                      <a:pt x="0" y="120"/>
                      <a:pt x="1" y="120"/>
                    </a:cubicBezTo>
                    <a:cubicBezTo>
                      <a:pt x="2" y="119"/>
                      <a:pt x="4" y="117"/>
                      <a:pt x="5" y="116"/>
                    </a:cubicBezTo>
                    <a:cubicBezTo>
                      <a:pt x="9" y="113"/>
                      <a:pt x="14" y="109"/>
                      <a:pt x="20" y="103"/>
                    </a:cubicBezTo>
                    <a:cubicBezTo>
                      <a:pt x="33" y="93"/>
                      <a:pt x="50" y="78"/>
                      <a:pt x="69" y="61"/>
                    </a:cubicBezTo>
                    <a:cubicBezTo>
                      <a:pt x="88" y="44"/>
                      <a:pt x="105" y="29"/>
                      <a:pt x="117" y="18"/>
                    </a:cubicBezTo>
                    <a:cubicBezTo>
                      <a:pt x="123" y="12"/>
                      <a:pt x="128" y="8"/>
                      <a:pt x="132" y="4"/>
                    </a:cubicBezTo>
                    <a:cubicBezTo>
                      <a:pt x="133" y="3"/>
                      <a:pt x="135" y="2"/>
                      <a:pt x="136" y="1"/>
                    </a:cubicBezTo>
                    <a:cubicBezTo>
                      <a:pt x="137" y="0"/>
                      <a:pt x="137" y="0"/>
                      <a:pt x="13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7" name="任意多边形: 形状 1316">
                <a:extLst>
                  <a:ext uri="{FF2B5EF4-FFF2-40B4-BE49-F238E27FC236}">
                    <a16:creationId xmlns:a16="http://schemas.microsoft.com/office/drawing/2014/main" id="{0EE866A1-AA8B-4FEA-B6DA-9F634C1091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1" y="4237038"/>
                <a:ext cx="268288" cy="282575"/>
              </a:xfrm>
              <a:custGeom>
                <a:avLst/>
                <a:gdLst>
                  <a:gd name="T0" fmla="*/ 117 w 117"/>
                  <a:gd name="T1" fmla="*/ 124 h 124"/>
                  <a:gd name="T2" fmla="*/ 113 w 117"/>
                  <a:gd name="T3" fmla="*/ 119 h 124"/>
                  <a:gd name="T4" fmla="*/ 100 w 117"/>
                  <a:gd name="T5" fmla="*/ 106 h 124"/>
                  <a:gd name="T6" fmla="*/ 59 w 117"/>
                  <a:gd name="T7" fmla="*/ 62 h 124"/>
                  <a:gd name="T8" fmla="*/ 17 w 117"/>
                  <a:gd name="T9" fmla="*/ 18 h 124"/>
                  <a:gd name="T10" fmla="*/ 5 w 117"/>
                  <a:gd name="T11" fmla="*/ 5 h 124"/>
                  <a:gd name="T12" fmla="*/ 0 w 117"/>
                  <a:gd name="T13" fmla="*/ 0 h 124"/>
                  <a:gd name="T14" fmla="*/ 5 w 117"/>
                  <a:gd name="T15" fmla="*/ 4 h 124"/>
                  <a:gd name="T16" fmla="*/ 18 w 117"/>
                  <a:gd name="T17" fmla="*/ 17 h 124"/>
                  <a:gd name="T18" fmla="*/ 60 w 117"/>
                  <a:gd name="T19" fmla="*/ 60 h 124"/>
                  <a:gd name="T20" fmla="*/ 101 w 117"/>
                  <a:gd name="T21" fmla="*/ 105 h 124"/>
                  <a:gd name="T22" fmla="*/ 113 w 117"/>
                  <a:gd name="T23" fmla="*/ 118 h 124"/>
                  <a:gd name="T24" fmla="*/ 117 w 117"/>
                  <a:gd name="T25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7" h="124">
                    <a:moveTo>
                      <a:pt x="117" y="124"/>
                    </a:moveTo>
                    <a:cubicBezTo>
                      <a:pt x="117" y="124"/>
                      <a:pt x="116" y="122"/>
                      <a:pt x="113" y="119"/>
                    </a:cubicBezTo>
                    <a:cubicBezTo>
                      <a:pt x="109" y="115"/>
                      <a:pt x="105" y="111"/>
                      <a:pt x="100" y="106"/>
                    </a:cubicBezTo>
                    <a:cubicBezTo>
                      <a:pt x="89" y="94"/>
                      <a:pt x="75" y="79"/>
                      <a:pt x="59" y="62"/>
                    </a:cubicBezTo>
                    <a:cubicBezTo>
                      <a:pt x="43" y="45"/>
                      <a:pt x="28" y="29"/>
                      <a:pt x="17" y="18"/>
                    </a:cubicBezTo>
                    <a:cubicBezTo>
                      <a:pt x="12" y="12"/>
                      <a:pt x="8" y="8"/>
                      <a:pt x="5" y="5"/>
                    </a:cubicBezTo>
                    <a:cubicBezTo>
                      <a:pt x="2" y="2"/>
                      <a:pt x="0" y="0"/>
                      <a:pt x="0" y="0"/>
                    </a:cubicBezTo>
                    <a:cubicBezTo>
                      <a:pt x="0" y="0"/>
                      <a:pt x="2" y="1"/>
                      <a:pt x="5" y="4"/>
                    </a:cubicBezTo>
                    <a:cubicBezTo>
                      <a:pt x="8" y="7"/>
                      <a:pt x="13" y="11"/>
                      <a:pt x="18" y="17"/>
                    </a:cubicBezTo>
                    <a:cubicBezTo>
                      <a:pt x="29" y="28"/>
                      <a:pt x="44" y="43"/>
                      <a:pt x="60" y="60"/>
                    </a:cubicBezTo>
                    <a:cubicBezTo>
                      <a:pt x="76" y="77"/>
                      <a:pt x="91" y="93"/>
                      <a:pt x="101" y="105"/>
                    </a:cubicBezTo>
                    <a:cubicBezTo>
                      <a:pt x="106" y="110"/>
                      <a:pt x="110" y="115"/>
                      <a:pt x="113" y="118"/>
                    </a:cubicBezTo>
                    <a:cubicBezTo>
                      <a:pt x="116" y="122"/>
                      <a:pt x="117" y="123"/>
                      <a:pt x="117" y="12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8" name="任意多边形: 形状 1317">
                <a:extLst>
                  <a:ext uri="{FF2B5EF4-FFF2-40B4-BE49-F238E27FC236}">
                    <a16:creationId xmlns:a16="http://schemas.microsoft.com/office/drawing/2014/main" id="{966DE97B-268A-41C3-9059-6CB1C7D9EA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2901" y="4227513"/>
                <a:ext cx="319088" cy="306388"/>
              </a:xfrm>
              <a:custGeom>
                <a:avLst/>
                <a:gdLst>
                  <a:gd name="T0" fmla="*/ 3 w 140"/>
                  <a:gd name="T1" fmla="*/ 38 h 134"/>
                  <a:gd name="T2" fmla="*/ 38 w 140"/>
                  <a:gd name="T3" fmla="*/ 8 h 134"/>
                  <a:gd name="T4" fmla="*/ 65 w 140"/>
                  <a:gd name="T5" fmla="*/ 4 h 134"/>
                  <a:gd name="T6" fmla="*/ 121 w 140"/>
                  <a:gd name="T7" fmla="*/ 41 h 134"/>
                  <a:gd name="T8" fmla="*/ 125 w 140"/>
                  <a:gd name="T9" fmla="*/ 102 h 134"/>
                  <a:gd name="T10" fmla="*/ 61 w 140"/>
                  <a:gd name="T11" fmla="*/ 131 h 134"/>
                  <a:gd name="T12" fmla="*/ 13 w 140"/>
                  <a:gd name="T13" fmla="*/ 110 h 134"/>
                  <a:gd name="T14" fmla="*/ 1 w 140"/>
                  <a:gd name="T15" fmla="*/ 85 h 134"/>
                  <a:gd name="T16" fmla="*/ 41 w 140"/>
                  <a:gd name="T17" fmla="*/ 11 h 134"/>
                  <a:gd name="T18" fmla="*/ 126 w 140"/>
                  <a:gd name="T19" fmla="*/ 28 h 134"/>
                  <a:gd name="T20" fmla="*/ 133 w 140"/>
                  <a:gd name="T21" fmla="*/ 90 h 134"/>
                  <a:gd name="T22" fmla="*/ 110 w 140"/>
                  <a:gd name="T23" fmla="*/ 114 h 134"/>
                  <a:gd name="T24" fmla="*/ 18 w 140"/>
                  <a:gd name="T25" fmla="*/ 104 h 134"/>
                  <a:gd name="T26" fmla="*/ 7 w 140"/>
                  <a:gd name="T27" fmla="*/ 46 h 134"/>
                  <a:gd name="T28" fmla="*/ 30 w 140"/>
                  <a:gd name="T29" fmla="*/ 27 h 134"/>
                  <a:gd name="T30" fmla="*/ 89 w 140"/>
                  <a:gd name="T31" fmla="*/ 27 h 134"/>
                  <a:gd name="T32" fmla="*/ 128 w 140"/>
                  <a:gd name="T33" fmla="*/ 65 h 134"/>
                  <a:gd name="T34" fmla="*/ 112 w 140"/>
                  <a:gd name="T35" fmla="*/ 114 h 134"/>
                  <a:gd name="T36" fmla="*/ 44 w 140"/>
                  <a:gd name="T37" fmla="*/ 130 h 134"/>
                  <a:gd name="T38" fmla="*/ 15 w 140"/>
                  <a:gd name="T39" fmla="*/ 99 h 134"/>
                  <a:gd name="T40" fmla="*/ 26 w 140"/>
                  <a:gd name="T41" fmla="*/ 45 h 134"/>
                  <a:gd name="T42" fmla="*/ 80 w 140"/>
                  <a:gd name="T43" fmla="*/ 25 h 134"/>
                  <a:gd name="T44" fmla="*/ 122 w 140"/>
                  <a:gd name="T45" fmla="*/ 45 h 134"/>
                  <a:gd name="T46" fmla="*/ 122 w 140"/>
                  <a:gd name="T47" fmla="*/ 46 h 134"/>
                  <a:gd name="T48" fmla="*/ 80 w 140"/>
                  <a:gd name="T49" fmla="*/ 26 h 134"/>
                  <a:gd name="T50" fmla="*/ 27 w 140"/>
                  <a:gd name="T51" fmla="*/ 46 h 134"/>
                  <a:gd name="T52" fmla="*/ 16 w 140"/>
                  <a:gd name="T53" fmla="*/ 99 h 134"/>
                  <a:gd name="T54" fmla="*/ 45 w 140"/>
                  <a:gd name="T55" fmla="*/ 128 h 134"/>
                  <a:gd name="T56" fmla="*/ 111 w 140"/>
                  <a:gd name="T57" fmla="*/ 112 h 134"/>
                  <a:gd name="T58" fmla="*/ 126 w 140"/>
                  <a:gd name="T59" fmla="*/ 65 h 134"/>
                  <a:gd name="T60" fmla="*/ 89 w 140"/>
                  <a:gd name="T61" fmla="*/ 29 h 134"/>
                  <a:gd name="T62" fmla="*/ 31 w 140"/>
                  <a:gd name="T63" fmla="*/ 28 h 134"/>
                  <a:gd name="T64" fmla="*/ 4 w 140"/>
                  <a:gd name="T65" fmla="*/ 76 h 134"/>
                  <a:gd name="T66" fmla="*/ 47 w 140"/>
                  <a:gd name="T67" fmla="*/ 118 h 134"/>
                  <a:gd name="T68" fmla="*/ 122 w 140"/>
                  <a:gd name="T69" fmla="*/ 102 h 134"/>
                  <a:gd name="T70" fmla="*/ 136 w 140"/>
                  <a:gd name="T71" fmla="*/ 58 h 134"/>
                  <a:gd name="T72" fmla="*/ 100 w 140"/>
                  <a:gd name="T73" fmla="*/ 10 h 134"/>
                  <a:gd name="T74" fmla="*/ 6 w 140"/>
                  <a:gd name="T75" fmla="*/ 57 h 134"/>
                  <a:gd name="T76" fmla="*/ 7 w 140"/>
                  <a:gd name="T77" fmla="*/ 98 h 134"/>
                  <a:gd name="T78" fmla="*/ 36 w 140"/>
                  <a:gd name="T79" fmla="*/ 123 h 134"/>
                  <a:gd name="T80" fmla="*/ 108 w 140"/>
                  <a:gd name="T81" fmla="*/ 117 h 134"/>
                  <a:gd name="T82" fmla="*/ 120 w 140"/>
                  <a:gd name="T83" fmla="*/ 41 h 134"/>
                  <a:gd name="T84" fmla="*/ 64 w 140"/>
                  <a:gd name="T85" fmla="*/ 5 h 134"/>
                  <a:gd name="T86" fmla="*/ 38 w 140"/>
                  <a:gd name="T87" fmla="*/ 9 h 134"/>
                  <a:gd name="T88" fmla="*/ 3 w 140"/>
                  <a:gd name="T89" fmla="*/ 38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40" h="134">
                    <a:moveTo>
                      <a:pt x="2" y="41"/>
                    </a:moveTo>
                    <a:cubicBezTo>
                      <a:pt x="2" y="41"/>
                      <a:pt x="2" y="40"/>
                      <a:pt x="3" y="38"/>
                    </a:cubicBezTo>
                    <a:cubicBezTo>
                      <a:pt x="4" y="36"/>
                      <a:pt x="6" y="33"/>
                      <a:pt x="8" y="30"/>
                    </a:cubicBezTo>
                    <a:cubicBezTo>
                      <a:pt x="13" y="23"/>
                      <a:pt x="22" y="13"/>
                      <a:pt x="38" y="8"/>
                    </a:cubicBezTo>
                    <a:cubicBezTo>
                      <a:pt x="42" y="6"/>
                      <a:pt x="46" y="5"/>
                      <a:pt x="50" y="5"/>
                    </a:cubicBezTo>
                    <a:cubicBezTo>
                      <a:pt x="55" y="4"/>
                      <a:pt x="60" y="4"/>
                      <a:pt x="65" y="4"/>
                    </a:cubicBezTo>
                    <a:cubicBezTo>
                      <a:pt x="74" y="5"/>
                      <a:pt x="85" y="9"/>
                      <a:pt x="95" y="15"/>
                    </a:cubicBezTo>
                    <a:cubicBezTo>
                      <a:pt x="105" y="21"/>
                      <a:pt x="114" y="29"/>
                      <a:pt x="121" y="41"/>
                    </a:cubicBezTo>
                    <a:cubicBezTo>
                      <a:pt x="128" y="52"/>
                      <a:pt x="133" y="66"/>
                      <a:pt x="132" y="80"/>
                    </a:cubicBezTo>
                    <a:cubicBezTo>
                      <a:pt x="132" y="88"/>
                      <a:pt x="129" y="95"/>
                      <a:pt x="125" y="102"/>
                    </a:cubicBezTo>
                    <a:cubicBezTo>
                      <a:pt x="121" y="108"/>
                      <a:pt x="115" y="114"/>
                      <a:pt x="109" y="118"/>
                    </a:cubicBezTo>
                    <a:cubicBezTo>
                      <a:pt x="95" y="127"/>
                      <a:pt x="78" y="132"/>
                      <a:pt x="61" y="131"/>
                    </a:cubicBezTo>
                    <a:cubicBezTo>
                      <a:pt x="53" y="130"/>
                      <a:pt x="44" y="128"/>
                      <a:pt x="36" y="125"/>
                    </a:cubicBezTo>
                    <a:cubicBezTo>
                      <a:pt x="27" y="122"/>
                      <a:pt x="19" y="117"/>
                      <a:pt x="13" y="110"/>
                    </a:cubicBezTo>
                    <a:cubicBezTo>
                      <a:pt x="10" y="106"/>
                      <a:pt x="8" y="103"/>
                      <a:pt x="5" y="98"/>
                    </a:cubicBezTo>
                    <a:cubicBezTo>
                      <a:pt x="3" y="94"/>
                      <a:pt x="2" y="89"/>
                      <a:pt x="1" y="85"/>
                    </a:cubicBezTo>
                    <a:cubicBezTo>
                      <a:pt x="0" y="75"/>
                      <a:pt x="1" y="66"/>
                      <a:pt x="4" y="56"/>
                    </a:cubicBezTo>
                    <a:cubicBezTo>
                      <a:pt x="10" y="38"/>
                      <a:pt x="23" y="21"/>
                      <a:pt x="41" y="11"/>
                    </a:cubicBezTo>
                    <a:cubicBezTo>
                      <a:pt x="59" y="1"/>
                      <a:pt x="82" y="0"/>
                      <a:pt x="101" y="8"/>
                    </a:cubicBezTo>
                    <a:cubicBezTo>
                      <a:pt x="111" y="13"/>
                      <a:pt x="120" y="19"/>
                      <a:pt x="126" y="28"/>
                    </a:cubicBezTo>
                    <a:cubicBezTo>
                      <a:pt x="133" y="36"/>
                      <a:pt x="137" y="47"/>
                      <a:pt x="138" y="58"/>
                    </a:cubicBezTo>
                    <a:cubicBezTo>
                      <a:pt x="140" y="69"/>
                      <a:pt x="138" y="80"/>
                      <a:pt x="133" y="90"/>
                    </a:cubicBezTo>
                    <a:cubicBezTo>
                      <a:pt x="131" y="95"/>
                      <a:pt x="127" y="100"/>
                      <a:pt x="124" y="104"/>
                    </a:cubicBezTo>
                    <a:cubicBezTo>
                      <a:pt x="120" y="108"/>
                      <a:pt x="115" y="111"/>
                      <a:pt x="110" y="114"/>
                    </a:cubicBezTo>
                    <a:cubicBezTo>
                      <a:pt x="91" y="125"/>
                      <a:pt x="67" y="127"/>
                      <a:pt x="46" y="120"/>
                    </a:cubicBezTo>
                    <a:cubicBezTo>
                      <a:pt x="36" y="117"/>
                      <a:pt x="26" y="112"/>
                      <a:pt x="18" y="104"/>
                    </a:cubicBezTo>
                    <a:cubicBezTo>
                      <a:pt x="10" y="97"/>
                      <a:pt x="4" y="87"/>
                      <a:pt x="2" y="76"/>
                    </a:cubicBezTo>
                    <a:cubicBezTo>
                      <a:pt x="0" y="66"/>
                      <a:pt x="2" y="55"/>
                      <a:pt x="7" y="46"/>
                    </a:cubicBezTo>
                    <a:cubicBezTo>
                      <a:pt x="9" y="41"/>
                      <a:pt x="13" y="37"/>
                      <a:pt x="17" y="34"/>
                    </a:cubicBezTo>
                    <a:cubicBezTo>
                      <a:pt x="21" y="31"/>
                      <a:pt x="26" y="28"/>
                      <a:pt x="30" y="27"/>
                    </a:cubicBezTo>
                    <a:cubicBezTo>
                      <a:pt x="40" y="23"/>
                      <a:pt x="50" y="22"/>
                      <a:pt x="60" y="23"/>
                    </a:cubicBezTo>
                    <a:cubicBezTo>
                      <a:pt x="70" y="23"/>
                      <a:pt x="80" y="24"/>
                      <a:pt x="89" y="27"/>
                    </a:cubicBezTo>
                    <a:cubicBezTo>
                      <a:pt x="98" y="29"/>
                      <a:pt x="107" y="34"/>
                      <a:pt x="114" y="40"/>
                    </a:cubicBezTo>
                    <a:cubicBezTo>
                      <a:pt x="121" y="47"/>
                      <a:pt x="126" y="55"/>
                      <a:pt x="128" y="65"/>
                    </a:cubicBezTo>
                    <a:cubicBezTo>
                      <a:pt x="130" y="74"/>
                      <a:pt x="129" y="83"/>
                      <a:pt x="126" y="92"/>
                    </a:cubicBezTo>
                    <a:cubicBezTo>
                      <a:pt x="124" y="100"/>
                      <a:pt x="119" y="108"/>
                      <a:pt x="112" y="114"/>
                    </a:cubicBezTo>
                    <a:cubicBezTo>
                      <a:pt x="100" y="126"/>
                      <a:pt x="84" y="133"/>
                      <a:pt x="68" y="133"/>
                    </a:cubicBezTo>
                    <a:cubicBezTo>
                      <a:pt x="60" y="134"/>
                      <a:pt x="52" y="132"/>
                      <a:pt x="44" y="130"/>
                    </a:cubicBezTo>
                    <a:cubicBezTo>
                      <a:pt x="37" y="127"/>
                      <a:pt x="31" y="123"/>
                      <a:pt x="26" y="117"/>
                    </a:cubicBezTo>
                    <a:cubicBezTo>
                      <a:pt x="21" y="112"/>
                      <a:pt x="17" y="106"/>
                      <a:pt x="15" y="99"/>
                    </a:cubicBezTo>
                    <a:cubicBezTo>
                      <a:pt x="12" y="92"/>
                      <a:pt x="12" y="86"/>
                      <a:pt x="12" y="79"/>
                    </a:cubicBezTo>
                    <a:cubicBezTo>
                      <a:pt x="12" y="66"/>
                      <a:pt x="18" y="54"/>
                      <a:pt x="26" y="45"/>
                    </a:cubicBezTo>
                    <a:cubicBezTo>
                      <a:pt x="34" y="37"/>
                      <a:pt x="44" y="31"/>
                      <a:pt x="53" y="28"/>
                    </a:cubicBezTo>
                    <a:cubicBezTo>
                      <a:pt x="62" y="25"/>
                      <a:pt x="72" y="24"/>
                      <a:pt x="80" y="25"/>
                    </a:cubicBezTo>
                    <a:cubicBezTo>
                      <a:pt x="96" y="27"/>
                      <a:pt x="107" y="34"/>
                      <a:pt x="114" y="39"/>
                    </a:cubicBezTo>
                    <a:cubicBezTo>
                      <a:pt x="118" y="42"/>
                      <a:pt x="120" y="44"/>
                      <a:pt x="122" y="45"/>
                    </a:cubicBezTo>
                    <a:cubicBezTo>
                      <a:pt x="123" y="47"/>
                      <a:pt x="124" y="48"/>
                      <a:pt x="124" y="48"/>
                    </a:cubicBezTo>
                    <a:cubicBezTo>
                      <a:pt x="124" y="48"/>
                      <a:pt x="123" y="47"/>
                      <a:pt x="122" y="46"/>
                    </a:cubicBezTo>
                    <a:cubicBezTo>
                      <a:pt x="120" y="44"/>
                      <a:pt x="117" y="42"/>
                      <a:pt x="114" y="39"/>
                    </a:cubicBezTo>
                    <a:cubicBezTo>
                      <a:pt x="107" y="35"/>
                      <a:pt x="96" y="28"/>
                      <a:pt x="80" y="26"/>
                    </a:cubicBezTo>
                    <a:cubicBezTo>
                      <a:pt x="72" y="25"/>
                      <a:pt x="63" y="26"/>
                      <a:pt x="53" y="29"/>
                    </a:cubicBezTo>
                    <a:cubicBezTo>
                      <a:pt x="44" y="32"/>
                      <a:pt x="35" y="38"/>
                      <a:pt x="27" y="46"/>
                    </a:cubicBezTo>
                    <a:cubicBezTo>
                      <a:pt x="19" y="54"/>
                      <a:pt x="14" y="66"/>
                      <a:pt x="13" y="79"/>
                    </a:cubicBezTo>
                    <a:cubicBezTo>
                      <a:pt x="13" y="85"/>
                      <a:pt x="14" y="92"/>
                      <a:pt x="16" y="99"/>
                    </a:cubicBezTo>
                    <a:cubicBezTo>
                      <a:pt x="18" y="105"/>
                      <a:pt x="22" y="111"/>
                      <a:pt x="27" y="116"/>
                    </a:cubicBezTo>
                    <a:cubicBezTo>
                      <a:pt x="32" y="122"/>
                      <a:pt x="38" y="126"/>
                      <a:pt x="45" y="128"/>
                    </a:cubicBezTo>
                    <a:cubicBezTo>
                      <a:pt x="52" y="131"/>
                      <a:pt x="60" y="132"/>
                      <a:pt x="67" y="132"/>
                    </a:cubicBezTo>
                    <a:cubicBezTo>
                      <a:pt x="83" y="131"/>
                      <a:pt x="99" y="124"/>
                      <a:pt x="111" y="112"/>
                    </a:cubicBezTo>
                    <a:cubicBezTo>
                      <a:pt x="117" y="107"/>
                      <a:pt x="122" y="99"/>
                      <a:pt x="125" y="91"/>
                    </a:cubicBezTo>
                    <a:cubicBezTo>
                      <a:pt x="127" y="83"/>
                      <a:pt x="128" y="74"/>
                      <a:pt x="126" y="65"/>
                    </a:cubicBezTo>
                    <a:cubicBezTo>
                      <a:pt x="124" y="56"/>
                      <a:pt x="120" y="48"/>
                      <a:pt x="113" y="42"/>
                    </a:cubicBezTo>
                    <a:cubicBezTo>
                      <a:pt x="106" y="35"/>
                      <a:pt x="98" y="31"/>
                      <a:pt x="89" y="29"/>
                    </a:cubicBezTo>
                    <a:cubicBezTo>
                      <a:pt x="80" y="26"/>
                      <a:pt x="70" y="25"/>
                      <a:pt x="60" y="25"/>
                    </a:cubicBezTo>
                    <a:cubicBezTo>
                      <a:pt x="50" y="24"/>
                      <a:pt x="40" y="25"/>
                      <a:pt x="31" y="28"/>
                    </a:cubicBezTo>
                    <a:cubicBezTo>
                      <a:pt x="22" y="32"/>
                      <a:pt x="13" y="38"/>
                      <a:pt x="8" y="47"/>
                    </a:cubicBezTo>
                    <a:cubicBezTo>
                      <a:pt x="4" y="55"/>
                      <a:pt x="2" y="66"/>
                      <a:pt x="4" y="76"/>
                    </a:cubicBezTo>
                    <a:cubicBezTo>
                      <a:pt x="6" y="86"/>
                      <a:pt x="12" y="95"/>
                      <a:pt x="19" y="103"/>
                    </a:cubicBezTo>
                    <a:cubicBezTo>
                      <a:pt x="27" y="110"/>
                      <a:pt x="36" y="115"/>
                      <a:pt x="47" y="118"/>
                    </a:cubicBezTo>
                    <a:cubicBezTo>
                      <a:pt x="67" y="125"/>
                      <a:pt x="90" y="123"/>
                      <a:pt x="109" y="112"/>
                    </a:cubicBezTo>
                    <a:cubicBezTo>
                      <a:pt x="114" y="110"/>
                      <a:pt x="118" y="106"/>
                      <a:pt x="122" y="102"/>
                    </a:cubicBezTo>
                    <a:cubicBezTo>
                      <a:pt x="126" y="98"/>
                      <a:pt x="129" y="94"/>
                      <a:pt x="131" y="89"/>
                    </a:cubicBezTo>
                    <a:cubicBezTo>
                      <a:pt x="136" y="80"/>
                      <a:pt x="137" y="69"/>
                      <a:pt x="136" y="58"/>
                    </a:cubicBezTo>
                    <a:cubicBezTo>
                      <a:pt x="135" y="48"/>
                      <a:pt x="131" y="37"/>
                      <a:pt x="125" y="29"/>
                    </a:cubicBezTo>
                    <a:cubicBezTo>
                      <a:pt x="118" y="21"/>
                      <a:pt x="110" y="14"/>
                      <a:pt x="100" y="10"/>
                    </a:cubicBezTo>
                    <a:cubicBezTo>
                      <a:pt x="81" y="2"/>
                      <a:pt x="59" y="3"/>
                      <a:pt x="42" y="13"/>
                    </a:cubicBezTo>
                    <a:cubicBezTo>
                      <a:pt x="24" y="23"/>
                      <a:pt x="11" y="39"/>
                      <a:pt x="6" y="57"/>
                    </a:cubicBezTo>
                    <a:cubicBezTo>
                      <a:pt x="3" y="66"/>
                      <a:pt x="2" y="75"/>
                      <a:pt x="3" y="84"/>
                    </a:cubicBezTo>
                    <a:cubicBezTo>
                      <a:pt x="4" y="89"/>
                      <a:pt x="5" y="93"/>
                      <a:pt x="7" y="98"/>
                    </a:cubicBezTo>
                    <a:cubicBezTo>
                      <a:pt x="9" y="102"/>
                      <a:pt x="12" y="105"/>
                      <a:pt x="15" y="109"/>
                    </a:cubicBezTo>
                    <a:cubicBezTo>
                      <a:pt x="21" y="115"/>
                      <a:pt x="28" y="120"/>
                      <a:pt x="36" y="123"/>
                    </a:cubicBezTo>
                    <a:cubicBezTo>
                      <a:pt x="44" y="127"/>
                      <a:pt x="53" y="128"/>
                      <a:pt x="61" y="129"/>
                    </a:cubicBezTo>
                    <a:cubicBezTo>
                      <a:pt x="78" y="130"/>
                      <a:pt x="95" y="126"/>
                      <a:pt x="108" y="117"/>
                    </a:cubicBezTo>
                    <a:cubicBezTo>
                      <a:pt x="121" y="109"/>
                      <a:pt x="130" y="95"/>
                      <a:pt x="131" y="80"/>
                    </a:cubicBezTo>
                    <a:cubicBezTo>
                      <a:pt x="132" y="66"/>
                      <a:pt x="127" y="52"/>
                      <a:pt x="120" y="41"/>
                    </a:cubicBezTo>
                    <a:cubicBezTo>
                      <a:pt x="113" y="30"/>
                      <a:pt x="104" y="22"/>
                      <a:pt x="94" y="16"/>
                    </a:cubicBezTo>
                    <a:cubicBezTo>
                      <a:pt x="85" y="10"/>
                      <a:pt x="74" y="6"/>
                      <a:pt x="64" y="5"/>
                    </a:cubicBezTo>
                    <a:cubicBezTo>
                      <a:pt x="60" y="5"/>
                      <a:pt x="55" y="5"/>
                      <a:pt x="50" y="6"/>
                    </a:cubicBezTo>
                    <a:cubicBezTo>
                      <a:pt x="46" y="6"/>
                      <a:pt x="42" y="7"/>
                      <a:pt x="38" y="9"/>
                    </a:cubicBezTo>
                    <a:cubicBezTo>
                      <a:pt x="23" y="14"/>
                      <a:pt x="13" y="23"/>
                      <a:pt x="8" y="30"/>
                    </a:cubicBezTo>
                    <a:cubicBezTo>
                      <a:pt x="6" y="34"/>
                      <a:pt x="4" y="36"/>
                      <a:pt x="3" y="38"/>
                    </a:cubicBezTo>
                    <a:cubicBezTo>
                      <a:pt x="3" y="40"/>
                      <a:pt x="2" y="41"/>
                      <a:pt x="2" y="41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9" name="任意多边形: 形状 1318">
                <a:extLst>
                  <a:ext uri="{FF2B5EF4-FFF2-40B4-BE49-F238E27FC236}">
                    <a16:creationId xmlns:a16="http://schemas.microsoft.com/office/drawing/2014/main" id="{F0A4D0CC-D8F1-4236-AFA7-05FF726CB4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6701" y="4573588"/>
                <a:ext cx="330200" cy="276225"/>
              </a:xfrm>
              <a:custGeom>
                <a:avLst/>
                <a:gdLst>
                  <a:gd name="T0" fmla="*/ 143 w 144"/>
                  <a:gd name="T1" fmla="*/ 1 h 121"/>
                  <a:gd name="T2" fmla="*/ 73 w 144"/>
                  <a:gd name="T3" fmla="*/ 61 h 121"/>
                  <a:gd name="T4" fmla="*/ 0 w 144"/>
                  <a:gd name="T5" fmla="*/ 120 h 121"/>
                  <a:gd name="T6" fmla="*/ 71 w 144"/>
                  <a:gd name="T7" fmla="*/ 60 h 121"/>
                  <a:gd name="T8" fmla="*/ 143 w 144"/>
                  <a:gd name="T9" fmla="*/ 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121">
                    <a:moveTo>
                      <a:pt x="143" y="1"/>
                    </a:moveTo>
                    <a:cubicBezTo>
                      <a:pt x="144" y="1"/>
                      <a:pt x="112" y="28"/>
                      <a:pt x="73" y="61"/>
                    </a:cubicBezTo>
                    <a:cubicBezTo>
                      <a:pt x="33" y="94"/>
                      <a:pt x="1" y="121"/>
                      <a:pt x="0" y="120"/>
                    </a:cubicBezTo>
                    <a:cubicBezTo>
                      <a:pt x="0" y="120"/>
                      <a:pt x="32" y="93"/>
                      <a:pt x="71" y="60"/>
                    </a:cubicBezTo>
                    <a:cubicBezTo>
                      <a:pt x="111" y="27"/>
                      <a:pt x="143" y="0"/>
                      <a:pt x="14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0" name="任意多边形: 形状 1319">
                <a:extLst>
                  <a:ext uri="{FF2B5EF4-FFF2-40B4-BE49-F238E27FC236}">
                    <a16:creationId xmlns:a16="http://schemas.microsoft.com/office/drawing/2014/main" id="{5D6B871C-6A3E-44BD-84F0-DA748A46FA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4326" y="4600576"/>
                <a:ext cx="295275" cy="239713"/>
              </a:xfrm>
              <a:custGeom>
                <a:avLst/>
                <a:gdLst>
                  <a:gd name="T0" fmla="*/ 129 w 129"/>
                  <a:gd name="T1" fmla="*/ 105 h 105"/>
                  <a:gd name="T2" fmla="*/ 124 w 129"/>
                  <a:gd name="T3" fmla="*/ 101 h 105"/>
                  <a:gd name="T4" fmla="*/ 110 w 129"/>
                  <a:gd name="T5" fmla="*/ 90 h 105"/>
                  <a:gd name="T6" fmla="*/ 64 w 129"/>
                  <a:gd name="T7" fmla="*/ 53 h 105"/>
                  <a:gd name="T8" fmla="*/ 19 w 129"/>
                  <a:gd name="T9" fmla="*/ 16 h 105"/>
                  <a:gd name="T10" fmla="*/ 5 w 129"/>
                  <a:gd name="T11" fmla="*/ 4 h 105"/>
                  <a:gd name="T12" fmla="*/ 0 w 129"/>
                  <a:gd name="T13" fmla="*/ 0 h 105"/>
                  <a:gd name="T14" fmla="*/ 6 w 129"/>
                  <a:gd name="T15" fmla="*/ 4 h 105"/>
                  <a:gd name="T16" fmla="*/ 20 w 129"/>
                  <a:gd name="T17" fmla="*/ 15 h 105"/>
                  <a:gd name="T18" fmla="*/ 65 w 129"/>
                  <a:gd name="T19" fmla="*/ 52 h 105"/>
                  <a:gd name="T20" fmla="*/ 111 w 129"/>
                  <a:gd name="T21" fmla="*/ 89 h 105"/>
                  <a:gd name="T22" fmla="*/ 124 w 129"/>
                  <a:gd name="T23" fmla="*/ 100 h 105"/>
                  <a:gd name="T24" fmla="*/ 129 w 129"/>
                  <a:gd name="T2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105">
                    <a:moveTo>
                      <a:pt x="129" y="105"/>
                    </a:moveTo>
                    <a:cubicBezTo>
                      <a:pt x="129" y="105"/>
                      <a:pt x="127" y="104"/>
                      <a:pt x="124" y="101"/>
                    </a:cubicBezTo>
                    <a:cubicBezTo>
                      <a:pt x="120" y="98"/>
                      <a:pt x="116" y="95"/>
                      <a:pt x="110" y="90"/>
                    </a:cubicBezTo>
                    <a:cubicBezTo>
                      <a:pt x="98" y="81"/>
                      <a:pt x="82" y="68"/>
                      <a:pt x="64" y="53"/>
                    </a:cubicBezTo>
                    <a:cubicBezTo>
                      <a:pt x="46" y="39"/>
                      <a:pt x="30" y="26"/>
                      <a:pt x="19" y="16"/>
                    </a:cubicBezTo>
                    <a:cubicBezTo>
                      <a:pt x="13" y="11"/>
                      <a:pt x="9" y="7"/>
                      <a:pt x="5" y="4"/>
                    </a:cubicBezTo>
                    <a:cubicBezTo>
                      <a:pt x="2" y="2"/>
                      <a:pt x="0" y="0"/>
                      <a:pt x="0" y="0"/>
                    </a:cubicBezTo>
                    <a:cubicBezTo>
                      <a:pt x="0" y="0"/>
                      <a:pt x="2" y="1"/>
                      <a:pt x="6" y="4"/>
                    </a:cubicBezTo>
                    <a:cubicBezTo>
                      <a:pt x="9" y="7"/>
                      <a:pt x="14" y="10"/>
                      <a:pt x="20" y="15"/>
                    </a:cubicBezTo>
                    <a:cubicBezTo>
                      <a:pt x="31" y="24"/>
                      <a:pt x="48" y="37"/>
                      <a:pt x="65" y="52"/>
                    </a:cubicBezTo>
                    <a:cubicBezTo>
                      <a:pt x="83" y="66"/>
                      <a:pt x="99" y="79"/>
                      <a:pt x="111" y="89"/>
                    </a:cubicBezTo>
                    <a:cubicBezTo>
                      <a:pt x="116" y="94"/>
                      <a:pt x="121" y="97"/>
                      <a:pt x="124" y="100"/>
                    </a:cubicBezTo>
                    <a:cubicBezTo>
                      <a:pt x="128" y="103"/>
                      <a:pt x="129" y="105"/>
                      <a:pt x="129" y="10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1" name="任意多边形: 形状 1320">
                <a:extLst>
                  <a:ext uri="{FF2B5EF4-FFF2-40B4-BE49-F238E27FC236}">
                    <a16:creationId xmlns:a16="http://schemas.microsoft.com/office/drawing/2014/main" id="{37A79FC2-5E2F-4F74-B41F-78A72CBAEB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4576" y="4576763"/>
                <a:ext cx="315913" cy="236538"/>
              </a:xfrm>
              <a:custGeom>
                <a:avLst/>
                <a:gdLst>
                  <a:gd name="T0" fmla="*/ 137 w 138"/>
                  <a:gd name="T1" fmla="*/ 0 h 103"/>
                  <a:gd name="T2" fmla="*/ 70 w 138"/>
                  <a:gd name="T3" fmla="*/ 52 h 103"/>
                  <a:gd name="T4" fmla="*/ 0 w 138"/>
                  <a:gd name="T5" fmla="*/ 103 h 103"/>
                  <a:gd name="T6" fmla="*/ 68 w 138"/>
                  <a:gd name="T7" fmla="*/ 51 h 103"/>
                  <a:gd name="T8" fmla="*/ 137 w 138"/>
                  <a:gd name="T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8" h="103">
                    <a:moveTo>
                      <a:pt x="137" y="0"/>
                    </a:moveTo>
                    <a:cubicBezTo>
                      <a:pt x="138" y="1"/>
                      <a:pt x="107" y="24"/>
                      <a:pt x="70" y="52"/>
                    </a:cubicBezTo>
                    <a:cubicBezTo>
                      <a:pt x="32" y="80"/>
                      <a:pt x="1" y="103"/>
                      <a:pt x="0" y="103"/>
                    </a:cubicBezTo>
                    <a:cubicBezTo>
                      <a:pt x="0" y="102"/>
                      <a:pt x="30" y="79"/>
                      <a:pt x="68" y="51"/>
                    </a:cubicBezTo>
                    <a:cubicBezTo>
                      <a:pt x="106" y="22"/>
                      <a:pt x="137" y="0"/>
                      <a:pt x="13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2" name="任意多边形: 形状 1321">
                <a:extLst>
                  <a:ext uri="{FF2B5EF4-FFF2-40B4-BE49-F238E27FC236}">
                    <a16:creationId xmlns:a16="http://schemas.microsoft.com/office/drawing/2014/main" id="{4D31137E-1A35-4657-B98F-158E2BD3FF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8863" y="4592638"/>
                <a:ext cx="327025" cy="211138"/>
              </a:xfrm>
              <a:custGeom>
                <a:avLst/>
                <a:gdLst>
                  <a:gd name="T0" fmla="*/ 143 w 143"/>
                  <a:gd name="T1" fmla="*/ 92 h 92"/>
                  <a:gd name="T2" fmla="*/ 71 w 143"/>
                  <a:gd name="T3" fmla="*/ 47 h 92"/>
                  <a:gd name="T4" fmla="*/ 0 w 143"/>
                  <a:gd name="T5" fmla="*/ 1 h 92"/>
                  <a:gd name="T6" fmla="*/ 72 w 143"/>
                  <a:gd name="T7" fmla="*/ 45 h 92"/>
                  <a:gd name="T8" fmla="*/ 143 w 143"/>
                  <a:gd name="T9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92">
                    <a:moveTo>
                      <a:pt x="143" y="92"/>
                    </a:moveTo>
                    <a:cubicBezTo>
                      <a:pt x="143" y="92"/>
                      <a:pt x="111" y="72"/>
                      <a:pt x="71" y="47"/>
                    </a:cubicBezTo>
                    <a:cubicBezTo>
                      <a:pt x="32" y="22"/>
                      <a:pt x="0" y="1"/>
                      <a:pt x="0" y="1"/>
                    </a:cubicBezTo>
                    <a:cubicBezTo>
                      <a:pt x="1" y="0"/>
                      <a:pt x="33" y="20"/>
                      <a:pt x="72" y="45"/>
                    </a:cubicBezTo>
                    <a:cubicBezTo>
                      <a:pt x="112" y="71"/>
                      <a:pt x="143" y="91"/>
                      <a:pt x="143" y="9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3" name="任意多边形: 形状 1322">
                <a:extLst>
                  <a:ext uri="{FF2B5EF4-FFF2-40B4-BE49-F238E27FC236}">
                    <a16:creationId xmlns:a16="http://schemas.microsoft.com/office/drawing/2014/main" id="{165CB09E-A4AE-424B-A551-883264B2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4838" y="4913313"/>
                <a:ext cx="327025" cy="336550"/>
              </a:xfrm>
              <a:custGeom>
                <a:avLst/>
                <a:gdLst>
                  <a:gd name="T0" fmla="*/ 1 w 143"/>
                  <a:gd name="T1" fmla="*/ 146 h 147"/>
                  <a:gd name="T2" fmla="*/ 71 w 143"/>
                  <a:gd name="T3" fmla="*/ 72 h 147"/>
                  <a:gd name="T4" fmla="*/ 143 w 143"/>
                  <a:gd name="T5" fmla="*/ 0 h 147"/>
                  <a:gd name="T6" fmla="*/ 72 w 143"/>
                  <a:gd name="T7" fmla="*/ 74 h 147"/>
                  <a:gd name="T8" fmla="*/ 1 w 143"/>
                  <a:gd name="T9" fmla="*/ 14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147">
                    <a:moveTo>
                      <a:pt x="1" y="146"/>
                    </a:moveTo>
                    <a:cubicBezTo>
                      <a:pt x="0" y="146"/>
                      <a:pt x="32" y="113"/>
                      <a:pt x="71" y="72"/>
                    </a:cubicBezTo>
                    <a:cubicBezTo>
                      <a:pt x="110" y="32"/>
                      <a:pt x="142" y="0"/>
                      <a:pt x="143" y="0"/>
                    </a:cubicBezTo>
                    <a:cubicBezTo>
                      <a:pt x="143" y="0"/>
                      <a:pt x="112" y="33"/>
                      <a:pt x="72" y="74"/>
                    </a:cubicBezTo>
                    <a:cubicBezTo>
                      <a:pt x="33" y="114"/>
                      <a:pt x="1" y="147"/>
                      <a:pt x="1" y="146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4" name="任意多边形: 形状 1323">
                <a:extLst>
                  <a:ext uri="{FF2B5EF4-FFF2-40B4-BE49-F238E27FC236}">
                    <a16:creationId xmlns:a16="http://schemas.microsoft.com/office/drawing/2014/main" id="{44C8D5E1-C132-4FB0-8E12-E704EFFEB8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8651" y="4935538"/>
                <a:ext cx="282575" cy="311150"/>
              </a:xfrm>
              <a:custGeom>
                <a:avLst/>
                <a:gdLst>
                  <a:gd name="T0" fmla="*/ 124 w 124"/>
                  <a:gd name="T1" fmla="*/ 136 h 136"/>
                  <a:gd name="T2" fmla="*/ 123 w 124"/>
                  <a:gd name="T3" fmla="*/ 135 h 136"/>
                  <a:gd name="T4" fmla="*/ 119 w 124"/>
                  <a:gd name="T5" fmla="*/ 130 h 136"/>
                  <a:gd name="T6" fmla="*/ 107 w 124"/>
                  <a:gd name="T7" fmla="*/ 115 h 136"/>
                  <a:gd name="T8" fmla="*/ 64 w 124"/>
                  <a:gd name="T9" fmla="*/ 65 h 136"/>
                  <a:gd name="T10" fmla="*/ 19 w 124"/>
                  <a:gd name="T11" fmla="*/ 19 h 136"/>
                  <a:gd name="T12" fmla="*/ 5 w 124"/>
                  <a:gd name="T13" fmla="*/ 5 h 136"/>
                  <a:gd name="T14" fmla="*/ 1 w 124"/>
                  <a:gd name="T15" fmla="*/ 1 h 136"/>
                  <a:gd name="T16" fmla="*/ 0 w 124"/>
                  <a:gd name="T17" fmla="*/ 0 h 136"/>
                  <a:gd name="T18" fmla="*/ 1 w 124"/>
                  <a:gd name="T19" fmla="*/ 1 h 136"/>
                  <a:gd name="T20" fmla="*/ 5 w 124"/>
                  <a:gd name="T21" fmla="*/ 4 h 136"/>
                  <a:gd name="T22" fmla="*/ 20 w 124"/>
                  <a:gd name="T23" fmla="*/ 18 h 136"/>
                  <a:gd name="T24" fmla="*/ 66 w 124"/>
                  <a:gd name="T25" fmla="*/ 64 h 136"/>
                  <a:gd name="T26" fmla="*/ 108 w 124"/>
                  <a:gd name="T27" fmla="*/ 114 h 136"/>
                  <a:gd name="T28" fmla="*/ 120 w 124"/>
                  <a:gd name="T29" fmla="*/ 130 h 136"/>
                  <a:gd name="T30" fmla="*/ 123 w 124"/>
                  <a:gd name="T31" fmla="*/ 134 h 136"/>
                  <a:gd name="T32" fmla="*/ 124 w 124"/>
                  <a:gd name="T3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4" h="136">
                    <a:moveTo>
                      <a:pt x="124" y="136"/>
                    </a:moveTo>
                    <a:cubicBezTo>
                      <a:pt x="124" y="136"/>
                      <a:pt x="123" y="136"/>
                      <a:pt x="123" y="135"/>
                    </a:cubicBezTo>
                    <a:cubicBezTo>
                      <a:pt x="122" y="134"/>
                      <a:pt x="120" y="132"/>
                      <a:pt x="119" y="130"/>
                    </a:cubicBezTo>
                    <a:cubicBezTo>
                      <a:pt x="116" y="127"/>
                      <a:pt x="112" y="121"/>
                      <a:pt x="107" y="115"/>
                    </a:cubicBezTo>
                    <a:cubicBezTo>
                      <a:pt x="96" y="102"/>
                      <a:pt x="82" y="84"/>
                      <a:pt x="64" y="65"/>
                    </a:cubicBezTo>
                    <a:cubicBezTo>
                      <a:pt x="47" y="47"/>
                      <a:pt x="31" y="30"/>
                      <a:pt x="19" y="19"/>
                    </a:cubicBezTo>
                    <a:cubicBezTo>
                      <a:pt x="13" y="13"/>
                      <a:pt x="8" y="8"/>
                      <a:pt x="5" y="5"/>
                    </a:cubicBezTo>
                    <a:cubicBezTo>
                      <a:pt x="3" y="3"/>
                      <a:pt x="2" y="2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2" y="2"/>
                      <a:pt x="4" y="3"/>
                      <a:pt x="5" y="4"/>
                    </a:cubicBezTo>
                    <a:cubicBezTo>
                      <a:pt x="9" y="7"/>
                      <a:pt x="14" y="12"/>
                      <a:pt x="20" y="18"/>
                    </a:cubicBezTo>
                    <a:cubicBezTo>
                      <a:pt x="32" y="29"/>
                      <a:pt x="49" y="45"/>
                      <a:pt x="66" y="64"/>
                    </a:cubicBezTo>
                    <a:cubicBezTo>
                      <a:pt x="83" y="83"/>
                      <a:pt x="98" y="101"/>
                      <a:pt x="108" y="114"/>
                    </a:cubicBezTo>
                    <a:cubicBezTo>
                      <a:pt x="113" y="121"/>
                      <a:pt x="117" y="126"/>
                      <a:pt x="120" y="130"/>
                    </a:cubicBezTo>
                    <a:cubicBezTo>
                      <a:pt x="121" y="132"/>
                      <a:pt x="122" y="133"/>
                      <a:pt x="123" y="134"/>
                    </a:cubicBezTo>
                    <a:cubicBezTo>
                      <a:pt x="124" y="135"/>
                      <a:pt x="124" y="136"/>
                      <a:pt x="124" y="136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5" name="任意多边形: 形状 1324">
                <a:extLst>
                  <a:ext uri="{FF2B5EF4-FFF2-40B4-BE49-F238E27FC236}">
                    <a16:creationId xmlns:a16="http://schemas.microsoft.com/office/drawing/2014/main" id="{FDC8B6D1-F4F0-4804-A27E-E88E5C367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3463" y="4830763"/>
                <a:ext cx="403225" cy="390525"/>
              </a:xfrm>
              <a:custGeom>
                <a:avLst/>
                <a:gdLst>
                  <a:gd name="T0" fmla="*/ 174 w 176"/>
                  <a:gd name="T1" fmla="*/ 14 h 171"/>
                  <a:gd name="T2" fmla="*/ 151 w 176"/>
                  <a:gd name="T3" fmla="*/ 171 h 171"/>
                  <a:gd name="T4" fmla="*/ 0 w 176"/>
                  <a:gd name="T5" fmla="*/ 145 h 171"/>
                  <a:gd name="T6" fmla="*/ 33 w 176"/>
                  <a:gd name="T7" fmla="*/ 0 h 171"/>
                  <a:gd name="T8" fmla="*/ 174 w 176"/>
                  <a:gd name="T9" fmla="*/ 14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6" h="171">
                    <a:moveTo>
                      <a:pt x="174" y="14"/>
                    </a:moveTo>
                    <a:cubicBezTo>
                      <a:pt x="174" y="14"/>
                      <a:pt x="176" y="112"/>
                      <a:pt x="151" y="171"/>
                    </a:cubicBezTo>
                    <a:cubicBezTo>
                      <a:pt x="0" y="145"/>
                      <a:pt x="0" y="145"/>
                      <a:pt x="0" y="145"/>
                    </a:cubicBezTo>
                    <a:cubicBezTo>
                      <a:pt x="0" y="145"/>
                      <a:pt x="45" y="52"/>
                      <a:pt x="33" y="0"/>
                    </a:cubicBezTo>
                    <a:lnTo>
                      <a:pt x="174" y="14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6" name="任意多边形: 形状 1325">
                <a:extLst>
                  <a:ext uri="{FF2B5EF4-FFF2-40B4-BE49-F238E27FC236}">
                    <a16:creationId xmlns:a16="http://schemas.microsoft.com/office/drawing/2014/main" id="{5EA1F2FE-43F1-485E-B5CA-131A980425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0763" y="4803776"/>
                <a:ext cx="411163" cy="409575"/>
              </a:xfrm>
              <a:custGeom>
                <a:avLst/>
                <a:gdLst>
                  <a:gd name="T0" fmla="*/ 180 w 180"/>
                  <a:gd name="T1" fmla="*/ 22 h 179"/>
                  <a:gd name="T2" fmla="*/ 150 w 180"/>
                  <a:gd name="T3" fmla="*/ 179 h 179"/>
                  <a:gd name="T4" fmla="*/ 0 w 180"/>
                  <a:gd name="T5" fmla="*/ 149 h 179"/>
                  <a:gd name="T6" fmla="*/ 30 w 180"/>
                  <a:gd name="T7" fmla="*/ 0 h 179"/>
                  <a:gd name="T8" fmla="*/ 180 w 180"/>
                  <a:gd name="T9" fmla="*/ 22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179">
                    <a:moveTo>
                      <a:pt x="180" y="22"/>
                    </a:moveTo>
                    <a:cubicBezTo>
                      <a:pt x="180" y="22"/>
                      <a:pt x="161" y="143"/>
                      <a:pt x="150" y="17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0" y="149"/>
                      <a:pt x="30" y="32"/>
                      <a:pt x="30" y="0"/>
                    </a:cubicBezTo>
                    <a:lnTo>
                      <a:pt x="180" y="22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7" name="任意多边形: 形状 1326">
                <a:extLst>
                  <a:ext uri="{FF2B5EF4-FFF2-40B4-BE49-F238E27FC236}">
                    <a16:creationId xmlns:a16="http://schemas.microsoft.com/office/drawing/2014/main" id="{A6E223C8-E0EF-430D-981E-F22FC77C33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951" y="4924426"/>
                <a:ext cx="230188" cy="52388"/>
              </a:xfrm>
              <a:custGeom>
                <a:avLst/>
                <a:gdLst>
                  <a:gd name="T0" fmla="*/ 0 w 101"/>
                  <a:gd name="T1" fmla="*/ 1 h 23"/>
                  <a:gd name="T2" fmla="*/ 50 w 101"/>
                  <a:gd name="T3" fmla="*/ 12 h 23"/>
                  <a:gd name="T4" fmla="*/ 101 w 101"/>
                  <a:gd name="T5" fmla="*/ 22 h 23"/>
                  <a:gd name="T6" fmla="*/ 51 w 101"/>
                  <a:gd name="T7" fmla="*/ 10 h 23"/>
                  <a:gd name="T8" fmla="*/ 0 w 101"/>
                  <a:gd name="T9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23">
                    <a:moveTo>
                      <a:pt x="0" y="1"/>
                    </a:moveTo>
                    <a:cubicBezTo>
                      <a:pt x="0" y="1"/>
                      <a:pt x="23" y="7"/>
                      <a:pt x="50" y="12"/>
                    </a:cubicBezTo>
                    <a:cubicBezTo>
                      <a:pt x="78" y="18"/>
                      <a:pt x="101" y="23"/>
                      <a:pt x="101" y="22"/>
                    </a:cubicBezTo>
                    <a:cubicBezTo>
                      <a:pt x="101" y="22"/>
                      <a:pt x="79" y="16"/>
                      <a:pt x="51" y="10"/>
                    </a:cubicBezTo>
                    <a:cubicBezTo>
                      <a:pt x="23" y="5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8" name="任意多边形: 形状 1327">
                <a:extLst>
                  <a:ext uri="{FF2B5EF4-FFF2-40B4-BE49-F238E27FC236}">
                    <a16:creationId xmlns:a16="http://schemas.microsoft.com/office/drawing/2014/main" id="{64215A38-A857-449F-9964-E4DF15A6A6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426" y="4984751"/>
                <a:ext cx="230188" cy="49213"/>
              </a:xfrm>
              <a:custGeom>
                <a:avLst/>
                <a:gdLst>
                  <a:gd name="T0" fmla="*/ 0 w 101"/>
                  <a:gd name="T1" fmla="*/ 0 h 22"/>
                  <a:gd name="T2" fmla="*/ 51 w 101"/>
                  <a:gd name="T3" fmla="*/ 12 h 22"/>
                  <a:gd name="T4" fmla="*/ 101 w 101"/>
                  <a:gd name="T5" fmla="*/ 22 h 22"/>
                  <a:gd name="T6" fmla="*/ 51 w 101"/>
                  <a:gd name="T7" fmla="*/ 10 h 22"/>
                  <a:gd name="T8" fmla="*/ 0 w 10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22">
                    <a:moveTo>
                      <a:pt x="0" y="0"/>
                    </a:moveTo>
                    <a:cubicBezTo>
                      <a:pt x="0" y="1"/>
                      <a:pt x="23" y="6"/>
                      <a:pt x="51" y="12"/>
                    </a:cubicBezTo>
                    <a:cubicBezTo>
                      <a:pt x="78" y="18"/>
                      <a:pt x="101" y="22"/>
                      <a:pt x="101" y="22"/>
                    </a:cubicBezTo>
                    <a:cubicBezTo>
                      <a:pt x="101" y="21"/>
                      <a:pt x="79" y="16"/>
                      <a:pt x="51" y="10"/>
                    </a:cubicBezTo>
                    <a:cubicBezTo>
                      <a:pt x="23" y="4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9" name="任意多边形: 形状 1328">
                <a:extLst>
                  <a:ext uri="{FF2B5EF4-FFF2-40B4-BE49-F238E27FC236}">
                    <a16:creationId xmlns:a16="http://schemas.microsoft.com/office/drawing/2014/main" id="{7E696807-2407-4F88-8E35-28BEB279E2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638" y="5049838"/>
                <a:ext cx="133350" cy="30163"/>
              </a:xfrm>
              <a:custGeom>
                <a:avLst/>
                <a:gdLst>
                  <a:gd name="T0" fmla="*/ 0 w 58"/>
                  <a:gd name="T1" fmla="*/ 0 h 13"/>
                  <a:gd name="T2" fmla="*/ 9 w 58"/>
                  <a:gd name="T3" fmla="*/ 3 h 13"/>
                  <a:gd name="T4" fmla="*/ 29 w 58"/>
                  <a:gd name="T5" fmla="*/ 7 h 13"/>
                  <a:gd name="T6" fmla="*/ 49 w 58"/>
                  <a:gd name="T7" fmla="*/ 11 h 13"/>
                  <a:gd name="T8" fmla="*/ 58 w 58"/>
                  <a:gd name="T9" fmla="*/ 12 h 13"/>
                  <a:gd name="T10" fmla="*/ 50 w 58"/>
                  <a:gd name="T11" fmla="*/ 10 h 13"/>
                  <a:gd name="T12" fmla="*/ 29 w 58"/>
                  <a:gd name="T13" fmla="*/ 5 h 13"/>
                  <a:gd name="T14" fmla="*/ 9 w 58"/>
                  <a:gd name="T15" fmla="*/ 1 h 13"/>
                  <a:gd name="T16" fmla="*/ 0 w 58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13">
                    <a:moveTo>
                      <a:pt x="0" y="0"/>
                    </a:moveTo>
                    <a:cubicBezTo>
                      <a:pt x="0" y="1"/>
                      <a:pt x="4" y="2"/>
                      <a:pt x="9" y="3"/>
                    </a:cubicBezTo>
                    <a:cubicBezTo>
                      <a:pt x="14" y="4"/>
                      <a:pt x="21" y="6"/>
                      <a:pt x="29" y="7"/>
                    </a:cubicBezTo>
                    <a:cubicBezTo>
                      <a:pt x="37" y="9"/>
                      <a:pt x="44" y="10"/>
                      <a:pt x="49" y="11"/>
                    </a:cubicBezTo>
                    <a:cubicBezTo>
                      <a:pt x="55" y="12"/>
                      <a:pt x="58" y="13"/>
                      <a:pt x="58" y="12"/>
                    </a:cubicBezTo>
                    <a:cubicBezTo>
                      <a:pt x="58" y="12"/>
                      <a:pt x="55" y="11"/>
                      <a:pt x="50" y="10"/>
                    </a:cubicBezTo>
                    <a:cubicBezTo>
                      <a:pt x="44" y="9"/>
                      <a:pt x="37" y="7"/>
                      <a:pt x="29" y="5"/>
                    </a:cubicBezTo>
                    <a:cubicBezTo>
                      <a:pt x="21" y="4"/>
                      <a:pt x="14" y="2"/>
                      <a:pt x="9" y="1"/>
                    </a:cubicBezTo>
                    <a:cubicBezTo>
                      <a:pt x="4" y="1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0" name="任意多边形: 形状 1329">
                <a:extLst>
                  <a:ext uri="{FF2B5EF4-FFF2-40B4-BE49-F238E27FC236}">
                    <a16:creationId xmlns:a16="http://schemas.microsoft.com/office/drawing/2014/main" id="{209AFEB8-3F56-406E-8E28-9B101F9612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0976" y="4232276"/>
                <a:ext cx="382588" cy="358775"/>
              </a:xfrm>
              <a:custGeom>
                <a:avLst/>
                <a:gdLst>
                  <a:gd name="T0" fmla="*/ 151 w 167"/>
                  <a:gd name="T1" fmla="*/ 0 h 157"/>
                  <a:gd name="T2" fmla="*/ 151 w 167"/>
                  <a:gd name="T3" fmla="*/ 157 h 157"/>
                  <a:gd name="T4" fmla="*/ 0 w 167"/>
                  <a:gd name="T5" fmla="*/ 153 h 157"/>
                  <a:gd name="T6" fmla="*/ 11 w 167"/>
                  <a:gd name="T7" fmla="*/ 7 h 157"/>
                  <a:gd name="T8" fmla="*/ 151 w 167"/>
                  <a:gd name="T9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157">
                    <a:moveTo>
                      <a:pt x="151" y="0"/>
                    </a:moveTo>
                    <a:cubicBezTo>
                      <a:pt x="151" y="0"/>
                      <a:pt x="167" y="96"/>
                      <a:pt x="151" y="157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53"/>
                      <a:pt x="31" y="56"/>
                      <a:pt x="11" y="7"/>
                    </a:cubicBez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1" name="任意多边形: 形状 1330">
                <a:extLst>
                  <a:ext uri="{FF2B5EF4-FFF2-40B4-BE49-F238E27FC236}">
                    <a16:creationId xmlns:a16="http://schemas.microsoft.com/office/drawing/2014/main" id="{91CC2342-EDBF-4C03-BD8C-89FC6F103E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5101" y="4222751"/>
                <a:ext cx="361950" cy="358775"/>
              </a:xfrm>
              <a:custGeom>
                <a:avLst/>
                <a:gdLst>
                  <a:gd name="T0" fmla="*/ 158 w 158"/>
                  <a:gd name="T1" fmla="*/ 0 h 157"/>
                  <a:gd name="T2" fmla="*/ 151 w 158"/>
                  <a:gd name="T3" fmla="*/ 157 h 157"/>
                  <a:gd name="T4" fmla="*/ 0 w 158"/>
                  <a:gd name="T5" fmla="*/ 150 h 157"/>
                  <a:gd name="T6" fmla="*/ 8 w 158"/>
                  <a:gd name="T7" fmla="*/ 0 h 157"/>
                  <a:gd name="T8" fmla="*/ 158 w 158"/>
                  <a:gd name="T9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157">
                    <a:moveTo>
                      <a:pt x="158" y="0"/>
                    </a:moveTo>
                    <a:cubicBezTo>
                      <a:pt x="158" y="0"/>
                      <a:pt x="157" y="121"/>
                      <a:pt x="151" y="157"/>
                    </a:cubicBezTo>
                    <a:cubicBezTo>
                      <a:pt x="0" y="150"/>
                      <a:pt x="0" y="150"/>
                      <a:pt x="0" y="150"/>
                    </a:cubicBezTo>
                    <a:cubicBezTo>
                      <a:pt x="0" y="150"/>
                      <a:pt x="13" y="32"/>
                      <a:pt x="8" y="0"/>
                    </a:cubicBezTo>
                    <a:lnTo>
                      <a:pt x="158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2" name="任意多边形: 形状 1331">
                <a:extLst>
                  <a:ext uri="{FF2B5EF4-FFF2-40B4-BE49-F238E27FC236}">
                    <a16:creationId xmlns:a16="http://schemas.microsoft.com/office/drawing/2014/main" id="{7BC8FC4F-1584-46AF-8FD1-D3511251A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1776" y="4344988"/>
                <a:ext cx="233363" cy="3175"/>
              </a:xfrm>
              <a:custGeom>
                <a:avLst/>
                <a:gdLst>
                  <a:gd name="T0" fmla="*/ 0 w 102"/>
                  <a:gd name="T1" fmla="*/ 1 h 2"/>
                  <a:gd name="T2" fmla="*/ 51 w 102"/>
                  <a:gd name="T3" fmla="*/ 2 h 2"/>
                  <a:gd name="T4" fmla="*/ 102 w 102"/>
                  <a:gd name="T5" fmla="*/ 1 h 2"/>
                  <a:gd name="T6" fmla="*/ 51 w 102"/>
                  <a:gd name="T7" fmla="*/ 0 h 2"/>
                  <a:gd name="T8" fmla="*/ 0 w 102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2">
                    <a:moveTo>
                      <a:pt x="0" y="1"/>
                    </a:moveTo>
                    <a:cubicBezTo>
                      <a:pt x="0" y="1"/>
                      <a:pt x="23" y="2"/>
                      <a:pt x="51" y="2"/>
                    </a:cubicBezTo>
                    <a:cubicBezTo>
                      <a:pt x="79" y="2"/>
                      <a:pt x="102" y="2"/>
                      <a:pt x="102" y="1"/>
                    </a:cubicBezTo>
                    <a:cubicBezTo>
                      <a:pt x="102" y="0"/>
                      <a:pt x="79" y="0"/>
                      <a:pt x="51" y="0"/>
                    </a:cubicBezTo>
                    <a:cubicBezTo>
                      <a:pt x="23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3" name="任意多边形: 形状 1332">
                <a:extLst>
                  <a:ext uri="{FF2B5EF4-FFF2-40B4-BE49-F238E27FC236}">
                    <a16:creationId xmlns:a16="http://schemas.microsoft.com/office/drawing/2014/main" id="{D46E1E0B-46F6-4615-BD51-72B2E72B6D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6538" y="4402138"/>
                <a:ext cx="231775" cy="3175"/>
              </a:xfrm>
              <a:custGeom>
                <a:avLst/>
                <a:gdLst>
                  <a:gd name="T0" fmla="*/ 0 w 101"/>
                  <a:gd name="T1" fmla="*/ 1 h 2"/>
                  <a:gd name="T2" fmla="*/ 50 w 101"/>
                  <a:gd name="T3" fmla="*/ 2 h 2"/>
                  <a:gd name="T4" fmla="*/ 101 w 101"/>
                  <a:gd name="T5" fmla="*/ 2 h 2"/>
                  <a:gd name="T6" fmla="*/ 50 w 101"/>
                  <a:gd name="T7" fmla="*/ 0 h 2"/>
                  <a:gd name="T8" fmla="*/ 0 w 101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2">
                    <a:moveTo>
                      <a:pt x="0" y="1"/>
                    </a:moveTo>
                    <a:cubicBezTo>
                      <a:pt x="0" y="2"/>
                      <a:pt x="22" y="2"/>
                      <a:pt x="50" y="2"/>
                    </a:cubicBezTo>
                    <a:cubicBezTo>
                      <a:pt x="78" y="2"/>
                      <a:pt x="101" y="2"/>
                      <a:pt x="101" y="2"/>
                    </a:cubicBezTo>
                    <a:cubicBezTo>
                      <a:pt x="101" y="1"/>
                      <a:pt x="78" y="0"/>
                      <a:pt x="50" y="0"/>
                    </a:cubicBezTo>
                    <a:cubicBezTo>
                      <a:pt x="22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4" name="任意多边形: 形状 1333">
                <a:extLst>
                  <a:ext uri="{FF2B5EF4-FFF2-40B4-BE49-F238E27FC236}">
                    <a16:creationId xmlns:a16="http://schemas.microsoft.com/office/drawing/2014/main" id="{E6C80CD0-B6C3-4C35-A12F-F5DE5B715D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8451" y="4456113"/>
                <a:ext cx="131763" cy="4763"/>
              </a:xfrm>
              <a:custGeom>
                <a:avLst/>
                <a:gdLst>
                  <a:gd name="T0" fmla="*/ 0 w 58"/>
                  <a:gd name="T1" fmla="*/ 1 h 2"/>
                  <a:gd name="T2" fmla="*/ 8 w 58"/>
                  <a:gd name="T3" fmla="*/ 2 h 2"/>
                  <a:gd name="T4" fmla="*/ 29 w 58"/>
                  <a:gd name="T5" fmla="*/ 2 h 2"/>
                  <a:gd name="T6" fmla="*/ 49 w 58"/>
                  <a:gd name="T7" fmla="*/ 2 h 2"/>
                  <a:gd name="T8" fmla="*/ 58 w 58"/>
                  <a:gd name="T9" fmla="*/ 1 h 2"/>
                  <a:gd name="T10" fmla="*/ 49 w 58"/>
                  <a:gd name="T11" fmla="*/ 0 h 2"/>
                  <a:gd name="T12" fmla="*/ 29 w 58"/>
                  <a:gd name="T13" fmla="*/ 0 h 2"/>
                  <a:gd name="T14" fmla="*/ 8 w 58"/>
                  <a:gd name="T15" fmla="*/ 0 h 2"/>
                  <a:gd name="T16" fmla="*/ 0 w 58"/>
                  <a:gd name="T1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2">
                    <a:moveTo>
                      <a:pt x="0" y="1"/>
                    </a:moveTo>
                    <a:cubicBezTo>
                      <a:pt x="0" y="1"/>
                      <a:pt x="3" y="1"/>
                      <a:pt x="8" y="2"/>
                    </a:cubicBezTo>
                    <a:cubicBezTo>
                      <a:pt x="13" y="2"/>
                      <a:pt x="21" y="2"/>
                      <a:pt x="29" y="2"/>
                    </a:cubicBezTo>
                    <a:cubicBezTo>
                      <a:pt x="37" y="2"/>
                      <a:pt x="44" y="2"/>
                      <a:pt x="49" y="2"/>
                    </a:cubicBezTo>
                    <a:cubicBezTo>
                      <a:pt x="54" y="1"/>
                      <a:pt x="58" y="1"/>
                      <a:pt x="58" y="1"/>
                    </a:cubicBezTo>
                    <a:cubicBezTo>
                      <a:pt x="58" y="1"/>
                      <a:pt x="54" y="0"/>
                      <a:pt x="49" y="0"/>
                    </a:cubicBezTo>
                    <a:cubicBezTo>
                      <a:pt x="44" y="0"/>
                      <a:pt x="37" y="0"/>
                      <a:pt x="29" y="0"/>
                    </a:cubicBezTo>
                    <a:cubicBezTo>
                      <a:pt x="21" y="0"/>
                      <a:pt x="13" y="0"/>
                      <a:pt x="8" y="0"/>
                    </a:cubicBezTo>
                    <a:cubicBezTo>
                      <a:pt x="3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5" name="任意多边形: 形状 1334">
                <a:extLst>
                  <a:ext uri="{FF2B5EF4-FFF2-40B4-BE49-F238E27FC236}">
                    <a16:creationId xmlns:a16="http://schemas.microsoft.com/office/drawing/2014/main" id="{C1E0DD31-CF6E-47EF-AC9C-EDAAB0E677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3701" y="3079751"/>
                <a:ext cx="441325" cy="522288"/>
              </a:xfrm>
              <a:custGeom>
                <a:avLst/>
                <a:gdLst>
                  <a:gd name="T0" fmla="*/ 91 w 193"/>
                  <a:gd name="T1" fmla="*/ 228 h 228"/>
                  <a:gd name="T2" fmla="*/ 19 w 193"/>
                  <a:gd name="T3" fmla="*/ 182 h 228"/>
                  <a:gd name="T4" fmla="*/ 6 w 193"/>
                  <a:gd name="T5" fmla="*/ 92 h 228"/>
                  <a:gd name="T6" fmla="*/ 74 w 193"/>
                  <a:gd name="T7" fmla="*/ 8 h 228"/>
                  <a:gd name="T8" fmla="*/ 175 w 193"/>
                  <a:gd name="T9" fmla="*/ 44 h 228"/>
                  <a:gd name="T10" fmla="*/ 191 w 193"/>
                  <a:gd name="T11" fmla="*/ 107 h 228"/>
                  <a:gd name="T12" fmla="*/ 178 w 193"/>
                  <a:gd name="T13" fmla="*/ 118 h 228"/>
                  <a:gd name="T14" fmla="*/ 167 w 193"/>
                  <a:gd name="T15" fmla="*/ 105 h 228"/>
                  <a:gd name="T16" fmla="*/ 154 w 193"/>
                  <a:gd name="T17" fmla="*/ 56 h 228"/>
                  <a:gd name="T18" fmla="*/ 81 w 193"/>
                  <a:gd name="T19" fmla="*/ 31 h 228"/>
                  <a:gd name="T20" fmla="*/ 30 w 193"/>
                  <a:gd name="T21" fmla="*/ 97 h 228"/>
                  <a:gd name="T22" fmla="*/ 40 w 193"/>
                  <a:gd name="T23" fmla="*/ 171 h 228"/>
                  <a:gd name="T24" fmla="*/ 97 w 193"/>
                  <a:gd name="T25" fmla="*/ 203 h 228"/>
                  <a:gd name="T26" fmla="*/ 111 w 193"/>
                  <a:gd name="T27" fmla="*/ 213 h 228"/>
                  <a:gd name="T28" fmla="*/ 101 w 193"/>
                  <a:gd name="T29" fmla="*/ 227 h 228"/>
                  <a:gd name="T30" fmla="*/ 91 w 193"/>
                  <a:gd name="T31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3" h="228">
                    <a:moveTo>
                      <a:pt x="91" y="228"/>
                    </a:moveTo>
                    <a:cubicBezTo>
                      <a:pt x="62" y="228"/>
                      <a:pt x="34" y="210"/>
                      <a:pt x="19" y="182"/>
                    </a:cubicBezTo>
                    <a:cubicBezTo>
                      <a:pt x="5" y="155"/>
                      <a:pt x="0" y="122"/>
                      <a:pt x="6" y="92"/>
                    </a:cubicBezTo>
                    <a:cubicBezTo>
                      <a:pt x="15" y="52"/>
                      <a:pt x="41" y="19"/>
                      <a:pt x="74" y="8"/>
                    </a:cubicBezTo>
                    <a:cubicBezTo>
                      <a:pt x="102" y="0"/>
                      <a:pt x="151" y="5"/>
                      <a:pt x="175" y="44"/>
                    </a:cubicBezTo>
                    <a:cubicBezTo>
                      <a:pt x="193" y="74"/>
                      <a:pt x="191" y="106"/>
                      <a:pt x="191" y="107"/>
                    </a:cubicBezTo>
                    <a:cubicBezTo>
                      <a:pt x="190" y="114"/>
                      <a:pt x="185" y="119"/>
                      <a:pt x="178" y="118"/>
                    </a:cubicBezTo>
                    <a:cubicBezTo>
                      <a:pt x="172" y="118"/>
                      <a:pt x="167" y="112"/>
                      <a:pt x="167" y="105"/>
                    </a:cubicBezTo>
                    <a:cubicBezTo>
                      <a:pt x="167" y="105"/>
                      <a:pt x="168" y="80"/>
                      <a:pt x="154" y="56"/>
                    </a:cubicBezTo>
                    <a:cubicBezTo>
                      <a:pt x="136" y="26"/>
                      <a:pt x="96" y="26"/>
                      <a:pt x="81" y="31"/>
                    </a:cubicBezTo>
                    <a:cubicBezTo>
                      <a:pt x="53" y="40"/>
                      <a:pt x="35" y="71"/>
                      <a:pt x="30" y="97"/>
                    </a:cubicBezTo>
                    <a:cubicBezTo>
                      <a:pt x="25" y="122"/>
                      <a:pt x="28" y="149"/>
                      <a:pt x="40" y="171"/>
                    </a:cubicBezTo>
                    <a:cubicBezTo>
                      <a:pt x="52" y="193"/>
                      <a:pt x="76" y="207"/>
                      <a:pt x="97" y="203"/>
                    </a:cubicBezTo>
                    <a:cubicBezTo>
                      <a:pt x="104" y="202"/>
                      <a:pt x="110" y="207"/>
                      <a:pt x="111" y="213"/>
                    </a:cubicBezTo>
                    <a:cubicBezTo>
                      <a:pt x="112" y="220"/>
                      <a:pt x="107" y="226"/>
                      <a:pt x="101" y="227"/>
                    </a:cubicBezTo>
                    <a:cubicBezTo>
                      <a:pt x="97" y="227"/>
                      <a:pt x="94" y="228"/>
                      <a:pt x="91" y="22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6" name="任意多边形: 形状 1335">
                <a:extLst>
                  <a:ext uri="{FF2B5EF4-FFF2-40B4-BE49-F238E27FC236}">
                    <a16:creationId xmlns:a16="http://schemas.microsoft.com/office/drawing/2014/main" id="{A0D75EEF-F183-4BEE-9485-BFD76EA4EE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2051" y="3087688"/>
                <a:ext cx="295275" cy="514350"/>
              </a:xfrm>
              <a:custGeom>
                <a:avLst/>
                <a:gdLst>
                  <a:gd name="T0" fmla="*/ 91 w 129"/>
                  <a:gd name="T1" fmla="*/ 225 h 225"/>
                  <a:gd name="T2" fmla="*/ 19 w 129"/>
                  <a:gd name="T3" fmla="*/ 179 h 225"/>
                  <a:gd name="T4" fmla="*/ 6 w 129"/>
                  <a:gd name="T5" fmla="*/ 89 h 225"/>
                  <a:gd name="T6" fmla="*/ 74 w 129"/>
                  <a:gd name="T7" fmla="*/ 5 h 225"/>
                  <a:gd name="T8" fmla="*/ 129 w 129"/>
                  <a:gd name="T9" fmla="*/ 8 h 225"/>
                  <a:gd name="T10" fmla="*/ 120 w 129"/>
                  <a:gd name="T11" fmla="*/ 31 h 225"/>
                  <a:gd name="T12" fmla="*/ 81 w 129"/>
                  <a:gd name="T13" fmla="*/ 28 h 225"/>
                  <a:gd name="T14" fmla="*/ 30 w 129"/>
                  <a:gd name="T15" fmla="*/ 94 h 225"/>
                  <a:gd name="T16" fmla="*/ 40 w 129"/>
                  <a:gd name="T17" fmla="*/ 168 h 225"/>
                  <a:gd name="T18" fmla="*/ 97 w 129"/>
                  <a:gd name="T19" fmla="*/ 200 h 225"/>
                  <a:gd name="T20" fmla="*/ 101 w 129"/>
                  <a:gd name="T21" fmla="*/ 224 h 225"/>
                  <a:gd name="T22" fmla="*/ 91 w 129"/>
                  <a:gd name="T2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9" h="225">
                    <a:moveTo>
                      <a:pt x="91" y="225"/>
                    </a:moveTo>
                    <a:cubicBezTo>
                      <a:pt x="63" y="225"/>
                      <a:pt x="34" y="207"/>
                      <a:pt x="19" y="179"/>
                    </a:cubicBezTo>
                    <a:cubicBezTo>
                      <a:pt x="5" y="152"/>
                      <a:pt x="0" y="119"/>
                      <a:pt x="6" y="89"/>
                    </a:cubicBezTo>
                    <a:cubicBezTo>
                      <a:pt x="13" y="55"/>
                      <a:pt x="37" y="16"/>
                      <a:pt x="74" y="5"/>
                    </a:cubicBezTo>
                    <a:cubicBezTo>
                      <a:pt x="91" y="0"/>
                      <a:pt x="112" y="2"/>
                      <a:pt x="129" y="8"/>
                    </a:cubicBezTo>
                    <a:cubicBezTo>
                      <a:pt x="120" y="31"/>
                      <a:pt x="120" y="31"/>
                      <a:pt x="120" y="31"/>
                    </a:cubicBezTo>
                    <a:cubicBezTo>
                      <a:pt x="105" y="25"/>
                      <a:pt x="90" y="26"/>
                      <a:pt x="81" y="28"/>
                    </a:cubicBezTo>
                    <a:cubicBezTo>
                      <a:pt x="53" y="36"/>
                      <a:pt x="35" y="67"/>
                      <a:pt x="30" y="94"/>
                    </a:cubicBezTo>
                    <a:cubicBezTo>
                      <a:pt x="25" y="119"/>
                      <a:pt x="29" y="146"/>
                      <a:pt x="40" y="168"/>
                    </a:cubicBezTo>
                    <a:cubicBezTo>
                      <a:pt x="52" y="190"/>
                      <a:pt x="76" y="204"/>
                      <a:pt x="97" y="200"/>
                    </a:cubicBezTo>
                    <a:cubicBezTo>
                      <a:pt x="101" y="224"/>
                      <a:pt x="101" y="224"/>
                      <a:pt x="101" y="224"/>
                    </a:cubicBezTo>
                    <a:cubicBezTo>
                      <a:pt x="98" y="224"/>
                      <a:pt x="94" y="225"/>
                      <a:pt x="91" y="22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7" name="任意多边形: 形状 1336">
                <a:extLst>
                  <a:ext uri="{FF2B5EF4-FFF2-40B4-BE49-F238E27FC236}">
                    <a16:creationId xmlns:a16="http://schemas.microsoft.com/office/drawing/2014/main" id="{FCF375A7-3133-4732-991A-78B18460A6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4038" y="3327401"/>
                <a:ext cx="404813" cy="136525"/>
              </a:xfrm>
              <a:custGeom>
                <a:avLst/>
                <a:gdLst>
                  <a:gd name="T0" fmla="*/ 16 w 255"/>
                  <a:gd name="T1" fmla="*/ 0 h 86"/>
                  <a:gd name="T2" fmla="*/ 0 w 255"/>
                  <a:gd name="T3" fmla="*/ 86 h 86"/>
                  <a:gd name="T4" fmla="*/ 234 w 255"/>
                  <a:gd name="T5" fmla="*/ 86 h 86"/>
                  <a:gd name="T6" fmla="*/ 255 w 255"/>
                  <a:gd name="T7" fmla="*/ 0 h 86"/>
                  <a:gd name="T8" fmla="*/ 16 w 255"/>
                  <a:gd name="T9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5" h="86">
                    <a:moveTo>
                      <a:pt x="16" y="0"/>
                    </a:moveTo>
                    <a:lnTo>
                      <a:pt x="0" y="86"/>
                    </a:lnTo>
                    <a:lnTo>
                      <a:pt x="234" y="86"/>
                    </a:lnTo>
                    <a:lnTo>
                      <a:pt x="255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8" name="椭圆 1337">
                <a:extLst>
                  <a:ext uri="{FF2B5EF4-FFF2-40B4-BE49-F238E27FC236}">
                    <a16:creationId xmlns:a16="http://schemas.microsoft.com/office/drawing/2014/main" id="{77B46C40-20DA-4310-9C18-B36ED8A1BE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54613" y="3519488"/>
                <a:ext cx="119063" cy="1190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9" name="椭圆 1338">
                <a:extLst>
                  <a:ext uri="{FF2B5EF4-FFF2-40B4-BE49-F238E27FC236}">
                    <a16:creationId xmlns:a16="http://schemas.microsoft.com/office/drawing/2014/main" id="{BE3F3972-0771-467A-886F-4BF3FB0219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24676" y="3519488"/>
                <a:ext cx="119063" cy="1190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0" name="任意多边形: 形状 1339">
                <a:extLst>
                  <a:ext uri="{FF2B5EF4-FFF2-40B4-BE49-F238E27FC236}">
                    <a16:creationId xmlns:a16="http://schemas.microsoft.com/office/drawing/2014/main" id="{D19F3E84-EEB0-4AA6-9649-E1BAAD39F7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7213" y="2435226"/>
                <a:ext cx="558800" cy="481013"/>
              </a:xfrm>
              <a:custGeom>
                <a:avLst/>
                <a:gdLst>
                  <a:gd name="T0" fmla="*/ 272 w 352"/>
                  <a:gd name="T1" fmla="*/ 0 h 303"/>
                  <a:gd name="T2" fmla="*/ 211 w 352"/>
                  <a:gd name="T3" fmla="*/ 232 h 303"/>
                  <a:gd name="T4" fmla="*/ 0 w 352"/>
                  <a:gd name="T5" fmla="*/ 255 h 303"/>
                  <a:gd name="T6" fmla="*/ 0 w 352"/>
                  <a:gd name="T7" fmla="*/ 293 h 303"/>
                  <a:gd name="T8" fmla="*/ 297 w 352"/>
                  <a:gd name="T9" fmla="*/ 303 h 303"/>
                  <a:gd name="T10" fmla="*/ 352 w 352"/>
                  <a:gd name="T11" fmla="*/ 42 h 303"/>
                  <a:gd name="T12" fmla="*/ 272 w 352"/>
                  <a:gd name="T13" fmla="*/ 0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2" h="303">
                    <a:moveTo>
                      <a:pt x="272" y="0"/>
                    </a:moveTo>
                    <a:lnTo>
                      <a:pt x="211" y="232"/>
                    </a:lnTo>
                    <a:lnTo>
                      <a:pt x="0" y="255"/>
                    </a:lnTo>
                    <a:lnTo>
                      <a:pt x="0" y="293"/>
                    </a:lnTo>
                    <a:lnTo>
                      <a:pt x="297" y="303"/>
                    </a:lnTo>
                    <a:lnTo>
                      <a:pt x="352" y="42"/>
                    </a:lnTo>
                    <a:lnTo>
                      <a:pt x="272" y="0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1" name="任意多边形: 形状 1340">
                <a:extLst>
                  <a:ext uri="{FF2B5EF4-FFF2-40B4-BE49-F238E27FC236}">
                    <a16:creationId xmlns:a16="http://schemas.microsoft.com/office/drawing/2014/main" id="{73AA52A6-8F16-45B6-80E0-1535E36B80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7976" y="2895601"/>
                <a:ext cx="990600" cy="428625"/>
              </a:xfrm>
              <a:custGeom>
                <a:avLst/>
                <a:gdLst>
                  <a:gd name="T0" fmla="*/ 360 w 433"/>
                  <a:gd name="T1" fmla="*/ 13 h 188"/>
                  <a:gd name="T2" fmla="*/ 65 w 433"/>
                  <a:gd name="T3" fmla="*/ 54 h 188"/>
                  <a:gd name="T4" fmla="*/ 31 w 433"/>
                  <a:gd name="T5" fmla="*/ 188 h 188"/>
                  <a:gd name="T6" fmla="*/ 400 w 433"/>
                  <a:gd name="T7" fmla="*/ 187 h 188"/>
                  <a:gd name="T8" fmla="*/ 433 w 433"/>
                  <a:gd name="T9" fmla="*/ 0 h 188"/>
                  <a:gd name="T10" fmla="*/ 360 w 433"/>
                  <a:gd name="T11" fmla="*/ 1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3" h="188">
                    <a:moveTo>
                      <a:pt x="360" y="13"/>
                    </a:moveTo>
                    <a:cubicBezTo>
                      <a:pt x="360" y="13"/>
                      <a:pt x="131" y="3"/>
                      <a:pt x="65" y="54"/>
                    </a:cubicBezTo>
                    <a:cubicBezTo>
                      <a:pt x="0" y="105"/>
                      <a:pt x="31" y="188"/>
                      <a:pt x="31" y="188"/>
                    </a:cubicBezTo>
                    <a:cubicBezTo>
                      <a:pt x="400" y="187"/>
                      <a:pt x="400" y="187"/>
                      <a:pt x="400" y="187"/>
                    </a:cubicBezTo>
                    <a:cubicBezTo>
                      <a:pt x="433" y="0"/>
                      <a:pt x="433" y="0"/>
                      <a:pt x="433" y="0"/>
                    </a:cubicBezTo>
                    <a:lnTo>
                      <a:pt x="360" y="13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2" name="任意多边形: 形状 1341">
                <a:extLst>
                  <a:ext uri="{FF2B5EF4-FFF2-40B4-BE49-F238E27FC236}">
                    <a16:creationId xmlns:a16="http://schemas.microsoft.com/office/drawing/2014/main" id="{62DEDDA1-CD2D-4A7B-B5E4-2CC22D3A3D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3713" y="3071813"/>
                <a:ext cx="727075" cy="136525"/>
              </a:xfrm>
              <a:custGeom>
                <a:avLst/>
                <a:gdLst>
                  <a:gd name="T0" fmla="*/ 318 w 318"/>
                  <a:gd name="T1" fmla="*/ 60 h 60"/>
                  <a:gd name="T2" fmla="*/ 314 w 318"/>
                  <a:gd name="T3" fmla="*/ 60 h 60"/>
                  <a:gd name="T4" fmla="*/ 305 w 318"/>
                  <a:gd name="T5" fmla="*/ 58 h 60"/>
                  <a:gd name="T6" fmla="*/ 270 w 318"/>
                  <a:gd name="T7" fmla="*/ 53 h 60"/>
                  <a:gd name="T8" fmla="*/ 159 w 318"/>
                  <a:gd name="T9" fmla="*/ 27 h 60"/>
                  <a:gd name="T10" fmla="*/ 98 w 318"/>
                  <a:gd name="T11" fmla="*/ 10 h 60"/>
                  <a:gd name="T12" fmla="*/ 47 w 318"/>
                  <a:gd name="T13" fmla="*/ 2 h 60"/>
                  <a:gd name="T14" fmla="*/ 13 w 318"/>
                  <a:gd name="T15" fmla="*/ 4 h 60"/>
                  <a:gd name="T16" fmla="*/ 4 w 318"/>
                  <a:gd name="T17" fmla="*/ 6 h 60"/>
                  <a:gd name="T18" fmla="*/ 0 w 318"/>
                  <a:gd name="T19" fmla="*/ 6 h 60"/>
                  <a:gd name="T20" fmla="*/ 3 w 318"/>
                  <a:gd name="T21" fmla="*/ 5 h 60"/>
                  <a:gd name="T22" fmla="*/ 13 w 318"/>
                  <a:gd name="T23" fmla="*/ 3 h 60"/>
                  <a:gd name="T24" fmla="*/ 47 w 318"/>
                  <a:gd name="T25" fmla="*/ 0 h 60"/>
                  <a:gd name="T26" fmla="*/ 98 w 318"/>
                  <a:gd name="T27" fmla="*/ 8 h 60"/>
                  <a:gd name="T28" fmla="*/ 159 w 318"/>
                  <a:gd name="T29" fmla="*/ 25 h 60"/>
                  <a:gd name="T30" fmla="*/ 271 w 318"/>
                  <a:gd name="T31" fmla="*/ 52 h 60"/>
                  <a:gd name="T32" fmla="*/ 305 w 318"/>
                  <a:gd name="T33" fmla="*/ 58 h 60"/>
                  <a:gd name="T34" fmla="*/ 314 w 318"/>
                  <a:gd name="T35" fmla="*/ 59 h 60"/>
                  <a:gd name="T36" fmla="*/ 318 w 318"/>
                  <a:gd name="T3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8" h="60">
                    <a:moveTo>
                      <a:pt x="318" y="60"/>
                    </a:moveTo>
                    <a:cubicBezTo>
                      <a:pt x="318" y="60"/>
                      <a:pt x="316" y="60"/>
                      <a:pt x="314" y="60"/>
                    </a:cubicBezTo>
                    <a:cubicBezTo>
                      <a:pt x="312" y="59"/>
                      <a:pt x="309" y="59"/>
                      <a:pt x="305" y="58"/>
                    </a:cubicBezTo>
                    <a:cubicBezTo>
                      <a:pt x="297" y="57"/>
                      <a:pt x="285" y="56"/>
                      <a:pt x="270" y="53"/>
                    </a:cubicBezTo>
                    <a:cubicBezTo>
                      <a:pt x="241" y="48"/>
                      <a:pt x="202" y="40"/>
                      <a:pt x="159" y="27"/>
                    </a:cubicBezTo>
                    <a:cubicBezTo>
                      <a:pt x="137" y="21"/>
                      <a:pt x="117" y="15"/>
                      <a:pt x="98" y="10"/>
                    </a:cubicBezTo>
                    <a:cubicBezTo>
                      <a:pt x="79" y="5"/>
                      <a:pt x="62" y="3"/>
                      <a:pt x="47" y="2"/>
                    </a:cubicBezTo>
                    <a:cubicBezTo>
                      <a:pt x="33" y="1"/>
                      <a:pt x="21" y="2"/>
                      <a:pt x="13" y="4"/>
                    </a:cubicBezTo>
                    <a:cubicBezTo>
                      <a:pt x="9" y="4"/>
                      <a:pt x="6" y="5"/>
                      <a:pt x="4" y="6"/>
                    </a:cubicBezTo>
                    <a:cubicBezTo>
                      <a:pt x="1" y="6"/>
                      <a:pt x="0" y="6"/>
                      <a:pt x="0" y="6"/>
                    </a:cubicBezTo>
                    <a:cubicBezTo>
                      <a:pt x="0" y="6"/>
                      <a:pt x="1" y="6"/>
                      <a:pt x="3" y="5"/>
                    </a:cubicBezTo>
                    <a:cubicBezTo>
                      <a:pt x="6" y="5"/>
                      <a:pt x="9" y="4"/>
                      <a:pt x="13" y="3"/>
                    </a:cubicBezTo>
                    <a:cubicBezTo>
                      <a:pt x="21" y="1"/>
                      <a:pt x="33" y="0"/>
                      <a:pt x="47" y="0"/>
                    </a:cubicBezTo>
                    <a:cubicBezTo>
                      <a:pt x="62" y="1"/>
                      <a:pt x="79" y="4"/>
                      <a:pt x="98" y="8"/>
                    </a:cubicBezTo>
                    <a:cubicBezTo>
                      <a:pt x="117" y="13"/>
                      <a:pt x="138" y="19"/>
                      <a:pt x="159" y="25"/>
                    </a:cubicBezTo>
                    <a:cubicBezTo>
                      <a:pt x="202" y="38"/>
                      <a:pt x="242" y="47"/>
                      <a:pt x="271" y="52"/>
                    </a:cubicBezTo>
                    <a:cubicBezTo>
                      <a:pt x="285" y="55"/>
                      <a:pt x="297" y="56"/>
                      <a:pt x="305" y="58"/>
                    </a:cubicBezTo>
                    <a:cubicBezTo>
                      <a:pt x="309" y="58"/>
                      <a:pt x="312" y="59"/>
                      <a:pt x="314" y="59"/>
                    </a:cubicBezTo>
                    <a:cubicBezTo>
                      <a:pt x="316" y="59"/>
                      <a:pt x="318" y="60"/>
                      <a:pt x="318" y="6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3" name="任意多边形: 形状 1342">
                <a:extLst>
                  <a:ext uri="{FF2B5EF4-FFF2-40B4-BE49-F238E27FC236}">
                    <a16:creationId xmlns:a16="http://schemas.microsoft.com/office/drawing/2014/main" id="{763A5624-2E7F-455C-A67F-711814A3A1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3413" y="3038476"/>
                <a:ext cx="100013" cy="53975"/>
              </a:xfrm>
              <a:custGeom>
                <a:avLst/>
                <a:gdLst>
                  <a:gd name="T0" fmla="*/ 44 w 44"/>
                  <a:gd name="T1" fmla="*/ 23 h 23"/>
                  <a:gd name="T2" fmla="*/ 23 w 44"/>
                  <a:gd name="T3" fmla="*/ 9 h 23"/>
                  <a:gd name="T4" fmla="*/ 0 w 44"/>
                  <a:gd name="T5" fmla="*/ 0 h 23"/>
                  <a:gd name="T6" fmla="*/ 7 w 44"/>
                  <a:gd name="T7" fmla="*/ 1 h 23"/>
                  <a:gd name="T8" fmla="*/ 24 w 44"/>
                  <a:gd name="T9" fmla="*/ 7 h 23"/>
                  <a:gd name="T10" fmla="*/ 39 w 44"/>
                  <a:gd name="T11" fmla="*/ 17 h 23"/>
                  <a:gd name="T12" fmla="*/ 44 w 44"/>
                  <a:gd name="T1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23">
                    <a:moveTo>
                      <a:pt x="44" y="23"/>
                    </a:moveTo>
                    <a:cubicBezTo>
                      <a:pt x="43" y="23"/>
                      <a:pt x="35" y="15"/>
                      <a:pt x="23" y="9"/>
                    </a:cubicBezTo>
                    <a:cubicBezTo>
                      <a:pt x="11" y="2"/>
                      <a:pt x="0" y="1"/>
                      <a:pt x="0" y="0"/>
                    </a:cubicBezTo>
                    <a:cubicBezTo>
                      <a:pt x="0" y="0"/>
                      <a:pt x="3" y="0"/>
                      <a:pt x="7" y="1"/>
                    </a:cubicBezTo>
                    <a:cubicBezTo>
                      <a:pt x="12" y="2"/>
                      <a:pt x="18" y="4"/>
                      <a:pt x="24" y="7"/>
                    </a:cubicBezTo>
                    <a:cubicBezTo>
                      <a:pt x="30" y="10"/>
                      <a:pt x="36" y="14"/>
                      <a:pt x="39" y="17"/>
                    </a:cubicBezTo>
                    <a:cubicBezTo>
                      <a:pt x="42" y="20"/>
                      <a:pt x="44" y="23"/>
                      <a:pt x="44" y="23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4" name="任意多边形: 形状 1343">
                <a:extLst>
                  <a:ext uri="{FF2B5EF4-FFF2-40B4-BE49-F238E27FC236}">
                    <a16:creationId xmlns:a16="http://schemas.microsoft.com/office/drawing/2014/main" id="{BCB9E0F4-0DF0-4060-B9CC-C0A649495B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4588" y="4062413"/>
                <a:ext cx="204788" cy="425450"/>
              </a:xfrm>
              <a:custGeom>
                <a:avLst/>
                <a:gdLst>
                  <a:gd name="T0" fmla="*/ 18 w 89"/>
                  <a:gd name="T1" fmla="*/ 0 h 186"/>
                  <a:gd name="T2" fmla="*/ 21 w 89"/>
                  <a:gd name="T3" fmla="*/ 97 h 186"/>
                  <a:gd name="T4" fmla="*/ 1 w 89"/>
                  <a:gd name="T5" fmla="*/ 174 h 186"/>
                  <a:gd name="T6" fmla="*/ 9 w 89"/>
                  <a:gd name="T7" fmla="*/ 186 h 186"/>
                  <a:gd name="T8" fmla="*/ 18 w 89"/>
                  <a:gd name="T9" fmla="*/ 183 h 186"/>
                  <a:gd name="T10" fmla="*/ 85 w 89"/>
                  <a:gd name="T11" fmla="*/ 109 h 186"/>
                  <a:gd name="T12" fmla="*/ 89 w 89"/>
                  <a:gd name="T13" fmla="*/ 7 h 186"/>
                  <a:gd name="T14" fmla="*/ 18 w 89"/>
                  <a:gd name="T15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186">
                    <a:moveTo>
                      <a:pt x="18" y="0"/>
                    </a:moveTo>
                    <a:cubicBezTo>
                      <a:pt x="21" y="97"/>
                      <a:pt x="21" y="97"/>
                      <a:pt x="21" y="97"/>
                    </a:cubicBezTo>
                    <a:cubicBezTo>
                      <a:pt x="1" y="174"/>
                      <a:pt x="1" y="174"/>
                      <a:pt x="1" y="174"/>
                    </a:cubicBezTo>
                    <a:cubicBezTo>
                      <a:pt x="0" y="179"/>
                      <a:pt x="4" y="185"/>
                      <a:pt x="9" y="186"/>
                    </a:cubicBezTo>
                    <a:cubicBezTo>
                      <a:pt x="12" y="186"/>
                      <a:pt x="16" y="185"/>
                      <a:pt x="18" y="183"/>
                    </a:cubicBezTo>
                    <a:cubicBezTo>
                      <a:pt x="32" y="169"/>
                      <a:pt x="86" y="116"/>
                      <a:pt x="85" y="109"/>
                    </a:cubicBezTo>
                    <a:cubicBezTo>
                      <a:pt x="84" y="101"/>
                      <a:pt x="89" y="7"/>
                      <a:pt x="89" y="7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5" name="任意多边形: 形状 1344">
                <a:extLst>
                  <a:ext uri="{FF2B5EF4-FFF2-40B4-BE49-F238E27FC236}">
                    <a16:creationId xmlns:a16="http://schemas.microsoft.com/office/drawing/2014/main" id="{F911BC98-6F8E-4818-81B1-CE93AC3EAC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5226" y="4298951"/>
                <a:ext cx="174625" cy="188913"/>
              </a:xfrm>
              <a:custGeom>
                <a:avLst/>
                <a:gdLst>
                  <a:gd name="T0" fmla="*/ 75 w 76"/>
                  <a:gd name="T1" fmla="*/ 9 h 83"/>
                  <a:gd name="T2" fmla="*/ 9 w 76"/>
                  <a:gd name="T3" fmla="*/ 80 h 83"/>
                  <a:gd name="T4" fmla="*/ 2 w 76"/>
                  <a:gd name="T5" fmla="*/ 83 h 83"/>
                  <a:gd name="T6" fmla="*/ 0 w 76"/>
                  <a:gd name="T7" fmla="*/ 83 h 83"/>
                  <a:gd name="T8" fmla="*/ 2 w 76"/>
                  <a:gd name="T9" fmla="*/ 83 h 83"/>
                  <a:gd name="T10" fmla="*/ 9 w 76"/>
                  <a:gd name="T11" fmla="*/ 80 h 83"/>
                  <a:gd name="T12" fmla="*/ 73 w 76"/>
                  <a:gd name="T13" fmla="*/ 14 h 83"/>
                  <a:gd name="T14" fmla="*/ 75 w 76"/>
                  <a:gd name="T15" fmla="*/ 9 h 83"/>
                  <a:gd name="T16" fmla="*/ 76 w 76"/>
                  <a:gd name="T17" fmla="*/ 0 h 83"/>
                  <a:gd name="T18" fmla="*/ 76 w 76"/>
                  <a:gd name="T19" fmla="*/ 0 h 83"/>
                  <a:gd name="T20" fmla="*/ 76 w 76"/>
                  <a:gd name="T21" fmla="*/ 5 h 83"/>
                  <a:gd name="T22" fmla="*/ 76 w 76"/>
                  <a:gd name="T23" fmla="*/ 4 h 83"/>
                  <a:gd name="T24" fmla="*/ 76 w 76"/>
                  <a:gd name="T25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6" h="83">
                    <a:moveTo>
                      <a:pt x="75" y="9"/>
                    </a:moveTo>
                    <a:cubicBezTo>
                      <a:pt x="69" y="21"/>
                      <a:pt x="22" y="67"/>
                      <a:pt x="9" y="80"/>
                    </a:cubicBezTo>
                    <a:cubicBezTo>
                      <a:pt x="7" y="82"/>
                      <a:pt x="5" y="83"/>
                      <a:pt x="2" y="83"/>
                    </a:cubicBezTo>
                    <a:cubicBezTo>
                      <a:pt x="1" y="83"/>
                      <a:pt x="1" y="83"/>
                      <a:pt x="0" y="83"/>
                    </a:cubicBezTo>
                    <a:cubicBezTo>
                      <a:pt x="1" y="83"/>
                      <a:pt x="2" y="83"/>
                      <a:pt x="2" y="83"/>
                    </a:cubicBezTo>
                    <a:cubicBezTo>
                      <a:pt x="5" y="83"/>
                      <a:pt x="7" y="82"/>
                      <a:pt x="9" y="80"/>
                    </a:cubicBezTo>
                    <a:cubicBezTo>
                      <a:pt x="49" y="40"/>
                      <a:pt x="67" y="21"/>
                      <a:pt x="73" y="14"/>
                    </a:cubicBezTo>
                    <a:cubicBezTo>
                      <a:pt x="74" y="12"/>
                      <a:pt x="75" y="10"/>
                      <a:pt x="75" y="9"/>
                    </a:cubicBezTo>
                    <a:moveTo>
                      <a:pt x="76" y="0"/>
                    </a:moveTo>
                    <a:cubicBezTo>
                      <a:pt x="76" y="0"/>
                      <a:pt x="76" y="0"/>
                      <a:pt x="76" y="0"/>
                    </a:cubicBezTo>
                    <a:cubicBezTo>
                      <a:pt x="76" y="2"/>
                      <a:pt x="76" y="4"/>
                      <a:pt x="76" y="5"/>
                    </a:cubicBezTo>
                    <a:cubicBezTo>
                      <a:pt x="76" y="5"/>
                      <a:pt x="76" y="4"/>
                      <a:pt x="76" y="4"/>
                    </a:cubicBezTo>
                    <a:cubicBezTo>
                      <a:pt x="76" y="0"/>
                      <a:pt x="76" y="0"/>
                      <a:pt x="76" y="0"/>
                    </a:cubicBezTo>
                  </a:path>
                </a:pathLst>
              </a:custGeom>
              <a:solidFill>
                <a:srgbClr val="FDFD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6" name="任意多边形: 形状 1345">
                <a:extLst>
                  <a:ext uri="{FF2B5EF4-FFF2-40B4-BE49-F238E27FC236}">
                    <a16:creationId xmlns:a16="http://schemas.microsoft.com/office/drawing/2014/main" id="{38B41B5D-87E6-4587-86E2-7436D8EA05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5226" y="4298951"/>
                <a:ext cx="174625" cy="188913"/>
              </a:xfrm>
              <a:custGeom>
                <a:avLst/>
                <a:gdLst>
                  <a:gd name="T0" fmla="*/ 76 w 76"/>
                  <a:gd name="T1" fmla="*/ 0 h 83"/>
                  <a:gd name="T2" fmla="*/ 0 w 76"/>
                  <a:gd name="T3" fmla="*/ 83 h 83"/>
                  <a:gd name="T4" fmla="*/ 0 w 76"/>
                  <a:gd name="T5" fmla="*/ 83 h 83"/>
                  <a:gd name="T6" fmla="*/ 2 w 76"/>
                  <a:gd name="T7" fmla="*/ 83 h 83"/>
                  <a:gd name="T8" fmla="*/ 9 w 76"/>
                  <a:gd name="T9" fmla="*/ 80 h 83"/>
                  <a:gd name="T10" fmla="*/ 75 w 76"/>
                  <a:gd name="T11" fmla="*/ 9 h 83"/>
                  <a:gd name="T12" fmla="*/ 76 w 76"/>
                  <a:gd name="T13" fmla="*/ 5 h 83"/>
                  <a:gd name="T14" fmla="*/ 76 w 76"/>
                  <a:gd name="T15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6" h="83">
                    <a:moveTo>
                      <a:pt x="76" y="0"/>
                    </a:moveTo>
                    <a:cubicBezTo>
                      <a:pt x="0" y="83"/>
                      <a:pt x="0" y="83"/>
                      <a:pt x="0" y="83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" y="83"/>
                      <a:pt x="1" y="83"/>
                      <a:pt x="2" y="83"/>
                    </a:cubicBezTo>
                    <a:cubicBezTo>
                      <a:pt x="5" y="83"/>
                      <a:pt x="7" y="82"/>
                      <a:pt x="9" y="80"/>
                    </a:cubicBezTo>
                    <a:cubicBezTo>
                      <a:pt x="22" y="67"/>
                      <a:pt x="69" y="21"/>
                      <a:pt x="75" y="9"/>
                    </a:cubicBezTo>
                    <a:cubicBezTo>
                      <a:pt x="76" y="7"/>
                      <a:pt x="76" y="6"/>
                      <a:pt x="76" y="5"/>
                    </a:cubicBezTo>
                    <a:cubicBezTo>
                      <a:pt x="76" y="4"/>
                      <a:pt x="76" y="2"/>
                      <a:pt x="76" y="0"/>
                    </a:cubicBezTo>
                  </a:path>
                </a:pathLst>
              </a:custGeom>
              <a:solidFill>
                <a:srgbClr val="9FB7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7" name="任意多边形: 形状 1346">
                <a:extLst>
                  <a:ext uri="{FF2B5EF4-FFF2-40B4-BE49-F238E27FC236}">
                    <a16:creationId xmlns:a16="http://schemas.microsoft.com/office/drawing/2014/main" id="{A0A0BD81-9ADB-429E-A522-AB7134DE2F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7463" y="4225926"/>
                <a:ext cx="28575" cy="25400"/>
              </a:xfrm>
              <a:custGeom>
                <a:avLst/>
                <a:gdLst>
                  <a:gd name="T0" fmla="*/ 3 w 13"/>
                  <a:gd name="T1" fmla="*/ 1 h 11"/>
                  <a:gd name="T2" fmla="*/ 3 w 13"/>
                  <a:gd name="T3" fmla="*/ 1 h 11"/>
                  <a:gd name="T4" fmla="*/ 3 w 13"/>
                  <a:gd name="T5" fmla="*/ 1 h 11"/>
                  <a:gd name="T6" fmla="*/ 6 w 13"/>
                  <a:gd name="T7" fmla="*/ 0 h 11"/>
                  <a:gd name="T8" fmla="*/ 3 w 13"/>
                  <a:gd name="T9" fmla="*/ 1 h 11"/>
                  <a:gd name="T10" fmla="*/ 1 w 13"/>
                  <a:gd name="T11" fmla="*/ 9 h 11"/>
                  <a:gd name="T12" fmla="*/ 6 w 13"/>
                  <a:gd name="T13" fmla="*/ 11 h 11"/>
                  <a:gd name="T14" fmla="*/ 9 w 13"/>
                  <a:gd name="T15" fmla="*/ 10 h 11"/>
                  <a:gd name="T16" fmla="*/ 11 w 13"/>
                  <a:gd name="T17" fmla="*/ 2 h 11"/>
                  <a:gd name="T18" fmla="*/ 6 w 13"/>
                  <a:gd name="T1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1">
                    <a:moveTo>
                      <a:pt x="3" y="1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moveTo>
                      <a:pt x="6" y="0"/>
                    </a:moveTo>
                    <a:cubicBezTo>
                      <a:pt x="5" y="0"/>
                      <a:pt x="3" y="0"/>
                      <a:pt x="3" y="1"/>
                    </a:cubicBezTo>
                    <a:cubicBezTo>
                      <a:pt x="1" y="3"/>
                      <a:pt x="0" y="6"/>
                      <a:pt x="1" y="9"/>
                    </a:cubicBezTo>
                    <a:cubicBezTo>
                      <a:pt x="2" y="10"/>
                      <a:pt x="4" y="11"/>
                      <a:pt x="6" y="11"/>
                    </a:cubicBezTo>
                    <a:cubicBezTo>
                      <a:pt x="7" y="11"/>
                      <a:pt x="8" y="11"/>
                      <a:pt x="9" y="10"/>
                    </a:cubicBezTo>
                    <a:cubicBezTo>
                      <a:pt x="12" y="9"/>
                      <a:pt x="13" y="4"/>
                      <a:pt x="11" y="2"/>
                    </a:cubicBezTo>
                    <a:cubicBezTo>
                      <a:pt x="10" y="1"/>
                      <a:pt x="8" y="0"/>
                      <a:pt x="6" y="0"/>
                    </a:cubicBezTo>
                  </a:path>
                </a:pathLst>
              </a:custGeom>
              <a:solidFill>
                <a:srgbClr val="9FB7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8" name="任意多边形: 形状 1347">
                <a:extLst>
                  <a:ext uri="{FF2B5EF4-FFF2-40B4-BE49-F238E27FC236}">
                    <a16:creationId xmlns:a16="http://schemas.microsoft.com/office/drawing/2014/main" id="{FA14E9CC-4963-4377-BD39-B2EFFFAC36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9988" y="4365626"/>
                <a:ext cx="46038" cy="26988"/>
              </a:xfrm>
              <a:custGeom>
                <a:avLst/>
                <a:gdLst>
                  <a:gd name="T0" fmla="*/ 20 w 20"/>
                  <a:gd name="T1" fmla="*/ 12 h 12"/>
                  <a:gd name="T2" fmla="*/ 11 w 20"/>
                  <a:gd name="T3" fmla="*/ 4 h 12"/>
                  <a:gd name="T4" fmla="*/ 0 w 20"/>
                  <a:gd name="T5" fmla="*/ 2 h 12"/>
                  <a:gd name="T6" fmla="*/ 4 w 20"/>
                  <a:gd name="T7" fmla="*/ 1 h 12"/>
                  <a:gd name="T8" fmla="*/ 12 w 20"/>
                  <a:gd name="T9" fmla="*/ 2 h 12"/>
                  <a:gd name="T10" fmla="*/ 19 w 20"/>
                  <a:gd name="T11" fmla="*/ 8 h 12"/>
                  <a:gd name="T12" fmla="*/ 20 w 2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cubicBezTo>
                      <a:pt x="19" y="12"/>
                      <a:pt x="17" y="7"/>
                      <a:pt x="11" y="4"/>
                    </a:cubicBezTo>
                    <a:cubicBezTo>
                      <a:pt x="6" y="1"/>
                      <a:pt x="0" y="3"/>
                      <a:pt x="0" y="2"/>
                    </a:cubicBezTo>
                    <a:cubicBezTo>
                      <a:pt x="0" y="2"/>
                      <a:pt x="1" y="1"/>
                      <a:pt x="4" y="1"/>
                    </a:cubicBezTo>
                    <a:cubicBezTo>
                      <a:pt x="6" y="0"/>
                      <a:pt x="9" y="1"/>
                      <a:pt x="12" y="2"/>
                    </a:cubicBezTo>
                    <a:cubicBezTo>
                      <a:pt x="15" y="4"/>
                      <a:pt x="18" y="6"/>
                      <a:pt x="19" y="8"/>
                    </a:cubicBezTo>
                    <a:cubicBezTo>
                      <a:pt x="20" y="10"/>
                      <a:pt x="20" y="11"/>
                      <a:pt x="20" y="1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9" name="任意多边形: 形状 1348">
                <a:extLst>
                  <a:ext uri="{FF2B5EF4-FFF2-40B4-BE49-F238E27FC236}">
                    <a16:creationId xmlns:a16="http://schemas.microsoft.com/office/drawing/2014/main" id="{96B90526-5363-40CB-8F6F-50BAF3FEBE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8876" y="4403726"/>
                <a:ext cx="42863" cy="19050"/>
              </a:xfrm>
              <a:custGeom>
                <a:avLst/>
                <a:gdLst>
                  <a:gd name="T0" fmla="*/ 18 w 19"/>
                  <a:gd name="T1" fmla="*/ 7 h 8"/>
                  <a:gd name="T2" fmla="*/ 10 w 19"/>
                  <a:gd name="T3" fmla="*/ 3 h 8"/>
                  <a:gd name="T4" fmla="*/ 0 w 19"/>
                  <a:gd name="T5" fmla="*/ 2 h 8"/>
                  <a:gd name="T6" fmla="*/ 10 w 19"/>
                  <a:gd name="T7" fmla="*/ 1 h 8"/>
                  <a:gd name="T8" fmla="*/ 18 w 19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8">
                    <a:moveTo>
                      <a:pt x="18" y="7"/>
                    </a:moveTo>
                    <a:cubicBezTo>
                      <a:pt x="18" y="8"/>
                      <a:pt x="15" y="5"/>
                      <a:pt x="10" y="3"/>
                    </a:cubicBezTo>
                    <a:cubicBezTo>
                      <a:pt x="5" y="2"/>
                      <a:pt x="0" y="3"/>
                      <a:pt x="0" y="2"/>
                    </a:cubicBezTo>
                    <a:cubicBezTo>
                      <a:pt x="0" y="2"/>
                      <a:pt x="4" y="0"/>
                      <a:pt x="10" y="1"/>
                    </a:cubicBezTo>
                    <a:cubicBezTo>
                      <a:pt x="16" y="3"/>
                      <a:pt x="19" y="7"/>
                      <a:pt x="18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0" name="任意多边形: 形状 1349">
                <a:extLst>
                  <a:ext uri="{FF2B5EF4-FFF2-40B4-BE49-F238E27FC236}">
                    <a16:creationId xmlns:a16="http://schemas.microsoft.com/office/drawing/2014/main" id="{DDC493BC-2E0B-41B3-AEE6-9F820AFD03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101" y="4325938"/>
                <a:ext cx="65088" cy="26988"/>
              </a:xfrm>
              <a:custGeom>
                <a:avLst/>
                <a:gdLst>
                  <a:gd name="T0" fmla="*/ 27 w 28"/>
                  <a:gd name="T1" fmla="*/ 12 h 12"/>
                  <a:gd name="T2" fmla="*/ 15 w 28"/>
                  <a:gd name="T3" fmla="*/ 5 h 12"/>
                  <a:gd name="T4" fmla="*/ 0 w 28"/>
                  <a:gd name="T5" fmla="*/ 1 h 12"/>
                  <a:gd name="T6" fmla="*/ 15 w 28"/>
                  <a:gd name="T7" fmla="*/ 3 h 12"/>
                  <a:gd name="T8" fmla="*/ 27 w 28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2">
                    <a:moveTo>
                      <a:pt x="27" y="12"/>
                    </a:moveTo>
                    <a:cubicBezTo>
                      <a:pt x="27" y="12"/>
                      <a:pt x="22" y="8"/>
                      <a:pt x="15" y="5"/>
                    </a:cubicBezTo>
                    <a:cubicBezTo>
                      <a:pt x="7" y="2"/>
                      <a:pt x="0" y="2"/>
                      <a:pt x="0" y="1"/>
                    </a:cubicBezTo>
                    <a:cubicBezTo>
                      <a:pt x="0" y="1"/>
                      <a:pt x="7" y="0"/>
                      <a:pt x="15" y="3"/>
                    </a:cubicBezTo>
                    <a:cubicBezTo>
                      <a:pt x="24" y="6"/>
                      <a:pt x="28" y="12"/>
                      <a:pt x="27" y="1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1" name="任意多边形: 形状 1350">
                <a:extLst>
                  <a:ext uri="{FF2B5EF4-FFF2-40B4-BE49-F238E27FC236}">
                    <a16:creationId xmlns:a16="http://schemas.microsoft.com/office/drawing/2014/main" id="{D8F5BF59-EB7E-4706-AE8E-A404DE0A2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6" y="4275138"/>
                <a:ext cx="57150" cy="12700"/>
              </a:xfrm>
              <a:custGeom>
                <a:avLst/>
                <a:gdLst>
                  <a:gd name="T0" fmla="*/ 25 w 25"/>
                  <a:gd name="T1" fmla="*/ 5 h 5"/>
                  <a:gd name="T2" fmla="*/ 12 w 25"/>
                  <a:gd name="T3" fmla="*/ 3 h 5"/>
                  <a:gd name="T4" fmla="*/ 0 w 25"/>
                  <a:gd name="T5" fmla="*/ 4 h 5"/>
                  <a:gd name="T6" fmla="*/ 13 w 25"/>
                  <a:gd name="T7" fmla="*/ 1 h 5"/>
                  <a:gd name="T8" fmla="*/ 25 w 25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5">
                    <a:moveTo>
                      <a:pt x="25" y="5"/>
                    </a:moveTo>
                    <a:cubicBezTo>
                      <a:pt x="25" y="5"/>
                      <a:pt x="19" y="3"/>
                      <a:pt x="12" y="3"/>
                    </a:cubicBezTo>
                    <a:cubicBezTo>
                      <a:pt x="6" y="2"/>
                      <a:pt x="0" y="4"/>
                      <a:pt x="0" y="4"/>
                    </a:cubicBezTo>
                    <a:cubicBezTo>
                      <a:pt x="0" y="3"/>
                      <a:pt x="5" y="0"/>
                      <a:pt x="13" y="1"/>
                    </a:cubicBezTo>
                    <a:cubicBezTo>
                      <a:pt x="20" y="1"/>
                      <a:pt x="25" y="4"/>
                      <a:pt x="25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2" name="任意多边形: 形状 1351">
                <a:extLst>
                  <a:ext uri="{FF2B5EF4-FFF2-40B4-BE49-F238E27FC236}">
                    <a16:creationId xmlns:a16="http://schemas.microsoft.com/office/drawing/2014/main" id="{B99309C8-EA4B-4532-BC0B-074DE1DB96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9038" y="4211638"/>
                <a:ext cx="58738" cy="14288"/>
              </a:xfrm>
              <a:custGeom>
                <a:avLst/>
                <a:gdLst>
                  <a:gd name="T0" fmla="*/ 26 w 26"/>
                  <a:gd name="T1" fmla="*/ 4 h 6"/>
                  <a:gd name="T2" fmla="*/ 13 w 26"/>
                  <a:gd name="T3" fmla="*/ 2 h 6"/>
                  <a:gd name="T4" fmla="*/ 0 w 26"/>
                  <a:gd name="T5" fmla="*/ 5 h 6"/>
                  <a:gd name="T6" fmla="*/ 3 w 26"/>
                  <a:gd name="T7" fmla="*/ 3 h 6"/>
                  <a:gd name="T8" fmla="*/ 13 w 26"/>
                  <a:gd name="T9" fmla="*/ 0 h 6"/>
                  <a:gd name="T10" fmla="*/ 22 w 26"/>
                  <a:gd name="T11" fmla="*/ 2 h 6"/>
                  <a:gd name="T12" fmla="*/ 26 w 26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6">
                    <a:moveTo>
                      <a:pt x="26" y="4"/>
                    </a:moveTo>
                    <a:cubicBezTo>
                      <a:pt x="25" y="5"/>
                      <a:pt x="20" y="2"/>
                      <a:pt x="13" y="2"/>
                    </a:cubicBezTo>
                    <a:cubicBezTo>
                      <a:pt x="5" y="2"/>
                      <a:pt x="0" y="6"/>
                      <a:pt x="0" y="5"/>
                    </a:cubicBezTo>
                    <a:cubicBezTo>
                      <a:pt x="0" y="5"/>
                      <a:pt x="1" y="4"/>
                      <a:pt x="3" y="3"/>
                    </a:cubicBezTo>
                    <a:cubicBezTo>
                      <a:pt x="5" y="1"/>
                      <a:pt x="9" y="0"/>
                      <a:pt x="13" y="0"/>
                    </a:cubicBezTo>
                    <a:cubicBezTo>
                      <a:pt x="17" y="0"/>
                      <a:pt x="20" y="1"/>
                      <a:pt x="22" y="2"/>
                    </a:cubicBezTo>
                    <a:cubicBezTo>
                      <a:pt x="25" y="3"/>
                      <a:pt x="26" y="4"/>
                      <a:pt x="26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3" name="任意多边形: 形状 1352">
                <a:extLst>
                  <a:ext uri="{FF2B5EF4-FFF2-40B4-BE49-F238E27FC236}">
                    <a16:creationId xmlns:a16="http://schemas.microsoft.com/office/drawing/2014/main" id="{228C69C4-4D8D-4B18-840A-886EC5E728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101" y="4159251"/>
                <a:ext cx="66675" cy="46038"/>
              </a:xfrm>
              <a:custGeom>
                <a:avLst/>
                <a:gdLst>
                  <a:gd name="T0" fmla="*/ 16 w 29"/>
                  <a:gd name="T1" fmla="*/ 20 h 20"/>
                  <a:gd name="T2" fmla="*/ 16 w 29"/>
                  <a:gd name="T3" fmla="*/ 16 h 20"/>
                  <a:gd name="T4" fmla="*/ 19 w 29"/>
                  <a:gd name="T5" fmla="*/ 6 h 20"/>
                  <a:gd name="T6" fmla="*/ 23 w 29"/>
                  <a:gd name="T7" fmla="*/ 1 h 20"/>
                  <a:gd name="T8" fmla="*/ 28 w 29"/>
                  <a:gd name="T9" fmla="*/ 2 h 20"/>
                  <a:gd name="T10" fmla="*/ 29 w 29"/>
                  <a:gd name="T11" fmla="*/ 6 h 20"/>
                  <a:gd name="T12" fmla="*/ 17 w 29"/>
                  <a:gd name="T13" fmla="*/ 19 h 20"/>
                  <a:gd name="T14" fmla="*/ 1 w 29"/>
                  <a:gd name="T15" fmla="*/ 11 h 20"/>
                  <a:gd name="T16" fmla="*/ 1 w 29"/>
                  <a:gd name="T17" fmla="*/ 6 h 20"/>
                  <a:gd name="T18" fmla="*/ 5 w 29"/>
                  <a:gd name="T19" fmla="*/ 4 h 20"/>
                  <a:gd name="T20" fmla="*/ 11 w 29"/>
                  <a:gd name="T21" fmla="*/ 7 h 20"/>
                  <a:gd name="T22" fmla="*/ 18 w 29"/>
                  <a:gd name="T23" fmla="*/ 15 h 20"/>
                  <a:gd name="T24" fmla="*/ 20 w 29"/>
                  <a:gd name="T25" fmla="*/ 18 h 20"/>
                  <a:gd name="T26" fmla="*/ 10 w 29"/>
                  <a:gd name="T27" fmla="*/ 9 h 20"/>
                  <a:gd name="T28" fmla="*/ 5 w 29"/>
                  <a:gd name="T29" fmla="*/ 6 h 20"/>
                  <a:gd name="T30" fmla="*/ 3 w 29"/>
                  <a:gd name="T31" fmla="*/ 7 h 20"/>
                  <a:gd name="T32" fmla="*/ 3 w 29"/>
                  <a:gd name="T33" fmla="*/ 10 h 20"/>
                  <a:gd name="T34" fmla="*/ 17 w 29"/>
                  <a:gd name="T35" fmla="*/ 17 h 20"/>
                  <a:gd name="T36" fmla="*/ 27 w 29"/>
                  <a:gd name="T37" fmla="*/ 6 h 20"/>
                  <a:gd name="T38" fmla="*/ 26 w 29"/>
                  <a:gd name="T39" fmla="*/ 3 h 20"/>
                  <a:gd name="T40" fmla="*/ 24 w 29"/>
                  <a:gd name="T41" fmla="*/ 3 h 20"/>
                  <a:gd name="T42" fmla="*/ 20 w 29"/>
                  <a:gd name="T43" fmla="*/ 7 h 20"/>
                  <a:gd name="T44" fmla="*/ 16 w 29"/>
                  <a:gd name="T4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9" h="20">
                    <a:moveTo>
                      <a:pt x="16" y="20"/>
                    </a:moveTo>
                    <a:cubicBezTo>
                      <a:pt x="16" y="20"/>
                      <a:pt x="16" y="18"/>
                      <a:pt x="16" y="16"/>
                    </a:cubicBezTo>
                    <a:cubicBezTo>
                      <a:pt x="16" y="14"/>
                      <a:pt x="17" y="10"/>
                      <a:pt x="19" y="6"/>
                    </a:cubicBezTo>
                    <a:cubicBezTo>
                      <a:pt x="20" y="5"/>
                      <a:pt x="21" y="2"/>
                      <a:pt x="23" y="1"/>
                    </a:cubicBezTo>
                    <a:cubicBezTo>
                      <a:pt x="25" y="0"/>
                      <a:pt x="27" y="1"/>
                      <a:pt x="28" y="2"/>
                    </a:cubicBezTo>
                    <a:cubicBezTo>
                      <a:pt x="29" y="3"/>
                      <a:pt x="29" y="5"/>
                      <a:pt x="29" y="6"/>
                    </a:cubicBezTo>
                    <a:cubicBezTo>
                      <a:pt x="29" y="12"/>
                      <a:pt x="24" y="18"/>
                      <a:pt x="17" y="19"/>
                    </a:cubicBezTo>
                    <a:cubicBezTo>
                      <a:pt x="10" y="20"/>
                      <a:pt x="4" y="16"/>
                      <a:pt x="1" y="11"/>
                    </a:cubicBezTo>
                    <a:cubicBezTo>
                      <a:pt x="1" y="10"/>
                      <a:pt x="0" y="8"/>
                      <a:pt x="1" y="6"/>
                    </a:cubicBezTo>
                    <a:cubicBezTo>
                      <a:pt x="2" y="5"/>
                      <a:pt x="4" y="4"/>
                      <a:pt x="5" y="4"/>
                    </a:cubicBezTo>
                    <a:cubicBezTo>
                      <a:pt x="8" y="5"/>
                      <a:pt x="10" y="6"/>
                      <a:pt x="11" y="7"/>
                    </a:cubicBezTo>
                    <a:cubicBezTo>
                      <a:pt x="15" y="10"/>
                      <a:pt x="17" y="13"/>
                      <a:pt x="18" y="15"/>
                    </a:cubicBezTo>
                    <a:cubicBezTo>
                      <a:pt x="19" y="17"/>
                      <a:pt x="20" y="18"/>
                      <a:pt x="20" y="18"/>
                    </a:cubicBezTo>
                    <a:cubicBezTo>
                      <a:pt x="19" y="18"/>
                      <a:pt x="17" y="13"/>
                      <a:pt x="10" y="9"/>
                    </a:cubicBezTo>
                    <a:cubicBezTo>
                      <a:pt x="9" y="7"/>
                      <a:pt x="7" y="6"/>
                      <a:pt x="5" y="6"/>
                    </a:cubicBezTo>
                    <a:cubicBezTo>
                      <a:pt x="4" y="6"/>
                      <a:pt x="3" y="6"/>
                      <a:pt x="3" y="7"/>
                    </a:cubicBezTo>
                    <a:cubicBezTo>
                      <a:pt x="2" y="8"/>
                      <a:pt x="3" y="9"/>
                      <a:pt x="3" y="10"/>
                    </a:cubicBezTo>
                    <a:cubicBezTo>
                      <a:pt x="5" y="14"/>
                      <a:pt x="11" y="18"/>
                      <a:pt x="17" y="17"/>
                    </a:cubicBezTo>
                    <a:cubicBezTo>
                      <a:pt x="23" y="16"/>
                      <a:pt x="27" y="11"/>
                      <a:pt x="27" y="6"/>
                    </a:cubicBezTo>
                    <a:cubicBezTo>
                      <a:pt x="27" y="5"/>
                      <a:pt x="27" y="4"/>
                      <a:pt x="26" y="3"/>
                    </a:cubicBezTo>
                    <a:cubicBezTo>
                      <a:pt x="26" y="2"/>
                      <a:pt x="25" y="2"/>
                      <a:pt x="24" y="3"/>
                    </a:cubicBezTo>
                    <a:cubicBezTo>
                      <a:pt x="22" y="3"/>
                      <a:pt x="21" y="5"/>
                      <a:pt x="20" y="7"/>
                    </a:cubicBezTo>
                    <a:cubicBezTo>
                      <a:pt x="16" y="14"/>
                      <a:pt x="16" y="20"/>
                      <a:pt x="16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4" name="任意多边形: 形状 1353">
                <a:extLst>
                  <a:ext uri="{FF2B5EF4-FFF2-40B4-BE49-F238E27FC236}">
                    <a16:creationId xmlns:a16="http://schemas.microsoft.com/office/drawing/2014/main" id="{895E27F8-3948-4CDD-8C0C-4B0B62B55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213" y="2840038"/>
                <a:ext cx="612775" cy="1320800"/>
              </a:xfrm>
              <a:custGeom>
                <a:avLst/>
                <a:gdLst>
                  <a:gd name="T0" fmla="*/ 102 w 268"/>
                  <a:gd name="T1" fmla="*/ 24 h 578"/>
                  <a:gd name="T2" fmla="*/ 1 w 268"/>
                  <a:gd name="T3" fmla="*/ 244 h 578"/>
                  <a:gd name="T4" fmla="*/ 1 w 268"/>
                  <a:gd name="T5" fmla="*/ 578 h 578"/>
                  <a:gd name="T6" fmla="*/ 155 w 268"/>
                  <a:gd name="T7" fmla="*/ 578 h 578"/>
                  <a:gd name="T8" fmla="*/ 177 w 268"/>
                  <a:gd name="T9" fmla="*/ 411 h 578"/>
                  <a:gd name="T10" fmla="*/ 156 w 268"/>
                  <a:gd name="T11" fmla="*/ 212 h 578"/>
                  <a:gd name="T12" fmla="*/ 244 w 268"/>
                  <a:gd name="T13" fmla="*/ 212 h 578"/>
                  <a:gd name="T14" fmla="*/ 267 w 268"/>
                  <a:gd name="T15" fmla="*/ 153 h 578"/>
                  <a:gd name="T16" fmla="*/ 243 w 268"/>
                  <a:gd name="T17" fmla="*/ 78 h 578"/>
                  <a:gd name="T18" fmla="*/ 187 w 268"/>
                  <a:gd name="T19" fmla="*/ 0 h 578"/>
                  <a:gd name="T20" fmla="*/ 102 w 268"/>
                  <a:gd name="T21" fmla="*/ 24 h 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8" h="578">
                    <a:moveTo>
                      <a:pt x="102" y="24"/>
                    </a:moveTo>
                    <a:cubicBezTo>
                      <a:pt x="102" y="24"/>
                      <a:pt x="3" y="211"/>
                      <a:pt x="1" y="244"/>
                    </a:cubicBezTo>
                    <a:cubicBezTo>
                      <a:pt x="0" y="277"/>
                      <a:pt x="1" y="578"/>
                      <a:pt x="1" y="578"/>
                    </a:cubicBezTo>
                    <a:cubicBezTo>
                      <a:pt x="155" y="578"/>
                      <a:pt x="155" y="578"/>
                      <a:pt x="155" y="578"/>
                    </a:cubicBezTo>
                    <a:cubicBezTo>
                      <a:pt x="159" y="578"/>
                      <a:pt x="182" y="442"/>
                      <a:pt x="177" y="411"/>
                    </a:cubicBezTo>
                    <a:cubicBezTo>
                      <a:pt x="172" y="380"/>
                      <a:pt x="156" y="212"/>
                      <a:pt x="156" y="212"/>
                    </a:cubicBezTo>
                    <a:cubicBezTo>
                      <a:pt x="244" y="212"/>
                      <a:pt x="244" y="212"/>
                      <a:pt x="244" y="212"/>
                    </a:cubicBezTo>
                    <a:cubicBezTo>
                      <a:pt x="244" y="212"/>
                      <a:pt x="268" y="186"/>
                      <a:pt x="267" y="153"/>
                    </a:cubicBezTo>
                    <a:cubicBezTo>
                      <a:pt x="267" y="135"/>
                      <a:pt x="255" y="98"/>
                      <a:pt x="243" y="78"/>
                    </a:cubicBezTo>
                    <a:cubicBezTo>
                      <a:pt x="236" y="66"/>
                      <a:pt x="187" y="0"/>
                      <a:pt x="187" y="0"/>
                    </a:cubicBezTo>
                    <a:lnTo>
                      <a:pt x="102" y="24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5" name="任意多边形: 形状 1354">
                <a:extLst>
                  <a:ext uri="{FF2B5EF4-FFF2-40B4-BE49-F238E27FC236}">
                    <a16:creationId xmlns:a16="http://schemas.microsoft.com/office/drawing/2014/main" id="{F8592023-30B3-45C7-B451-D4369AA1FE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8863" y="2924176"/>
                <a:ext cx="223838" cy="971550"/>
              </a:xfrm>
              <a:custGeom>
                <a:avLst/>
                <a:gdLst>
                  <a:gd name="T0" fmla="*/ 98 w 98"/>
                  <a:gd name="T1" fmla="*/ 0 h 425"/>
                  <a:gd name="T2" fmla="*/ 98 w 98"/>
                  <a:gd name="T3" fmla="*/ 1 h 425"/>
                  <a:gd name="T4" fmla="*/ 96 w 98"/>
                  <a:gd name="T5" fmla="*/ 4 h 425"/>
                  <a:gd name="T6" fmla="*/ 90 w 98"/>
                  <a:gd name="T7" fmla="*/ 16 h 425"/>
                  <a:gd name="T8" fmla="*/ 81 w 98"/>
                  <a:gd name="T9" fmla="*/ 34 h 425"/>
                  <a:gd name="T10" fmla="*/ 75 w 98"/>
                  <a:gd name="T11" fmla="*/ 45 h 425"/>
                  <a:gd name="T12" fmla="*/ 69 w 98"/>
                  <a:gd name="T13" fmla="*/ 59 h 425"/>
                  <a:gd name="T14" fmla="*/ 39 w 98"/>
                  <a:gd name="T15" fmla="*/ 123 h 425"/>
                  <a:gd name="T16" fmla="*/ 22 w 98"/>
                  <a:gd name="T17" fmla="*/ 161 h 425"/>
                  <a:gd name="T18" fmla="*/ 12 w 98"/>
                  <a:gd name="T19" fmla="*/ 181 h 425"/>
                  <a:gd name="T20" fmla="*/ 6 w 98"/>
                  <a:gd name="T21" fmla="*/ 203 h 425"/>
                  <a:gd name="T22" fmla="*/ 3 w 98"/>
                  <a:gd name="T23" fmla="*/ 225 h 425"/>
                  <a:gd name="T24" fmla="*/ 3 w 98"/>
                  <a:gd name="T25" fmla="*/ 247 h 425"/>
                  <a:gd name="T26" fmla="*/ 2 w 98"/>
                  <a:gd name="T27" fmla="*/ 289 h 425"/>
                  <a:gd name="T28" fmla="*/ 3 w 98"/>
                  <a:gd name="T29" fmla="*/ 360 h 425"/>
                  <a:gd name="T30" fmla="*/ 4 w 98"/>
                  <a:gd name="T31" fmla="*/ 408 h 425"/>
                  <a:gd name="T32" fmla="*/ 4 w 98"/>
                  <a:gd name="T33" fmla="*/ 421 h 425"/>
                  <a:gd name="T34" fmla="*/ 4 w 98"/>
                  <a:gd name="T35" fmla="*/ 424 h 425"/>
                  <a:gd name="T36" fmla="*/ 4 w 98"/>
                  <a:gd name="T37" fmla="*/ 425 h 425"/>
                  <a:gd name="T38" fmla="*/ 4 w 98"/>
                  <a:gd name="T39" fmla="*/ 424 h 425"/>
                  <a:gd name="T40" fmla="*/ 3 w 98"/>
                  <a:gd name="T41" fmla="*/ 421 h 425"/>
                  <a:gd name="T42" fmla="*/ 3 w 98"/>
                  <a:gd name="T43" fmla="*/ 408 h 425"/>
                  <a:gd name="T44" fmla="*/ 2 w 98"/>
                  <a:gd name="T45" fmla="*/ 360 h 425"/>
                  <a:gd name="T46" fmla="*/ 0 w 98"/>
                  <a:gd name="T47" fmla="*/ 289 h 425"/>
                  <a:gd name="T48" fmla="*/ 1 w 98"/>
                  <a:gd name="T49" fmla="*/ 247 h 425"/>
                  <a:gd name="T50" fmla="*/ 1 w 98"/>
                  <a:gd name="T51" fmla="*/ 225 h 425"/>
                  <a:gd name="T52" fmla="*/ 3 w 98"/>
                  <a:gd name="T53" fmla="*/ 202 h 425"/>
                  <a:gd name="T54" fmla="*/ 10 w 98"/>
                  <a:gd name="T55" fmla="*/ 180 h 425"/>
                  <a:gd name="T56" fmla="*/ 20 w 98"/>
                  <a:gd name="T57" fmla="*/ 160 h 425"/>
                  <a:gd name="T58" fmla="*/ 38 w 98"/>
                  <a:gd name="T59" fmla="*/ 122 h 425"/>
                  <a:gd name="T60" fmla="*/ 68 w 98"/>
                  <a:gd name="T61" fmla="*/ 58 h 425"/>
                  <a:gd name="T62" fmla="*/ 74 w 98"/>
                  <a:gd name="T63" fmla="*/ 45 h 425"/>
                  <a:gd name="T64" fmla="*/ 80 w 98"/>
                  <a:gd name="T65" fmla="*/ 33 h 425"/>
                  <a:gd name="T66" fmla="*/ 90 w 98"/>
                  <a:gd name="T67" fmla="*/ 15 h 425"/>
                  <a:gd name="T68" fmla="*/ 96 w 98"/>
                  <a:gd name="T69" fmla="*/ 4 h 425"/>
                  <a:gd name="T70" fmla="*/ 97 w 98"/>
                  <a:gd name="T71" fmla="*/ 1 h 425"/>
                  <a:gd name="T72" fmla="*/ 98 w 98"/>
                  <a:gd name="T7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98" h="425">
                    <a:moveTo>
                      <a:pt x="98" y="0"/>
                    </a:moveTo>
                    <a:cubicBezTo>
                      <a:pt x="98" y="0"/>
                      <a:pt x="98" y="0"/>
                      <a:pt x="98" y="1"/>
                    </a:cubicBezTo>
                    <a:cubicBezTo>
                      <a:pt x="97" y="2"/>
                      <a:pt x="97" y="3"/>
                      <a:pt x="96" y="4"/>
                    </a:cubicBezTo>
                    <a:cubicBezTo>
                      <a:pt x="95" y="7"/>
                      <a:pt x="93" y="11"/>
                      <a:pt x="90" y="16"/>
                    </a:cubicBezTo>
                    <a:cubicBezTo>
                      <a:pt x="88" y="21"/>
                      <a:pt x="85" y="27"/>
                      <a:pt x="81" y="34"/>
                    </a:cubicBezTo>
                    <a:cubicBezTo>
                      <a:pt x="79" y="38"/>
                      <a:pt x="77" y="41"/>
                      <a:pt x="75" y="45"/>
                    </a:cubicBezTo>
                    <a:cubicBezTo>
                      <a:pt x="73" y="50"/>
                      <a:pt x="71" y="54"/>
                      <a:pt x="69" y="59"/>
                    </a:cubicBezTo>
                    <a:cubicBezTo>
                      <a:pt x="61" y="77"/>
                      <a:pt x="51" y="99"/>
                      <a:pt x="39" y="123"/>
                    </a:cubicBezTo>
                    <a:cubicBezTo>
                      <a:pt x="34" y="135"/>
                      <a:pt x="28" y="148"/>
                      <a:pt x="22" y="161"/>
                    </a:cubicBezTo>
                    <a:cubicBezTo>
                      <a:pt x="19" y="167"/>
                      <a:pt x="15" y="174"/>
                      <a:pt x="12" y="181"/>
                    </a:cubicBezTo>
                    <a:cubicBezTo>
                      <a:pt x="9" y="188"/>
                      <a:pt x="7" y="195"/>
                      <a:pt x="6" y="203"/>
                    </a:cubicBezTo>
                    <a:cubicBezTo>
                      <a:pt x="4" y="210"/>
                      <a:pt x="3" y="217"/>
                      <a:pt x="3" y="225"/>
                    </a:cubicBezTo>
                    <a:cubicBezTo>
                      <a:pt x="3" y="233"/>
                      <a:pt x="3" y="240"/>
                      <a:pt x="3" y="247"/>
                    </a:cubicBezTo>
                    <a:cubicBezTo>
                      <a:pt x="2" y="262"/>
                      <a:pt x="2" y="276"/>
                      <a:pt x="2" y="289"/>
                    </a:cubicBezTo>
                    <a:cubicBezTo>
                      <a:pt x="2" y="316"/>
                      <a:pt x="3" y="340"/>
                      <a:pt x="3" y="360"/>
                    </a:cubicBezTo>
                    <a:cubicBezTo>
                      <a:pt x="3" y="380"/>
                      <a:pt x="4" y="396"/>
                      <a:pt x="4" y="408"/>
                    </a:cubicBezTo>
                    <a:cubicBezTo>
                      <a:pt x="4" y="413"/>
                      <a:pt x="4" y="418"/>
                      <a:pt x="4" y="421"/>
                    </a:cubicBezTo>
                    <a:cubicBezTo>
                      <a:pt x="4" y="422"/>
                      <a:pt x="4" y="423"/>
                      <a:pt x="4" y="424"/>
                    </a:cubicBezTo>
                    <a:cubicBezTo>
                      <a:pt x="4" y="425"/>
                      <a:pt x="4" y="425"/>
                      <a:pt x="4" y="425"/>
                    </a:cubicBezTo>
                    <a:cubicBezTo>
                      <a:pt x="4" y="425"/>
                      <a:pt x="4" y="425"/>
                      <a:pt x="4" y="424"/>
                    </a:cubicBezTo>
                    <a:cubicBezTo>
                      <a:pt x="4" y="423"/>
                      <a:pt x="4" y="422"/>
                      <a:pt x="3" y="421"/>
                    </a:cubicBezTo>
                    <a:cubicBezTo>
                      <a:pt x="3" y="418"/>
                      <a:pt x="3" y="413"/>
                      <a:pt x="3" y="408"/>
                    </a:cubicBezTo>
                    <a:cubicBezTo>
                      <a:pt x="2" y="397"/>
                      <a:pt x="2" y="380"/>
                      <a:pt x="2" y="360"/>
                    </a:cubicBezTo>
                    <a:cubicBezTo>
                      <a:pt x="1" y="340"/>
                      <a:pt x="1" y="316"/>
                      <a:pt x="0" y="289"/>
                    </a:cubicBezTo>
                    <a:cubicBezTo>
                      <a:pt x="0" y="276"/>
                      <a:pt x="0" y="262"/>
                      <a:pt x="1" y="247"/>
                    </a:cubicBezTo>
                    <a:cubicBezTo>
                      <a:pt x="1" y="240"/>
                      <a:pt x="1" y="232"/>
                      <a:pt x="1" y="225"/>
                    </a:cubicBezTo>
                    <a:cubicBezTo>
                      <a:pt x="1" y="217"/>
                      <a:pt x="2" y="210"/>
                      <a:pt x="3" y="202"/>
                    </a:cubicBezTo>
                    <a:cubicBezTo>
                      <a:pt x="5" y="194"/>
                      <a:pt x="7" y="187"/>
                      <a:pt x="10" y="180"/>
                    </a:cubicBezTo>
                    <a:cubicBezTo>
                      <a:pt x="14" y="173"/>
                      <a:pt x="17" y="167"/>
                      <a:pt x="20" y="160"/>
                    </a:cubicBezTo>
                    <a:cubicBezTo>
                      <a:pt x="26" y="147"/>
                      <a:pt x="32" y="134"/>
                      <a:pt x="38" y="122"/>
                    </a:cubicBezTo>
                    <a:cubicBezTo>
                      <a:pt x="49" y="98"/>
                      <a:pt x="59" y="76"/>
                      <a:pt x="68" y="58"/>
                    </a:cubicBezTo>
                    <a:cubicBezTo>
                      <a:pt x="70" y="53"/>
                      <a:pt x="72" y="49"/>
                      <a:pt x="74" y="45"/>
                    </a:cubicBezTo>
                    <a:cubicBezTo>
                      <a:pt x="76" y="41"/>
                      <a:pt x="78" y="37"/>
                      <a:pt x="80" y="33"/>
                    </a:cubicBezTo>
                    <a:cubicBezTo>
                      <a:pt x="84" y="26"/>
                      <a:pt x="87" y="20"/>
                      <a:pt x="90" y="15"/>
                    </a:cubicBezTo>
                    <a:cubicBezTo>
                      <a:pt x="92" y="10"/>
                      <a:pt x="94" y="6"/>
                      <a:pt x="96" y="4"/>
                    </a:cubicBezTo>
                    <a:cubicBezTo>
                      <a:pt x="96" y="2"/>
                      <a:pt x="97" y="2"/>
                      <a:pt x="97" y="1"/>
                    </a:cubicBezTo>
                    <a:cubicBezTo>
                      <a:pt x="98" y="0"/>
                      <a:pt x="98" y="0"/>
                      <a:pt x="98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6" name="任意多边形: 形状 1355">
                <a:extLst>
                  <a:ext uri="{FF2B5EF4-FFF2-40B4-BE49-F238E27FC236}">
                    <a16:creationId xmlns:a16="http://schemas.microsoft.com/office/drawing/2014/main" id="{AB3EC4E2-87AD-4F67-AE43-A2ABF5E7AF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4751" y="2960688"/>
                <a:ext cx="34925" cy="111125"/>
              </a:xfrm>
              <a:custGeom>
                <a:avLst/>
                <a:gdLst>
                  <a:gd name="T0" fmla="*/ 15 w 15"/>
                  <a:gd name="T1" fmla="*/ 48 h 48"/>
                  <a:gd name="T2" fmla="*/ 7 w 15"/>
                  <a:gd name="T3" fmla="*/ 24 h 48"/>
                  <a:gd name="T4" fmla="*/ 0 w 15"/>
                  <a:gd name="T5" fmla="*/ 0 h 48"/>
                  <a:gd name="T6" fmla="*/ 9 w 15"/>
                  <a:gd name="T7" fmla="*/ 24 h 48"/>
                  <a:gd name="T8" fmla="*/ 15 w 15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48">
                    <a:moveTo>
                      <a:pt x="15" y="48"/>
                    </a:moveTo>
                    <a:cubicBezTo>
                      <a:pt x="14" y="48"/>
                      <a:pt x="11" y="37"/>
                      <a:pt x="7" y="24"/>
                    </a:cubicBezTo>
                    <a:cubicBezTo>
                      <a:pt x="3" y="11"/>
                      <a:pt x="0" y="1"/>
                      <a:pt x="0" y="0"/>
                    </a:cubicBezTo>
                    <a:cubicBezTo>
                      <a:pt x="1" y="0"/>
                      <a:pt x="5" y="11"/>
                      <a:pt x="9" y="24"/>
                    </a:cubicBezTo>
                    <a:cubicBezTo>
                      <a:pt x="13" y="37"/>
                      <a:pt x="15" y="47"/>
                      <a:pt x="15" y="48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7" name="任意多边形: 形状 1356">
                <a:extLst>
                  <a:ext uri="{FF2B5EF4-FFF2-40B4-BE49-F238E27FC236}">
                    <a16:creationId xmlns:a16="http://schemas.microsoft.com/office/drawing/2014/main" id="{431B2C38-4858-4E41-98AB-4F97751B6D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9226" y="3284538"/>
                <a:ext cx="50800" cy="481013"/>
              </a:xfrm>
              <a:custGeom>
                <a:avLst/>
                <a:gdLst>
                  <a:gd name="T0" fmla="*/ 22 w 22"/>
                  <a:gd name="T1" fmla="*/ 211 h 211"/>
                  <a:gd name="T2" fmla="*/ 22 w 22"/>
                  <a:gd name="T3" fmla="*/ 209 h 211"/>
                  <a:gd name="T4" fmla="*/ 21 w 22"/>
                  <a:gd name="T5" fmla="*/ 203 h 211"/>
                  <a:gd name="T6" fmla="*/ 18 w 22"/>
                  <a:gd name="T7" fmla="*/ 180 h 211"/>
                  <a:gd name="T8" fmla="*/ 10 w 22"/>
                  <a:gd name="T9" fmla="*/ 106 h 211"/>
                  <a:gd name="T10" fmla="*/ 2 w 22"/>
                  <a:gd name="T11" fmla="*/ 31 h 211"/>
                  <a:gd name="T12" fmla="*/ 0 w 22"/>
                  <a:gd name="T13" fmla="*/ 8 h 211"/>
                  <a:gd name="T14" fmla="*/ 0 w 22"/>
                  <a:gd name="T15" fmla="*/ 2 h 211"/>
                  <a:gd name="T16" fmla="*/ 0 w 22"/>
                  <a:gd name="T17" fmla="*/ 0 h 211"/>
                  <a:gd name="T18" fmla="*/ 0 w 22"/>
                  <a:gd name="T19" fmla="*/ 2 h 211"/>
                  <a:gd name="T20" fmla="*/ 1 w 22"/>
                  <a:gd name="T21" fmla="*/ 8 h 211"/>
                  <a:gd name="T22" fmla="*/ 4 w 22"/>
                  <a:gd name="T23" fmla="*/ 31 h 211"/>
                  <a:gd name="T24" fmla="*/ 12 w 22"/>
                  <a:gd name="T25" fmla="*/ 105 h 211"/>
                  <a:gd name="T26" fmla="*/ 20 w 22"/>
                  <a:gd name="T27" fmla="*/ 180 h 211"/>
                  <a:gd name="T28" fmla="*/ 22 w 22"/>
                  <a:gd name="T29" fmla="*/ 203 h 211"/>
                  <a:gd name="T30" fmla="*/ 22 w 22"/>
                  <a:gd name="T31" fmla="*/ 209 h 211"/>
                  <a:gd name="T32" fmla="*/ 22 w 22"/>
                  <a:gd name="T33" fmla="*/ 21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2" h="211">
                    <a:moveTo>
                      <a:pt x="22" y="211"/>
                    </a:moveTo>
                    <a:cubicBezTo>
                      <a:pt x="22" y="211"/>
                      <a:pt x="22" y="210"/>
                      <a:pt x="22" y="209"/>
                    </a:cubicBezTo>
                    <a:cubicBezTo>
                      <a:pt x="22" y="207"/>
                      <a:pt x="21" y="205"/>
                      <a:pt x="21" y="203"/>
                    </a:cubicBezTo>
                    <a:cubicBezTo>
                      <a:pt x="20" y="197"/>
                      <a:pt x="19" y="190"/>
                      <a:pt x="18" y="180"/>
                    </a:cubicBezTo>
                    <a:cubicBezTo>
                      <a:pt x="16" y="161"/>
                      <a:pt x="13" y="135"/>
                      <a:pt x="10" y="106"/>
                    </a:cubicBezTo>
                    <a:cubicBezTo>
                      <a:pt x="6" y="76"/>
                      <a:pt x="4" y="50"/>
                      <a:pt x="2" y="31"/>
                    </a:cubicBezTo>
                    <a:cubicBezTo>
                      <a:pt x="1" y="21"/>
                      <a:pt x="1" y="14"/>
                      <a:pt x="0" y="8"/>
                    </a:cubicBezTo>
                    <a:cubicBezTo>
                      <a:pt x="0" y="6"/>
                      <a:pt x="0" y="4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4"/>
                      <a:pt x="1" y="6"/>
                      <a:pt x="1" y="8"/>
                    </a:cubicBezTo>
                    <a:cubicBezTo>
                      <a:pt x="2" y="14"/>
                      <a:pt x="2" y="21"/>
                      <a:pt x="4" y="31"/>
                    </a:cubicBezTo>
                    <a:cubicBezTo>
                      <a:pt x="6" y="50"/>
                      <a:pt x="9" y="76"/>
                      <a:pt x="12" y="105"/>
                    </a:cubicBezTo>
                    <a:cubicBezTo>
                      <a:pt x="15" y="134"/>
                      <a:pt x="18" y="161"/>
                      <a:pt x="20" y="180"/>
                    </a:cubicBezTo>
                    <a:cubicBezTo>
                      <a:pt x="20" y="189"/>
                      <a:pt x="21" y="197"/>
                      <a:pt x="22" y="203"/>
                    </a:cubicBezTo>
                    <a:cubicBezTo>
                      <a:pt x="22" y="205"/>
                      <a:pt x="22" y="207"/>
                      <a:pt x="22" y="209"/>
                    </a:cubicBezTo>
                    <a:cubicBezTo>
                      <a:pt x="22" y="210"/>
                      <a:pt x="22" y="211"/>
                      <a:pt x="22" y="21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8" name="任意多边形: 形状 1357">
                <a:extLst>
                  <a:ext uri="{FF2B5EF4-FFF2-40B4-BE49-F238E27FC236}">
                    <a16:creationId xmlns:a16="http://schemas.microsoft.com/office/drawing/2014/main" id="{8F2782B9-5FBC-4B26-B68B-A8DF5B173E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6363" y="1668463"/>
                <a:ext cx="173038" cy="211138"/>
              </a:xfrm>
              <a:custGeom>
                <a:avLst/>
                <a:gdLst>
                  <a:gd name="T0" fmla="*/ 2 w 76"/>
                  <a:gd name="T1" fmla="*/ 35 h 93"/>
                  <a:gd name="T2" fmla="*/ 29 w 76"/>
                  <a:gd name="T3" fmla="*/ 2 h 93"/>
                  <a:gd name="T4" fmla="*/ 69 w 76"/>
                  <a:gd name="T5" fmla="*/ 25 h 93"/>
                  <a:gd name="T6" fmla="*/ 70 w 76"/>
                  <a:gd name="T7" fmla="*/ 71 h 93"/>
                  <a:gd name="T8" fmla="*/ 48 w 76"/>
                  <a:gd name="T9" fmla="*/ 92 h 93"/>
                  <a:gd name="T10" fmla="*/ 21 w 76"/>
                  <a:gd name="T11" fmla="*/ 7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6" h="93">
                    <a:moveTo>
                      <a:pt x="2" y="35"/>
                    </a:moveTo>
                    <a:cubicBezTo>
                      <a:pt x="0" y="20"/>
                      <a:pt x="14" y="4"/>
                      <a:pt x="29" y="2"/>
                    </a:cubicBezTo>
                    <a:cubicBezTo>
                      <a:pt x="45" y="0"/>
                      <a:pt x="61" y="10"/>
                      <a:pt x="69" y="25"/>
                    </a:cubicBezTo>
                    <a:cubicBezTo>
                      <a:pt x="76" y="39"/>
                      <a:pt x="75" y="56"/>
                      <a:pt x="70" y="71"/>
                    </a:cubicBezTo>
                    <a:cubicBezTo>
                      <a:pt x="66" y="81"/>
                      <a:pt x="58" y="92"/>
                      <a:pt x="48" y="92"/>
                    </a:cubicBezTo>
                    <a:cubicBezTo>
                      <a:pt x="37" y="93"/>
                      <a:pt x="29" y="85"/>
                      <a:pt x="21" y="77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9" name="任意多边形: 形状 1358">
                <a:extLst>
                  <a:ext uri="{FF2B5EF4-FFF2-40B4-BE49-F238E27FC236}">
                    <a16:creationId xmlns:a16="http://schemas.microsoft.com/office/drawing/2014/main" id="{3AC980BD-33C1-415E-9E23-6D036CEF3B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26" y="1689101"/>
                <a:ext cx="423863" cy="396875"/>
              </a:xfrm>
              <a:custGeom>
                <a:avLst/>
                <a:gdLst>
                  <a:gd name="T0" fmla="*/ 32 w 185"/>
                  <a:gd name="T1" fmla="*/ 106 h 174"/>
                  <a:gd name="T2" fmla="*/ 117 w 185"/>
                  <a:gd name="T3" fmla="*/ 12 h 174"/>
                  <a:gd name="T4" fmla="*/ 179 w 185"/>
                  <a:gd name="T5" fmla="*/ 68 h 174"/>
                  <a:gd name="T6" fmla="*/ 175 w 185"/>
                  <a:gd name="T7" fmla="*/ 147 h 174"/>
                  <a:gd name="T8" fmla="*/ 148 w 185"/>
                  <a:gd name="T9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5" h="174">
                    <a:moveTo>
                      <a:pt x="32" y="106"/>
                    </a:moveTo>
                    <a:cubicBezTo>
                      <a:pt x="0" y="36"/>
                      <a:pt x="76" y="0"/>
                      <a:pt x="117" y="12"/>
                    </a:cubicBezTo>
                    <a:cubicBezTo>
                      <a:pt x="156" y="23"/>
                      <a:pt x="172" y="42"/>
                      <a:pt x="179" y="68"/>
                    </a:cubicBezTo>
                    <a:cubicBezTo>
                      <a:pt x="185" y="94"/>
                      <a:pt x="185" y="123"/>
                      <a:pt x="175" y="147"/>
                    </a:cubicBezTo>
                    <a:cubicBezTo>
                      <a:pt x="170" y="160"/>
                      <a:pt x="161" y="172"/>
                      <a:pt x="148" y="17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0" name="任意多边形: 形状 1359">
                <a:extLst>
                  <a:ext uri="{FF2B5EF4-FFF2-40B4-BE49-F238E27FC236}">
                    <a16:creationId xmlns:a16="http://schemas.microsoft.com/office/drawing/2014/main" id="{2655E57E-5CF9-431B-9F30-922E74784D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0776" y="1758951"/>
                <a:ext cx="282575" cy="560388"/>
              </a:xfrm>
              <a:custGeom>
                <a:avLst/>
                <a:gdLst>
                  <a:gd name="T0" fmla="*/ 112 w 124"/>
                  <a:gd name="T1" fmla="*/ 20 h 245"/>
                  <a:gd name="T2" fmla="*/ 124 w 124"/>
                  <a:gd name="T3" fmla="*/ 33 h 245"/>
                  <a:gd name="T4" fmla="*/ 116 w 124"/>
                  <a:gd name="T5" fmla="*/ 212 h 245"/>
                  <a:gd name="T6" fmla="*/ 62 w 124"/>
                  <a:gd name="T7" fmla="*/ 244 h 245"/>
                  <a:gd name="T8" fmla="*/ 39 w 124"/>
                  <a:gd name="T9" fmla="*/ 213 h 245"/>
                  <a:gd name="T10" fmla="*/ 38 w 124"/>
                  <a:gd name="T11" fmla="*/ 167 h 245"/>
                  <a:gd name="T12" fmla="*/ 3 w 124"/>
                  <a:gd name="T13" fmla="*/ 124 h 245"/>
                  <a:gd name="T14" fmla="*/ 3 w 124"/>
                  <a:gd name="T15" fmla="*/ 50 h 245"/>
                  <a:gd name="T16" fmla="*/ 42 w 124"/>
                  <a:gd name="T17" fmla="*/ 2 h 245"/>
                  <a:gd name="T18" fmla="*/ 112 w 124"/>
                  <a:gd name="T19" fmla="*/ 2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4" h="245">
                    <a:moveTo>
                      <a:pt x="112" y="20"/>
                    </a:moveTo>
                    <a:cubicBezTo>
                      <a:pt x="119" y="21"/>
                      <a:pt x="124" y="27"/>
                      <a:pt x="124" y="33"/>
                    </a:cubicBezTo>
                    <a:cubicBezTo>
                      <a:pt x="116" y="212"/>
                      <a:pt x="116" y="212"/>
                      <a:pt x="116" y="212"/>
                    </a:cubicBezTo>
                    <a:cubicBezTo>
                      <a:pt x="116" y="233"/>
                      <a:pt x="85" y="245"/>
                      <a:pt x="62" y="244"/>
                    </a:cubicBezTo>
                    <a:cubicBezTo>
                      <a:pt x="40" y="244"/>
                      <a:pt x="39" y="233"/>
                      <a:pt x="39" y="213"/>
                    </a:cubicBezTo>
                    <a:cubicBezTo>
                      <a:pt x="38" y="179"/>
                      <a:pt x="38" y="167"/>
                      <a:pt x="38" y="167"/>
                    </a:cubicBezTo>
                    <a:cubicBezTo>
                      <a:pt x="38" y="167"/>
                      <a:pt x="9" y="162"/>
                      <a:pt x="3" y="124"/>
                    </a:cubicBezTo>
                    <a:cubicBezTo>
                      <a:pt x="0" y="106"/>
                      <a:pt x="1" y="75"/>
                      <a:pt x="3" y="50"/>
                    </a:cubicBezTo>
                    <a:cubicBezTo>
                      <a:pt x="4" y="28"/>
                      <a:pt x="19" y="0"/>
                      <a:pt x="42" y="2"/>
                    </a:cubicBezTo>
                    <a:lnTo>
                      <a:pt x="112" y="20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1" name="任意多边形: 形状 1360">
                <a:extLst>
                  <a:ext uri="{FF2B5EF4-FFF2-40B4-BE49-F238E27FC236}">
                    <a16:creationId xmlns:a16="http://schemas.microsoft.com/office/drawing/2014/main" id="{C1B4D948-394B-47E1-934B-B8C9BD7AB4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8876" y="1912938"/>
                <a:ext cx="22225" cy="20638"/>
              </a:xfrm>
              <a:custGeom>
                <a:avLst/>
                <a:gdLst>
                  <a:gd name="T0" fmla="*/ 0 w 10"/>
                  <a:gd name="T1" fmla="*/ 4 h 9"/>
                  <a:gd name="T2" fmla="*/ 5 w 10"/>
                  <a:gd name="T3" fmla="*/ 9 h 9"/>
                  <a:gd name="T4" fmla="*/ 10 w 10"/>
                  <a:gd name="T5" fmla="*/ 5 h 9"/>
                  <a:gd name="T6" fmla="*/ 5 w 10"/>
                  <a:gd name="T7" fmla="*/ 0 h 9"/>
                  <a:gd name="T8" fmla="*/ 0 w 10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0" y="4"/>
                    </a:moveTo>
                    <a:cubicBezTo>
                      <a:pt x="0" y="7"/>
                      <a:pt x="2" y="9"/>
                      <a:pt x="5" y="9"/>
                    </a:cubicBezTo>
                    <a:cubicBezTo>
                      <a:pt x="8" y="9"/>
                      <a:pt x="10" y="8"/>
                      <a:pt x="10" y="5"/>
                    </a:cubicBezTo>
                    <a:cubicBezTo>
                      <a:pt x="10" y="2"/>
                      <a:pt x="8" y="0"/>
                      <a:pt x="5" y="0"/>
                    </a:cubicBezTo>
                    <a:cubicBezTo>
                      <a:pt x="3" y="0"/>
                      <a:pt x="0" y="2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2" name="任意多边形: 形状 1361">
                <a:extLst>
                  <a:ext uri="{FF2B5EF4-FFF2-40B4-BE49-F238E27FC236}">
                    <a16:creationId xmlns:a16="http://schemas.microsoft.com/office/drawing/2014/main" id="{6E9CE4DF-955F-41F1-B9A0-9FE081C79E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1413" y="1898651"/>
                <a:ext cx="44450" cy="14288"/>
              </a:xfrm>
              <a:custGeom>
                <a:avLst/>
                <a:gdLst>
                  <a:gd name="T0" fmla="*/ 0 w 20"/>
                  <a:gd name="T1" fmla="*/ 5 h 6"/>
                  <a:gd name="T2" fmla="*/ 10 w 20"/>
                  <a:gd name="T3" fmla="*/ 3 h 6"/>
                  <a:gd name="T4" fmla="*/ 19 w 20"/>
                  <a:gd name="T5" fmla="*/ 5 h 6"/>
                  <a:gd name="T6" fmla="*/ 17 w 20"/>
                  <a:gd name="T7" fmla="*/ 2 h 6"/>
                  <a:gd name="T8" fmla="*/ 10 w 20"/>
                  <a:gd name="T9" fmla="*/ 0 h 6"/>
                  <a:gd name="T10" fmla="*/ 2 w 20"/>
                  <a:gd name="T11" fmla="*/ 2 h 6"/>
                  <a:gd name="T12" fmla="*/ 0 w 20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6">
                    <a:moveTo>
                      <a:pt x="0" y="5"/>
                    </a:moveTo>
                    <a:cubicBezTo>
                      <a:pt x="1" y="6"/>
                      <a:pt x="5" y="3"/>
                      <a:pt x="10" y="3"/>
                    </a:cubicBezTo>
                    <a:cubicBezTo>
                      <a:pt x="15" y="3"/>
                      <a:pt x="19" y="6"/>
                      <a:pt x="19" y="5"/>
                    </a:cubicBezTo>
                    <a:cubicBezTo>
                      <a:pt x="20" y="5"/>
                      <a:pt x="19" y="4"/>
                      <a:pt x="17" y="2"/>
                    </a:cubicBezTo>
                    <a:cubicBezTo>
                      <a:pt x="16" y="1"/>
                      <a:pt x="13" y="0"/>
                      <a:pt x="10" y="0"/>
                    </a:cubicBezTo>
                    <a:cubicBezTo>
                      <a:pt x="7" y="0"/>
                      <a:pt x="4" y="1"/>
                      <a:pt x="2" y="2"/>
                    </a:cubicBezTo>
                    <a:cubicBezTo>
                      <a:pt x="1" y="4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3" name="任意多边形: 形状 1362">
                <a:extLst>
                  <a:ext uri="{FF2B5EF4-FFF2-40B4-BE49-F238E27FC236}">
                    <a16:creationId xmlns:a16="http://schemas.microsoft.com/office/drawing/2014/main" id="{9ED8D4DA-DBA4-438E-B748-1206253DF8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6351" y="1912938"/>
                <a:ext cx="22225" cy="20638"/>
              </a:xfrm>
              <a:custGeom>
                <a:avLst/>
                <a:gdLst>
                  <a:gd name="T0" fmla="*/ 0 w 10"/>
                  <a:gd name="T1" fmla="*/ 4 h 9"/>
                  <a:gd name="T2" fmla="*/ 5 w 10"/>
                  <a:gd name="T3" fmla="*/ 9 h 9"/>
                  <a:gd name="T4" fmla="*/ 10 w 10"/>
                  <a:gd name="T5" fmla="*/ 5 h 9"/>
                  <a:gd name="T6" fmla="*/ 5 w 10"/>
                  <a:gd name="T7" fmla="*/ 0 h 9"/>
                  <a:gd name="T8" fmla="*/ 0 w 10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0" y="4"/>
                    </a:moveTo>
                    <a:cubicBezTo>
                      <a:pt x="0" y="7"/>
                      <a:pt x="2" y="9"/>
                      <a:pt x="5" y="9"/>
                    </a:cubicBezTo>
                    <a:cubicBezTo>
                      <a:pt x="7" y="9"/>
                      <a:pt x="10" y="8"/>
                      <a:pt x="10" y="5"/>
                    </a:cubicBezTo>
                    <a:cubicBezTo>
                      <a:pt x="10" y="2"/>
                      <a:pt x="8" y="0"/>
                      <a:pt x="5" y="0"/>
                    </a:cubicBezTo>
                    <a:cubicBezTo>
                      <a:pt x="2" y="0"/>
                      <a:pt x="0" y="2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4" name="任意多边形: 形状 1363">
                <a:extLst>
                  <a:ext uri="{FF2B5EF4-FFF2-40B4-BE49-F238E27FC236}">
                    <a16:creationId xmlns:a16="http://schemas.microsoft.com/office/drawing/2014/main" id="{41F4A58D-4C2F-4E08-9DB7-E58A52A312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301" y="1900238"/>
                <a:ext cx="46038" cy="14288"/>
              </a:xfrm>
              <a:custGeom>
                <a:avLst/>
                <a:gdLst>
                  <a:gd name="T0" fmla="*/ 0 w 20"/>
                  <a:gd name="T1" fmla="*/ 5 h 6"/>
                  <a:gd name="T2" fmla="*/ 10 w 20"/>
                  <a:gd name="T3" fmla="*/ 3 h 6"/>
                  <a:gd name="T4" fmla="*/ 19 w 20"/>
                  <a:gd name="T5" fmla="*/ 5 h 6"/>
                  <a:gd name="T6" fmla="*/ 17 w 20"/>
                  <a:gd name="T7" fmla="*/ 2 h 6"/>
                  <a:gd name="T8" fmla="*/ 10 w 20"/>
                  <a:gd name="T9" fmla="*/ 0 h 6"/>
                  <a:gd name="T10" fmla="*/ 2 w 20"/>
                  <a:gd name="T11" fmla="*/ 2 h 6"/>
                  <a:gd name="T12" fmla="*/ 0 w 20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6">
                    <a:moveTo>
                      <a:pt x="0" y="5"/>
                    </a:moveTo>
                    <a:cubicBezTo>
                      <a:pt x="1" y="6"/>
                      <a:pt x="5" y="3"/>
                      <a:pt x="10" y="3"/>
                    </a:cubicBezTo>
                    <a:cubicBezTo>
                      <a:pt x="15" y="3"/>
                      <a:pt x="19" y="6"/>
                      <a:pt x="19" y="5"/>
                    </a:cubicBezTo>
                    <a:cubicBezTo>
                      <a:pt x="20" y="5"/>
                      <a:pt x="19" y="4"/>
                      <a:pt x="17" y="2"/>
                    </a:cubicBezTo>
                    <a:cubicBezTo>
                      <a:pt x="16" y="1"/>
                      <a:pt x="13" y="0"/>
                      <a:pt x="10" y="0"/>
                    </a:cubicBezTo>
                    <a:cubicBezTo>
                      <a:pt x="7" y="0"/>
                      <a:pt x="4" y="1"/>
                      <a:pt x="2" y="2"/>
                    </a:cubicBezTo>
                    <a:cubicBezTo>
                      <a:pt x="1" y="4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5" name="任意多边形: 形状 1364">
                <a:extLst>
                  <a:ext uri="{FF2B5EF4-FFF2-40B4-BE49-F238E27FC236}">
                    <a16:creationId xmlns:a16="http://schemas.microsoft.com/office/drawing/2014/main" id="{A5C637AD-ED7E-486A-9933-5FC758FF6B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4276" y="1900238"/>
                <a:ext cx="38100" cy="101600"/>
              </a:xfrm>
              <a:custGeom>
                <a:avLst/>
                <a:gdLst>
                  <a:gd name="T0" fmla="*/ 14 w 17"/>
                  <a:gd name="T1" fmla="*/ 43 h 44"/>
                  <a:gd name="T2" fmla="*/ 5 w 17"/>
                  <a:gd name="T3" fmla="*/ 42 h 44"/>
                  <a:gd name="T4" fmla="*/ 2 w 17"/>
                  <a:gd name="T5" fmla="*/ 41 h 44"/>
                  <a:gd name="T6" fmla="*/ 3 w 17"/>
                  <a:gd name="T7" fmla="*/ 37 h 44"/>
                  <a:gd name="T8" fmla="*/ 7 w 17"/>
                  <a:gd name="T9" fmla="*/ 27 h 44"/>
                  <a:gd name="T10" fmla="*/ 16 w 17"/>
                  <a:gd name="T11" fmla="*/ 0 h 44"/>
                  <a:gd name="T12" fmla="*/ 5 w 17"/>
                  <a:gd name="T13" fmla="*/ 26 h 44"/>
                  <a:gd name="T14" fmla="*/ 1 w 17"/>
                  <a:gd name="T15" fmla="*/ 36 h 44"/>
                  <a:gd name="T16" fmla="*/ 1 w 17"/>
                  <a:gd name="T17" fmla="*/ 41 h 44"/>
                  <a:gd name="T18" fmla="*/ 3 w 17"/>
                  <a:gd name="T19" fmla="*/ 43 h 44"/>
                  <a:gd name="T20" fmla="*/ 5 w 17"/>
                  <a:gd name="T21" fmla="*/ 43 h 44"/>
                  <a:gd name="T22" fmla="*/ 14 w 17"/>
                  <a:gd name="T23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44">
                    <a:moveTo>
                      <a:pt x="14" y="43"/>
                    </a:moveTo>
                    <a:cubicBezTo>
                      <a:pt x="14" y="43"/>
                      <a:pt x="10" y="43"/>
                      <a:pt x="5" y="42"/>
                    </a:cubicBezTo>
                    <a:cubicBezTo>
                      <a:pt x="4" y="42"/>
                      <a:pt x="3" y="42"/>
                      <a:pt x="2" y="41"/>
                    </a:cubicBezTo>
                    <a:cubicBezTo>
                      <a:pt x="2" y="40"/>
                      <a:pt x="3" y="38"/>
                      <a:pt x="3" y="37"/>
                    </a:cubicBezTo>
                    <a:cubicBezTo>
                      <a:pt x="5" y="34"/>
                      <a:pt x="6" y="30"/>
                      <a:pt x="7" y="27"/>
                    </a:cubicBezTo>
                    <a:cubicBezTo>
                      <a:pt x="13" y="12"/>
                      <a:pt x="17" y="0"/>
                      <a:pt x="16" y="0"/>
                    </a:cubicBezTo>
                    <a:cubicBezTo>
                      <a:pt x="15" y="0"/>
                      <a:pt x="11" y="12"/>
                      <a:pt x="5" y="26"/>
                    </a:cubicBezTo>
                    <a:cubicBezTo>
                      <a:pt x="4" y="29"/>
                      <a:pt x="3" y="33"/>
                      <a:pt x="1" y="36"/>
                    </a:cubicBezTo>
                    <a:cubicBezTo>
                      <a:pt x="1" y="38"/>
                      <a:pt x="0" y="39"/>
                      <a:pt x="1" y="41"/>
                    </a:cubicBezTo>
                    <a:cubicBezTo>
                      <a:pt x="1" y="42"/>
                      <a:pt x="2" y="43"/>
                      <a:pt x="3" y="43"/>
                    </a:cubicBezTo>
                    <a:cubicBezTo>
                      <a:pt x="4" y="43"/>
                      <a:pt x="4" y="43"/>
                      <a:pt x="5" y="43"/>
                    </a:cubicBezTo>
                    <a:cubicBezTo>
                      <a:pt x="10" y="44"/>
                      <a:pt x="14" y="44"/>
                      <a:pt x="14" y="4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6" name="任意多边形: 形状 1365">
                <a:extLst>
                  <a:ext uri="{FF2B5EF4-FFF2-40B4-BE49-F238E27FC236}">
                    <a16:creationId xmlns:a16="http://schemas.microsoft.com/office/drawing/2014/main" id="{E6481616-85BE-4D63-B135-9F955BD49E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501" y="2108201"/>
                <a:ext cx="114300" cy="60325"/>
              </a:xfrm>
              <a:custGeom>
                <a:avLst/>
                <a:gdLst>
                  <a:gd name="T0" fmla="*/ 0 w 50"/>
                  <a:gd name="T1" fmla="*/ 14 h 26"/>
                  <a:gd name="T2" fmla="*/ 50 w 50"/>
                  <a:gd name="T3" fmla="*/ 0 h 26"/>
                  <a:gd name="T4" fmla="*/ 1 w 50"/>
                  <a:gd name="T5" fmla="*/ 23 h 26"/>
                  <a:gd name="T6" fmla="*/ 0 w 50"/>
                  <a:gd name="T7" fmla="*/ 1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0" h="26">
                    <a:moveTo>
                      <a:pt x="0" y="14"/>
                    </a:moveTo>
                    <a:cubicBezTo>
                      <a:pt x="0" y="14"/>
                      <a:pt x="25" y="15"/>
                      <a:pt x="50" y="0"/>
                    </a:cubicBezTo>
                    <a:cubicBezTo>
                      <a:pt x="50" y="0"/>
                      <a:pt x="38" y="26"/>
                      <a:pt x="1" y="23"/>
                    </a:cubicBez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7" name="任意多边形: 形状 1366">
                <a:extLst>
                  <a:ext uri="{FF2B5EF4-FFF2-40B4-BE49-F238E27FC236}">
                    <a16:creationId xmlns:a16="http://schemas.microsoft.com/office/drawing/2014/main" id="{34EE0385-E466-4CFA-99F9-56D3A0C78F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9201" y="2019301"/>
                <a:ext cx="38100" cy="28575"/>
              </a:xfrm>
              <a:custGeom>
                <a:avLst/>
                <a:gdLst>
                  <a:gd name="T0" fmla="*/ 1 w 17"/>
                  <a:gd name="T1" fmla="*/ 4 h 12"/>
                  <a:gd name="T2" fmla="*/ 9 w 17"/>
                  <a:gd name="T3" fmla="*/ 0 h 12"/>
                  <a:gd name="T4" fmla="*/ 15 w 17"/>
                  <a:gd name="T5" fmla="*/ 4 h 12"/>
                  <a:gd name="T6" fmla="*/ 15 w 17"/>
                  <a:gd name="T7" fmla="*/ 10 h 12"/>
                  <a:gd name="T8" fmla="*/ 9 w 17"/>
                  <a:gd name="T9" fmla="*/ 12 h 12"/>
                  <a:gd name="T10" fmla="*/ 2 w 17"/>
                  <a:gd name="T11" fmla="*/ 8 h 12"/>
                  <a:gd name="T12" fmla="*/ 1 w 17"/>
                  <a:gd name="T13" fmla="*/ 6 h 12"/>
                  <a:gd name="T14" fmla="*/ 1 w 17"/>
                  <a:gd name="T15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12">
                    <a:moveTo>
                      <a:pt x="1" y="4"/>
                    </a:moveTo>
                    <a:cubicBezTo>
                      <a:pt x="3" y="1"/>
                      <a:pt x="6" y="0"/>
                      <a:pt x="9" y="0"/>
                    </a:cubicBezTo>
                    <a:cubicBezTo>
                      <a:pt x="11" y="1"/>
                      <a:pt x="14" y="2"/>
                      <a:pt x="15" y="4"/>
                    </a:cubicBezTo>
                    <a:cubicBezTo>
                      <a:pt x="16" y="5"/>
                      <a:pt x="17" y="8"/>
                      <a:pt x="15" y="10"/>
                    </a:cubicBezTo>
                    <a:cubicBezTo>
                      <a:pt x="14" y="12"/>
                      <a:pt x="11" y="12"/>
                      <a:pt x="9" y="12"/>
                    </a:cubicBezTo>
                    <a:cubicBezTo>
                      <a:pt x="6" y="11"/>
                      <a:pt x="4" y="9"/>
                      <a:pt x="2" y="8"/>
                    </a:cubicBezTo>
                    <a:cubicBezTo>
                      <a:pt x="1" y="7"/>
                      <a:pt x="1" y="7"/>
                      <a:pt x="1" y="6"/>
                    </a:cubicBezTo>
                    <a:cubicBezTo>
                      <a:pt x="0" y="5"/>
                      <a:pt x="0" y="5"/>
                      <a:pt x="1" y="4"/>
                    </a:cubicBezTo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8" name="任意多边形: 形状 1367">
                <a:extLst>
                  <a:ext uri="{FF2B5EF4-FFF2-40B4-BE49-F238E27FC236}">
                    <a16:creationId xmlns:a16="http://schemas.microsoft.com/office/drawing/2014/main" id="{D2F74753-2E4C-4FC4-A3A6-99D204AD2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1263" y="2008188"/>
                <a:ext cx="41275" cy="34925"/>
              </a:xfrm>
              <a:custGeom>
                <a:avLst/>
                <a:gdLst>
                  <a:gd name="T0" fmla="*/ 17 w 18"/>
                  <a:gd name="T1" fmla="*/ 0 h 15"/>
                  <a:gd name="T2" fmla="*/ 11 w 18"/>
                  <a:gd name="T3" fmla="*/ 10 h 15"/>
                  <a:gd name="T4" fmla="*/ 0 w 18"/>
                  <a:gd name="T5" fmla="*/ 14 h 15"/>
                  <a:gd name="T6" fmla="*/ 4 w 18"/>
                  <a:gd name="T7" fmla="*/ 15 h 15"/>
                  <a:gd name="T8" fmla="*/ 13 w 18"/>
                  <a:gd name="T9" fmla="*/ 12 h 15"/>
                  <a:gd name="T10" fmla="*/ 18 w 18"/>
                  <a:gd name="T11" fmla="*/ 4 h 15"/>
                  <a:gd name="T12" fmla="*/ 17 w 18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15">
                    <a:moveTo>
                      <a:pt x="17" y="0"/>
                    </a:moveTo>
                    <a:cubicBezTo>
                      <a:pt x="16" y="0"/>
                      <a:pt x="16" y="6"/>
                      <a:pt x="11" y="10"/>
                    </a:cubicBezTo>
                    <a:cubicBezTo>
                      <a:pt x="6" y="14"/>
                      <a:pt x="0" y="13"/>
                      <a:pt x="0" y="14"/>
                    </a:cubicBezTo>
                    <a:cubicBezTo>
                      <a:pt x="0" y="14"/>
                      <a:pt x="2" y="15"/>
                      <a:pt x="4" y="15"/>
                    </a:cubicBezTo>
                    <a:cubicBezTo>
                      <a:pt x="7" y="15"/>
                      <a:pt x="10" y="14"/>
                      <a:pt x="13" y="12"/>
                    </a:cubicBezTo>
                    <a:cubicBezTo>
                      <a:pt x="16" y="9"/>
                      <a:pt x="17" y="6"/>
                      <a:pt x="18" y="4"/>
                    </a:cubicBezTo>
                    <a:cubicBezTo>
                      <a:pt x="18" y="1"/>
                      <a:pt x="17" y="0"/>
                      <a:pt x="1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9" name="任意多边形: 形状 1368">
                <a:extLst>
                  <a:ext uri="{FF2B5EF4-FFF2-40B4-BE49-F238E27FC236}">
                    <a16:creationId xmlns:a16="http://schemas.microsoft.com/office/drawing/2014/main" id="{DB835A5E-CDDE-4141-82C2-3F51DFBC20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2538" y="1882776"/>
                <a:ext cx="55563" cy="17463"/>
              </a:xfrm>
              <a:custGeom>
                <a:avLst/>
                <a:gdLst>
                  <a:gd name="T0" fmla="*/ 0 w 24"/>
                  <a:gd name="T1" fmla="*/ 4 h 8"/>
                  <a:gd name="T2" fmla="*/ 12 w 24"/>
                  <a:gd name="T3" fmla="*/ 5 h 8"/>
                  <a:gd name="T4" fmla="*/ 24 w 24"/>
                  <a:gd name="T5" fmla="*/ 7 h 8"/>
                  <a:gd name="T6" fmla="*/ 21 w 24"/>
                  <a:gd name="T7" fmla="*/ 3 h 8"/>
                  <a:gd name="T8" fmla="*/ 12 w 24"/>
                  <a:gd name="T9" fmla="*/ 0 h 8"/>
                  <a:gd name="T10" fmla="*/ 3 w 24"/>
                  <a:gd name="T11" fmla="*/ 1 h 8"/>
                  <a:gd name="T12" fmla="*/ 0 w 24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8">
                    <a:moveTo>
                      <a:pt x="0" y="4"/>
                    </a:moveTo>
                    <a:cubicBezTo>
                      <a:pt x="1" y="5"/>
                      <a:pt x="6" y="5"/>
                      <a:pt x="12" y="5"/>
                    </a:cubicBezTo>
                    <a:cubicBezTo>
                      <a:pt x="18" y="6"/>
                      <a:pt x="23" y="8"/>
                      <a:pt x="24" y="7"/>
                    </a:cubicBezTo>
                    <a:cubicBezTo>
                      <a:pt x="24" y="6"/>
                      <a:pt x="23" y="5"/>
                      <a:pt x="21" y="3"/>
                    </a:cubicBezTo>
                    <a:cubicBezTo>
                      <a:pt x="19" y="2"/>
                      <a:pt x="16" y="1"/>
                      <a:pt x="12" y="0"/>
                    </a:cubicBezTo>
                    <a:cubicBezTo>
                      <a:pt x="9" y="0"/>
                      <a:pt x="5" y="0"/>
                      <a:pt x="3" y="1"/>
                    </a:cubicBezTo>
                    <a:cubicBezTo>
                      <a:pt x="1" y="2"/>
                      <a:pt x="0" y="3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0" name="任意多边形: 形状 1369">
                <a:extLst>
                  <a:ext uri="{FF2B5EF4-FFF2-40B4-BE49-F238E27FC236}">
                    <a16:creationId xmlns:a16="http://schemas.microsoft.com/office/drawing/2014/main" id="{D07A6F1B-251E-44B9-B70E-25D2265201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4588" y="1863726"/>
                <a:ext cx="41275" cy="14288"/>
              </a:xfrm>
              <a:custGeom>
                <a:avLst/>
                <a:gdLst>
                  <a:gd name="T0" fmla="*/ 0 w 18"/>
                  <a:gd name="T1" fmla="*/ 5 h 6"/>
                  <a:gd name="T2" fmla="*/ 9 w 18"/>
                  <a:gd name="T3" fmla="*/ 5 h 6"/>
                  <a:gd name="T4" fmla="*/ 18 w 18"/>
                  <a:gd name="T5" fmla="*/ 4 h 6"/>
                  <a:gd name="T6" fmla="*/ 16 w 18"/>
                  <a:gd name="T7" fmla="*/ 2 h 6"/>
                  <a:gd name="T8" fmla="*/ 9 w 18"/>
                  <a:gd name="T9" fmla="*/ 0 h 6"/>
                  <a:gd name="T10" fmla="*/ 2 w 18"/>
                  <a:gd name="T11" fmla="*/ 2 h 6"/>
                  <a:gd name="T12" fmla="*/ 0 w 18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6">
                    <a:moveTo>
                      <a:pt x="0" y="5"/>
                    </a:moveTo>
                    <a:cubicBezTo>
                      <a:pt x="1" y="6"/>
                      <a:pt x="5" y="5"/>
                      <a:pt x="9" y="5"/>
                    </a:cubicBezTo>
                    <a:cubicBezTo>
                      <a:pt x="13" y="5"/>
                      <a:pt x="17" y="6"/>
                      <a:pt x="18" y="4"/>
                    </a:cubicBezTo>
                    <a:cubicBezTo>
                      <a:pt x="18" y="4"/>
                      <a:pt x="18" y="3"/>
                      <a:pt x="16" y="2"/>
                    </a:cubicBezTo>
                    <a:cubicBezTo>
                      <a:pt x="15" y="0"/>
                      <a:pt x="12" y="0"/>
                      <a:pt x="9" y="0"/>
                    </a:cubicBezTo>
                    <a:cubicBezTo>
                      <a:pt x="6" y="0"/>
                      <a:pt x="3" y="1"/>
                      <a:pt x="2" y="2"/>
                    </a:cubicBezTo>
                    <a:cubicBezTo>
                      <a:pt x="0" y="3"/>
                      <a:pt x="0" y="4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1" name="任意多边形: 形状 1370">
                <a:extLst>
                  <a:ext uri="{FF2B5EF4-FFF2-40B4-BE49-F238E27FC236}">
                    <a16:creationId xmlns:a16="http://schemas.microsoft.com/office/drawing/2014/main" id="{67EC29F9-592C-494C-927A-83BFF51E92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2838" y="1736726"/>
                <a:ext cx="301625" cy="415925"/>
              </a:xfrm>
              <a:custGeom>
                <a:avLst/>
                <a:gdLst>
                  <a:gd name="T0" fmla="*/ 63 w 132"/>
                  <a:gd name="T1" fmla="*/ 0 h 182"/>
                  <a:gd name="T2" fmla="*/ 27 w 132"/>
                  <a:gd name="T3" fmla="*/ 11 h 182"/>
                  <a:gd name="T4" fmla="*/ 1 w 132"/>
                  <a:gd name="T5" fmla="*/ 42 h 182"/>
                  <a:gd name="T6" fmla="*/ 2 w 132"/>
                  <a:gd name="T7" fmla="*/ 50 h 182"/>
                  <a:gd name="T8" fmla="*/ 12 w 132"/>
                  <a:gd name="T9" fmla="*/ 52 h 182"/>
                  <a:gd name="T10" fmla="*/ 20 w 132"/>
                  <a:gd name="T11" fmla="*/ 45 h 182"/>
                  <a:gd name="T12" fmla="*/ 36 w 132"/>
                  <a:gd name="T13" fmla="*/ 57 h 182"/>
                  <a:gd name="T14" fmla="*/ 52 w 132"/>
                  <a:gd name="T15" fmla="*/ 44 h 182"/>
                  <a:gd name="T16" fmla="*/ 66 w 132"/>
                  <a:gd name="T17" fmla="*/ 57 h 182"/>
                  <a:gd name="T18" fmla="*/ 82 w 132"/>
                  <a:gd name="T19" fmla="*/ 44 h 182"/>
                  <a:gd name="T20" fmla="*/ 89 w 132"/>
                  <a:gd name="T21" fmla="*/ 63 h 182"/>
                  <a:gd name="T22" fmla="*/ 106 w 132"/>
                  <a:gd name="T23" fmla="*/ 70 h 182"/>
                  <a:gd name="T24" fmla="*/ 106 w 132"/>
                  <a:gd name="T25" fmla="*/ 87 h 182"/>
                  <a:gd name="T26" fmla="*/ 121 w 132"/>
                  <a:gd name="T27" fmla="*/ 180 h 182"/>
                  <a:gd name="T28" fmla="*/ 128 w 132"/>
                  <a:gd name="T29" fmla="*/ 81 h 182"/>
                  <a:gd name="T30" fmla="*/ 132 w 132"/>
                  <a:gd name="T31" fmla="*/ 50 h 182"/>
                  <a:gd name="T32" fmla="*/ 122 w 132"/>
                  <a:gd name="T33" fmla="*/ 20 h 182"/>
                  <a:gd name="T34" fmla="*/ 94 w 132"/>
                  <a:gd name="T35" fmla="*/ 3 h 182"/>
                  <a:gd name="T36" fmla="*/ 62 w 132"/>
                  <a:gd name="T37" fmla="*/ 0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2" h="182">
                    <a:moveTo>
                      <a:pt x="63" y="0"/>
                    </a:moveTo>
                    <a:cubicBezTo>
                      <a:pt x="50" y="0"/>
                      <a:pt x="39" y="4"/>
                      <a:pt x="27" y="11"/>
                    </a:cubicBezTo>
                    <a:cubicBezTo>
                      <a:pt x="15" y="18"/>
                      <a:pt x="5" y="28"/>
                      <a:pt x="1" y="42"/>
                    </a:cubicBezTo>
                    <a:cubicBezTo>
                      <a:pt x="1" y="44"/>
                      <a:pt x="0" y="48"/>
                      <a:pt x="2" y="50"/>
                    </a:cubicBezTo>
                    <a:cubicBezTo>
                      <a:pt x="4" y="53"/>
                      <a:pt x="9" y="54"/>
                      <a:pt x="12" y="52"/>
                    </a:cubicBezTo>
                    <a:cubicBezTo>
                      <a:pt x="16" y="51"/>
                      <a:pt x="18" y="48"/>
                      <a:pt x="20" y="45"/>
                    </a:cubicBezTo>
                    <a:cubicBezTo>
                      <a:pt x="22" y="51"/>
                      <a:pt x="29" y="57"/>
                      <a:pt x="36" y="57"/>
                    </a:cubicBezTo>
                    <a:cubicBezTo>
                      <a:pt x="43" y="57"/>
                      <a:pt x="50" y="51"/>
                      <a:pt x="52" y="44"/>
                    </a:cubicBezTo>
                    <a:cubicBezTo>
                      <a:pt x="52" y="51"/>
                      <a:pt x="59" y="57"/>
                      <a:pt x="66" y="57"/>
                    </a:cubicBezTo>
                    <a:cubicBezTo>
                      <a:pt x="73" y="57"/>
                      <a:pt x="80" y="51"/>
                      <a:pt x="82" y="44"/>
                    </a:cubicBezTo>
                    <a:cubicBezTo>
                      <a:pt x="83" y="51"/>
                      <a:pt x="85" y="58"/>
                      <a:pt x="89" y="63"/>
                    </a:cubicBezTo>
                    <a:cubicBezTo>
                      <a:pt x="93" y="68"/>
                      <a:pt x="99" y="72"/>
                      <a:pt x="106" y="70"/>
                    </a:cubicBezTo>
                    <a:cubicBezTo>
                      <a:pt x="105" y="75"/>
                      <a:pt x="104" y="81"/>
                      <a:pt x="106" y="87"/>
                    </a:cubicBezTo>
                    <a:cubicBezTo>
                      <a:pt x="108" y="92"/>
                      <a:pt x="116" y="182"/>
                      <a:pt x="121" y="180"/>
                    </a:cubicBezTo>
                    <a:cubicBezTo>
                      <a:pt x="126" y="179"/>
                      <a:pt x="126" y="86"/>
                      <a:pt x="128" y="81"/>
                    </a:cubicBezTo>
                    <a:cubicBezTo>
                      <a:pt x="130" y="71"/>
                      <a:pt x="132" y="60"/>
                      <a:pt x="132" y="50"/>
                    </a:cubicBezTo>
                    <a:cubicBezTo>
                      <a:pt x="131" y="39"/>
                      <a:pt x="128" y="28"/>
                      <a:pt x="122" y="20"/>
                    </a:cubicBezTo>
                    <a:cubicBezTo>
                      <a:pt x="115" y="11"/>
                      <a:pt x="105" y="6"/>
                      <a:pt x="94" y="3"/>
                    </a:cubicBezTo>
                    <a:cubicBezTo>
                      <a:pt x="84" y="0"/>
                      <a:pt x="73" y="0"/>
                      <a:pt x="62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2" name="任意多边形: 形状 1371">
                <a:extLst>
                  <a:ext uri="{FF2B5EF4-FFF2-40B4-BE49-F238E27FC236}">
                    <a16:creationId xmlns:a16="http://schemas.microsoft.com/office/drawing/2014/main" id="{C64D8745-31F9-4C25-B38C-9FBF991090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1438" y="1892301"/>
                <a:ext cx="88900" cy="223838"/>
              </a:xfrm>
              <a:custGeom>
                <a:avLst/>
                <a:gdLst>
                  <a:gd name="T0" fmla="*/ 39 w 39"/>
                  <a:gd name="T1" fmla="*/ 96 h 98"/>
                  <a:gd name="T2" fmla="*/ 37 w 39"/>
                  <a:gd name="T3" fmla="*/ 97 h 98"/>
                  <a:gd name="T4" fmla="*/ 34 w 39"/>
                  <a:gd name="T5" fmla="*/ 98 h 98"/>
                  <a:gd name="T6" fmla="*/ 21 w 39"/>
                  <a:gd name="T7" fmla="*/ 96 h 98"/>
                  <a:gd name="T8" fmla="*/ 5 w 39"/>
                  <a:gd name="T9" fmla="*/ 84 h 98"/>
                  <a:gd name="T10" fmla="*/ 0 w 39"/>
                  <a:gd name="T11" fmla="*/ 61 h 98"/>
                  <a:gd name="T12" fmla="*/ 4 w 39"/>
                  <a:gd name="T13" fmla="*/ 37 h 98"/>
                  <a:gd name="T14" fmla="*/ 6 w 39"/>
                  <a:gd name="T15" fmla="*/ 18 h 98"/>
                  <a:gd name="T16" fmla="*/ 6 w 39"/>
                  <a:gd name="T17" fmla="*/ 5 h 98"/>
                  <a:gd name="T18" fmla="*/ 6 w 39"/>
                  <a:gd name="T19" fmla="*/ 0 h 98"/>
                  <a:gd name="T20" fmla="*/ 6 w 39"/>
                  <a:gd name="T21" fmla="*/ 5 h 98"/>
                  <a:gd name="T22" fmla="*/ 7 w 39"/>
                  <a:gd name="T23" fmla="*/ 18 h 98"/>
                  <a:gd name="T24" fmla="*/ 6 w 39"/>
                  <a:gd name="T25" fmla="*/ 37 h 98"/>
                  <a:gd name="T26" fmla="*/ 2 w 39"/>
                  <a:gd name="T27" fmla="*/ 61 h 98"/>
                  <a:gd name="T28" fmla="*/ 7 w 39"/>
                  <a:gd name="T29" fmla="*/ 83 h 98"/>
                  <a:gd name="T30" fmla="*/ 21 w 39"/>
                  <a:gd name="T31" fmla="*/ 95 h 98"/>
                  <a:gd name="T32" fmla="*/ 34 w 39"/>
                  <a:gd name="T33" fmla="*/ 97 h 98"/>
                  <a:gd name="T34" fmla="*/ 39 w 39"/>
                  <a:gd name="T35" fmla="*/ 9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98">
                    <a:moveTo>
                      <a:pt x="39" y="96"/>
                    </a:moveTo>
                    <a:cubicBezTo>
                      <a:pt x="39" y="96"/>
                      <a:pt x="38" y="97"/>
                      <a:pt x="37" y="97"/>
                    </a:cubicBezTo>
                    <a:cubicBezTo>
                      <a:pt x="37" y="97"/>
                      <a:pt x="35" y="97"/>
                      <a:pt x="34" y="98"/>
                    </a:cubicBezTo>
                    <a:cubicBezTo>
                      <a:pt x="31" y="98"/>
                      <a:pt x="26" y="98"/>
                      <a:pt x="21" y="96"/>
                    </a:cubicBezTo>
                    <a:cubicBezTo>
                      <a:pt x="15" y="95"/>
                      <a:pt x="9" y="91"/>
                      <a:pt x="5" y="84"/>
                    </a:cubicBezTo>
                    <a:cubicBezTo>
                      <a:pt x="1" y="78"/>
                      <a:pt x="0" y="69"/>
                      <a:pt x="0" y="61"/>
                    </a:cubicBezTo>
                    <a:cubicBezTo>
                      <a:pt x="1" y="52"/>
                      <a:pt x="3" y="44"/>
                      <a:pt x="4" y="37"/>
                    </a:cubicBezTo>
                    <a:cubicBezTo>
                      <a:pt x="5" y="30"/>
                      <a:pt x="5" y="23"/>
                      <a:pt x="6" y="18"/>
                    </a:cubicBezTo>
                    <a:cubicBezTo>
                      <a:pt x="6" y="12"/>
                      <a:pt x="6" y="8"/>
                      <a:pt x="6" y="5"/>
                    </a:cubicBezTo>
                    <a:cubicBezTo>
                      <a:pt x="5" y="2"/>
                      <a:pt x="5" y="0"/>
                      <a:pt x="6" y="0"/>
                    </a:cubicBezTo>
                    <a:cubicBezTo>
                      <a:pt x="6" y="0"/>
                      <a:pt x="6" y="2"/>
                      <a:pt x="6" y="5"/>
                    </a:cubicBezTo>
                    <a:cubicBezTo>
                      <a:pt x="7" y="8"/>
                      <a:pt x="7" y="12"/>
                      <a:pt x="7" y="18"/>
                    </a:cubicBezTo>
                    <a:cubicBezTo>
                      <a:pt x="7" y="23"/>
                      <a:pt x="7" y="30"/>
                      <a:pt x="6" y="37"/>
                    </a:cubicBezTo>
                    <a:cubicBezTo>
                      <a:pt x="5" y="45"/>
                      <a:pt x="3" y="53"/>
                      <a:pt x="2" y="61"/>
                    </a:cubicBezTo>
                    <a:cubicBezTo>
                      <a:pt x="2" y="69"/>
                      <a:pt x="3" y="77"/>
                      <a:pt x="7" y="83"/>
                    </a:cubicBezTo>
                    <a:cubicBezTo>
                      <a:pt x="11" y="89"/>
                      <a:pt x="16" y="93"/>
                      <a:pt x="21" y="95"/>
                    </a:cubicBezTo>
                    <a:cubicBezTo>
                      <a:pt x="26" y="97"/>
                      <a:pt x="31" y="97"/>
                      <a:pt x="34" y="97"/>
                    </a:cubicBezTo>
                    <a:cubicBezTo>
                      <a:pt x="37" y="97"/>
                      <a:pt x="39" y="96"/>
                      <a:pt x="39" y="9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3" name="任意多边形: 形状 1372">
                <a:extLst>
                  <a:ext uri="{FF2B5EF4-FFF2-40B4-BE49-F238E27FC236}">
                    <a16:creationId xmlns:a16="http://schemas.microsoft.com/office/drawing/2014/main" id="{5F43FD0D-9BE7-44AB-8D0E-3569FB1C70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7763" y="1725613"/>
                <a:ext cx="84138" cy="85725"/>
              </a:xfrm>
              <a:custGeom>
                <a:avLst/>
                <a:gdLst>
                  <a:gd name="T0" fmla="*/ 35 w 37"/>
                  <a:gd name="T1" fmla="*/ 0 h 38"/>
                  <a:gd name="T2" fmla="*/ 37 w 37"/>
                  <a:gd name="T3" fmla="*/ 9 h 38"/>
                  <a:gd name="T4" fmla="*/ 29 w 37"/>
                  <a:gd name="T5" fmla="*/ 29 h 38"/>
                  <a:gd name="T6" fmla="*/ 9 w 37"/>
                  <a:gd name="T7" fmla="*/ 38 h 38"/>
                  <a:gd name="T8" fmla="*/ 0 w 37"/>
                  <a:gd name="T9" fmla="*/ 36 h 38"/>
                  <a:gd name="T10" fmla="*/ 9 w 37"/>
                  <a:gd name="T11" fmla="*/ 37 h 38"/>
                  <a:gd name="T12" fmla="*/ 27 w 37"/>
                  <a:gd name="T13" fmla="*/ 28 h 38"/>
                  <a:gd name="T14" fmla="*/ 36 w 37"/>
                  <a:gd name="T15" fmla="*/ 9 h 38"/>
                  <a:gd name="T16" fmla="*/ 35 w 37"/>
                  <a:gd name="T1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8">
                    <a:moveTo>
                      <a:pt x="35" y="0"/>
                    </a:moveTo>
                    <a:cubicBezTo>
                      <a:pt x="35" y="0"/>
                      <a:pt x="37" y="3"/>
                      <a:pt x="37" y="9"/>
                    </a:cubicBezTo>
                    <a:cubicBezTo>
                      <a:pt x="37" y="14"/>
                      <a:pt x="35" y="23"/>
                      <a:pt x="29" y="29"/>
                    </a:cubicBezTo>
                    <a:cubicBezTo>
                      <a:pt x="23" y="36"/>
                      <a:pt x="14" y="38"/>
                      <a:pt x="9" y="38"/>
                    </a:cubicBezTo>
                    <a:cubicBezTo>
                      <a:pt x="3" y="38"/>
                      <a:pt x="0" y="37"/>
                      <a:pt x="0" y="36"/>
                    </a:cubicBezTo>
                    <a:cubicBezTo>
                      <a:pt x="0" y="36"/>
                      <a:pt x="3" y="37"/>
                      <a:pt x="9" y="37"/>
                    </a:cubicBezTo>
                    <a:cubicBezTo>
                      <a:pt x="14" y="36"/>
                      <a:pt x="22" y="34"/>
                      <a:pt x="27" y="28"/>
                    </a:cubicBezTo>
                    <a:cubicBezTo>
                      <a:pt x="33" y="22"/>
                      <a:pt x="35" y="14"/>
                      <a:pt x="36" y="9"/>
                    </a:cubicBezTo>
                    <a:cubicBezTo>
                      <a:pt x="36" y="3"/>
                      <a:pt x="35" y="0"/>
                      <a:pt x="35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4" name="任意多边形: 形状 1373">
                <a:extLst>
                  <a:ext uri="{FF2B5EF4-FFF2-40B4-BE49-F238E27FC236}">
                    <a16:creationId xmlns:a16="http://schemas.microsoft.com/office/drawing/2014/main" id="{7260D59D-BE22-4DE2-89D2-5C4CDEF828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7288" y="1825626"/>
                <a:ext cx="84138" cy="25400"/>
              </a:xfrm>
              <a:custGeom>
                <a:avLst/>
                <a:gdLst>
                  <a:gd name="T0" fmla="*/ 37 w 37"/>
                  <a:gd name="T1" fmla="*/ 0 h 11"/>
                  <a:gd name="T2" fmla="*/ 33 w 37"/>
                  <a:gd name="T3" fmla="*/ 6 h 11"/>
                  <a:gd name="T4" fmla="*/ 19 w 37"/>
                  <a:gd name="T5" fmla="*/ 10 h 11"/>
                  <a:gd name="T6" fmla="*/ 5 w 37"/>
                  <a:gd name="T7" fmla="*/ 6 h 11"/>
                  <a:gd name="T8" fmla="*/ 0 w 37"/>
                  <a:gd name="T9" fmla="*/ 2 h 11"/>
                  <a:gd name="T10" fmla="*/ 6 w 37"/>
                  <a:gd name="T11" fmla="*/ 4 h 11"/>
                  <a:gd name="T12" fmla="*/ 19 w 37"/>
                  <a:gd name="T13" fmla="*/ 8 h 11"/>
                  <a:gd name="T14" fmla="*/ 33 w 37"/>
                  <a:gd name="T15" fmla="*/ 4 h 11"/>
                  <a:gd name="T16" fmla="*/ 37 w 37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11">
                    <a:moveTo>
                      <a:pt x="37" y="0"/>
                    </a:moveTo>
                    <a:cubicBezTo>
                      <a:pt x="37" y="0"/>
                      <a:pt x="36" y="3"/>
                      <a:pt x="33" y="6"/>
                    </a:cubicBezTo>
                    <a:cubicBezTo>
                      <a:pt x="31" y="8"/>
                      <a:pt x="25" y="11"/>
                      <a:pt x="19" y="10"/>
                    </a:cubicBezTo>
                    <a:cubicBezTo>
                      <a:pt x="13" y="10"/>
                      <a:pt x="8" y="7"/>
                      <a:pt x="5" y="6"/>
                    </a:cubicBezTo>
                    <a:cubicBezTo>
                      <a:pt x="2" y="4"/>
                      <a:pt x="0" y="2"/>
                      <a:pt x="0" y="2"/>
                    </a:cubicBezTo>
                    <a:cubicBezTo>
                      <a:pt x="1" y="1"/>
                      <a:pt x="3" y="3"/>
                      <a:pt x="6" y="4"/>
                    </a:cubicBezTo>
                    <a:cubicBezTo>
                      <a:pt x="9" y="6"/>
                      <a:pt x="14" y="8"/>
                      <a:pt x="19" y="8"/>
                    </a:cubicBezTo>
                    <a:cubicBezTo>
                      <a:pt x="25" y="9"/>
                      <a:pt x="30" y="7"/>
                      <a:pt x="33" y="4"/>
                    </a:cubicBezTo>
                    <a:cubicBezTo>
                      <a:pt x="35" y="2"/>
                      <a:pt x="36" y="0"/>
                      <a:pt x="37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5" name="任意多边形: 形状 1374">
                <a:extLst>
                  <a:ext uri="{FF2B5EF4-FFF2-40B4-BE49-F238E27FC236}">
                    <a16:creationId xmlns:a16="http://schemas.microsoft.com/office/drawing/2014/main" id="{EB1D25C8-F34D-4FE8-B10E-868404C80B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2551" y="1800226"/>
                <a:ext cx="95250" cy="104775"/>
              </a:xfrm>
              <a:custGeom>
                <a:avLst/>
                <a:gdLst>
                  <a:gd name="T0" fmla="*/ 41 w 41"/>
                  <a:gd name="T1" fmla="*/ 0 h 46"/>
                  <a:gd name="T2" fmla="*/ 40 w 41"/>
                  <a:gd name="T3" fmla="*/ 10 h 46"/>
                  <a:gd name="T4" fmla="*/ 31 w 41"/>
                  <a:gd name="T5" fmla="*/ 33 h 46"/>
                  <a:gd name="T6" fmla="*/ 10 w 41"/>
                  <a:gd name="T7" fmla="*/ 45 h 46"/>
                  <a:gd name="T8" fmla="*/ 2 w 41"/>
                  <a:gd name="T9" fmla="*/ 45 h 46"/>
                  <a:gd name="T10" fmla="*/ 0 w 41"/>
                  <a:gd name="T11" fmla="*/ 43 h 46"/>
                  <a:gd name="T12" fmla="*/ 10 w 41"/>
                  <a:gd name="T13" fmla="*/ 44 h 46"/>
                  <a:gd name="T14" fmla="*/ 30 w 41"/>
                  <a:gd name="T15" fmla="*/ 32 h 46"/>
                  <a:gd name="T16" fmla="*/ 39 w 41"/>
                  <a:gd name="T17" fmla="*/ 10 h 46"/>
                  <a:gd name="T18" fmla="*/ 41 w 41"/>
                  <a:gd name="T1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46">
                    <a:moveTo>
                      <a:pt x="41" y="0"/>
                    </a:moveTo>
                    <a:cubicBezTo>
                      <a:pt x="41" y="0"/>
                      <a:pt x="41" y="4"/>
                      <a:pt x="40" y="10"/>
                    </a:cubicBezTo>
                    <a:cubicBezTo>
                      <a:pt x="39" y="16"/>
                      <a:pt x="37" y="25"/>
                      <a:pt x="31" y="33"/>
                    </a:cubicBezTo>
                    <a:cubicBezTo>
                      <a:pt x="25" y="41"/>
                      <a:pt x="16" y="45"/>
                      <a:pt x="10" y="45"/>
                    </a:cubicBezTo>
                    <a:cubicBezTo>
                      <a:pt x="6" y="46"/>
                      <a:pt x="4" y="45"/>
                      <a:pt x="2" y="45"/>
                    </a:cubicBezTo>
                    <a:cubicBezTo>
                      <a:pt x="0" y="44"/>
                      <a:pt x="0" y="44"/>
                      <a:pt x="0" y="43"/>
                    </a:cubicBezTo>
                    <a:cubicBezTo>
                      <a:pt x="0" y="43"/>
                      <a:pt x="3" y="45"/>
                      <a:pt x="10" y="44"/>
                    </a:cubicBezTo>
                    <a:cubicBezTo>
                      <a:pt x="16" y="43"/>
                      <a:pt x="24" y="39"/>
                      <a:pt x="30" y="32"/>
                    </a:cubicBezTo>
                    <a:cubicBezTo>
                      <a:pt x="35" y="24"/>
                      <a:pt x="38" y="16"/>
                      <a:pt x="39" y="10"/>
                    </a:cubicBezTo>
                    <a:cubicBezTo>
                      <a:pt x="40" y="4"/>
                      <a:pt x="41" y="0"/>
                      <a:pt x="41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6" name="任意多边形: 形状 1375">
                <a:extLst>
                  <a:ext uri="{FF2B5EF4-FFF2-40B4-BE49-F238E27FC236}">
                    <a16:creationId xmlns:a16="http://schemas.microsoft.com/office/drawing/2014/main" id="{A972C1D7-3BDC-469F-AA27-C6CF2B8BD0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7313" y="1841501"/>
                <a:ext cx="107950" cy="112713"/>
              </a:xfrm>
              <a:custGeom>
                <a:avLst/>
                <a:gdLst>
                  <a:gd name="T0" fmla="*/ 46 w 47"/>
                  <a:gd name="T1" fmla="*/ 0 h 49"/>
                  <a:gd name="T2" fmla="*/ 47 w 47"/>
                  <a:gd name="T3" fmla="*/ 3 h 49"/>
                  <a:gd name="T4" fmla="*/ 47 w 47"/>
                  <a:gd name="T5" fmla="*/ 12 h 49"/>
                  <a:gd name="T6" fmla="*/ 37 w 47"/>
                  <a:gd name="T7" fmla="*/ 39 h 49"/>
                  <a:gd name="T8" fmla="*/ 24 w 47"/>
                  <a:gd name="T9" fmla="*/ 48 h 49"/>
                  <a:gd name="T10" fmla="*/ 10 w 47"/>
                  <a:gd name="T11" fmla="*/ 49 h 49"/>
                  <a:gd name="T12" fmla="*/ 2 w 47"/>
                  <a:gd name="T13" fmla="*/ 45 h 49"/>
                  <a:gd name="T14" fmla="*/ 0 w 47"/>
                  <a:gd name="T15" fmla="*/ 43 h 49"/>
                  <a:gd name="T16" fmla="*/ 11 w 47"/>
                  <a:gd name="T17" fmla="*/ 47 h 49"/>
                  <a:gd name="T18" fmla="*/ 23 w 47"/>
                  <a:gd name="T19" fmla="*/ 46 h 49"/>
                  <a:gd name="T20" fmla="*/ 35 w 47"/>
                  <a:gd name="T21" fmla="*/ 37 h 49"/>
                  <a:gd name="T22" fmla="*/ 45 w 47"/>
                  <a:gd name="T23" fmla="*/ 12 h 49"/>
                  <a:gd name="T24" fmla="*/ 46 w 47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7" h="49">
                    <a:moveTo>
                      <a:pt x="46" y="0"/>
                    </a:moveTo>
                    <a:cubicBezTo>
                      <a:pt x="46" y="0"/>
                      <a:pt x="46" y="1"/>
                      <a:pt x="47" y="3"/>
                    </a:cubicBezTo>
                    <a:cubicBezTo>
                      <a:pt x="47" y="5"/>
                      <a:pt x="47" y="8"/>
                      <a:pt x="47" y="12"/>
                    </a:cubicBezTo>
                    <a:cubicBezTo>
                      <a:pt x="47" y="19"/>
                      <a:pt x="45" y="30"/>
                      <a:pt x="37" y="39"/>
                    </a:cubicBezTo>
                    <a:cubicBezTo>
                      <a:pt x="33" y="43"/>
                      <a:pt x="28" y="46"/>
                      <a:pt x="24" y="48"/>
                    </a:cubicBezTo>
                    <a:cubicBezTo>
                      <a:pt x="19" y="49"/>
                      <a:pt x="14" y="49"/>
                      <a:pt x="10" y="49"/>
                    </a:cubicBezTo>
                    <a:cubicBezTo>
                      <a:pt x="7" y="48"/>
                      <a:pt x="4" y="46"/>
                      <a:pt x="2" y="45"/>
                    </a:cubicBezTo>
                    <a:cubicBezTo>
                      <a:pt x="0" y="44"/>
                      <a:pt x="0" y="43"/>
                      <a:pt x="0" y="43"/>
                    </a:cubicBezTo>
                    <a:cubicBezTo>
                      <a:pt x="0" y="43"/>
                      <a:pt x="3" y="46"/>
                      <a:pt x="11" y="47"/>
                    </a:cubicBezTo>
                    <a:cubicBezTo>
                      <a:pt x="14" y="48"/>
                      <a:pt x="18" y="48"/>
                      <a:pt x="23" y="46"/>
                    </a:cubicBezTo>
                    <a:cubicBezTo>
                      <a:pt x="27" y="45"/>
                      <a:pt x="32" y="42"/>
                      <a:pt x="35" y="37"/>
                    </a:cubicBezTo>
                    <a:cubicBezTo>
                      <a:pt x="43" y="29"/>
                      <a:pt x="45" y="19"/>
                      <a:pt x="45" y="12"/>
                    </a:cubicBezTo>
                    <a:cubicBezTo>
                      <a:pt x="46" y="4"/>
                      <a:pt x="46" y="0"/>
                      <a:pt x="46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7" name="任意多边形: 形状 1376">
                <a:extLst>
                  <a:ext uri="{FF2B5EF4-FFF2-40B4-BE49-F238E27FC236}">
                    <a16:creationId xmlns:a16="http://schemas.microsoft.com/office/drawing/2014/main" id="{2795ED2F-019E-4964-84A5-9D1DACBD5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0488" y="2943226"/>
                <a:ext cx="392113" cy="381000"/>
              </a:xfrm>
              <a:custGeom>
                <a:avLst/>
                <a:gdLst>
                  <a:gd name="T0" fmla="*/ 105 w 247"/>
                  <a:gd name="T1" fmla="*/ 1 h 240"/>
                  <a:gd name="T2" fmla="*/ 0 w 247"/>
                  <a:gd name="T3" fmla="*/ 240 h 240"/>
                  <a:gd name="T4" fmla="*/ 144 w 247"/>
                  <a:gd name="T5" fmla="*/ 240 h 240"/>
                  <a:gd name="T6" fmla="*/ 247 w 247"/>
                  <a:gd name="T7" fmla="*/ 0 h 240"/>
                  <a:gd name="T8" fmla="*/ 105 w 247"/>
                  <a:gd name="T9" fmla="*/ 1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0">
                    <a:moveTo>
                      <a:pt x="105" y="1"/>
                    </a:moveTo>
                    <a:lnTo>
                      <a:pt x="0" y="240"/>
                    </a:lnTo>
                    <a:lnTo>
                      <a:pt x="144" y="240"/>
                    </a:lnTo>
                    <a:lnTo>
                      <a:pt x="247" y="0"/>
                    </a:lnTo>
                    <a:lnTo>
                      <a:pt x="105" y="1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8" name="任意多边形: 形状 1377">
                <a:extLst>
                  <a:ext uri="{FF2B5EF4-FFF2-40B4-BE49-F238E27FC236}">
                    <a16:creationId xmlns:a16="http://schemas.microsoft.com/office/drawing/2014/main" id="{6186F28F-E63A-4425-BDD2-F74AD1285E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176" y="2516188"/>
                <a:ext cx="784225" cy="395288"/>
              </a:xfrm>
              <a:custGeom>
                <a:avLst/>
                <a:gdLst>
                  <a:gd name="T0" fmla="*/ 3 w 343"/>
                  <a:gd name="T1" fmla="*/ 12 h 173"/>
                  <a:gd name="T2" fmla="*/ 85 w 343"/>
                  <a:gd name="T3" fmla="*/ 173 h 173"/>
                  <a:gd name="T4" fmla="*/ 343 w 343"/>
                  <a:gd name="T5" fmla="*/ 173 h 173"/>
                  <a:gd name="T6" fmla="*/ 333 w 343"/>
                  <a:gd name="T7" fmla="*/ 152 h 173"/>
                  <a:gd name="T8" fmla="*/ 258 w 343"/>
                  <a:gd name="T9" fmla="*/ 150 h 173"/>
                  <a:gd name="T10" fmla="*/ 197 w 343"/>
                  <a:gd name="T11" fmla="*/ 14 h 173"/>
                  <a:gd name="T12" fmla="*/ 175 w 343"/>
                  <a:gd name="T13" fmla="*/ 0 h 173"/>
                  <a:gd name="T14" fmla="*/ 10 w 343"/>
                  <a:gd name="T15" fmla="*/ 0 h 173"/>
                  <a:gd name="T16" fmla="*/ 3 w 343"/>
                  <a:gd name="T17" fmla="*/ 1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3" h="173">
                    <a:moveTo>
                      <a:pt x="3" y="12"/>
                    </a:moveTo>
                    <a:cubicBezTo>
                      <a:pt x="85" y="173"/>
                      <a:pt x="85" y="173"/>
                      <a:pt x="85" y="173"/>
                    </a:cubicBezTo>
                    <a:cubicBezTo>
                      <a:pt x="343" y="173"/>
                      <a:pt x="343" y="173"/>
                      <a:pt x="343" y="173"/>
                    </a:cubicBezTo>
                    <a:cubicBezTo>
                      <a:pt x="333" y="152"/>
                      <a:pt x="333" y="152"/>
                      <a:pt x="333" y="152"/>
                    </a:cubicBezTo>
                    <a:cubicBezTo>
                      <a:pt x="258" y="150"/>
                      <a:pt x="258" y="150"/>
                      <a:pt x="258" y="150"/>
                    </a:cubicBezTo>
                    <a:cubicBezTo>
                      <a:pt x="197" y="14"/>
                      <a:pt x="197" y="14"/>
                      <a:pt x="197" y="14"/>
                    </a:cubicBezTo>
                    <a:cubicBezTo>
                      <a:pt x="193" y="5"/>
                      <a:pt x="185" y="0"/>
                      <a:pt x="175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6"/>
                      <a:pt x="3" y="1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9" name="椭圆 1378">
                <a:extLst>
                  <a:ext uri="{FF2B5EF4-FFF2-40B4-BE49-F238E27FC236}">
                    <a16:creationId xmlns:a16="http://schemas.microsoft.com/office/drawing/2014/main" id="{A557627A-0757-485C-A8F0-04C66F9F8C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8938" y="2684463"/>
                <a:ext cx="42863" cy="46038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0" name="矩形 1379">
                <a:extLst>
                  <a:ext uri="{FF2B5EF4-FFF2-40B4-BE49-F238E27FC236}">
                    <a16:creationId xmlns:a16="http://schemas.microsoft.com/office/drawing/2014/main" id="{E69D361A-7ABB-43FF-9E7C-2C8D91055F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35588" y="2911476"/>
                <a:ext cx="722313" cy="36513"/>
              </a:xfrm>
              <a:prstGeom prst="rect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1" name="任意多边形: 形状 1380">
                <a:extLst>
                  <a:ext uri="{FF2B5EF4-FFF2-40B4-BE49-F238E27FC236}">
                    <a16:creationId xmlns:a16="http://schemas.microsoft.com/office/drawing/2014/main" id="{B1FF0F12-E39D-49FA-82D1-9C1B9514EA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34063" y="2928938"/>
                <a:ext cx="369888" cy="398463"/>
              </a:xfrm>
              <a:custGeom>
                <a:avLst/>
                <a:gdLst>
                  <a:gd name="T0" fmla="*/ 0 w 233"/>
                  <a:gd name="T1" fmla="*/ 0 h 251"/>
                  <a:gd name="T2" fmla="*/ 138 w 233"/>
                  <a:gd name="T3" fmla="*/ 251 h 251"/>
                  <a:gd name="T4" fmla="*/ 205 w 233"/>
                  <a:gd name="T5" fmla="*/ 251 h 251"/>
                  <a:gd name="T6" fmla="*/ 219 w 233"/>
                  <a:gd name="T7" fmla="*/ 222 h 251"/>
                  <a:gd name="T8" fmla="*/ 233 w 233"/>
                  <a:gd name="T9" fmla="*/ 192 h 251"/>
                  <a:gd name="T10" fmla="*/ 141 w 233"/>
                  <a:gd name="T11" fmla="*/ 12 h 251"/>
                  <a:gd name="T12" fmla="*/ 0 w 233"/>
                  <a:gd name="T1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3" h="251">
                    <a:moveTo>
                      <a:pt x="0" y="0"/>
                    </a:moveTo>
                    <a:lnTo>
                      <a:pt x="138" y="251"/>
                    </a:lnTo>
                    <a:lnTo>
                      <a:pt x="205" y="251"/>
                    </a:lnTo>
                    <a:lnTo>
                      <a:pt x="219" y="222"/>
                    </a:lnTo>
                    <a:lnTo>
                      <a:pt x="233" y="192"/>
                    </a:lnTo>
                    <a:lnTo>
                      <a:pt x="141" y="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2" name="任意多边形: 形状 1381">
                <a:extLst>
                  <a:ext uri="{FF2B5EF4-FFF2-40B4-BE49-F238E27FC236}">
                    <a16:creationId xmlns:a16="http://schemas.microsoft.com/office/drawing/2014/main" id="{FDE799D2-D9AD-4A15-B464-EE464ED596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2663" y="2247901"/>
                <a:ext cx="153988" cy="254000"/>
              </a:xfrm>
              <a:custGeom>
                <a:avLst/>
                <a:gdLst>
                  <a:gd name="T0" fmla="*/ 67 w 67"/>
                  <a:gd name="T1" fmla="*/ 0 h 111"/>
                  <a:gd name="T2" fmla="*/ 0 w 67"/>
                  <a:gd name="T3" fmla="*/ 82 h 111"/>
                  <a:gd name="T4" fmla="*/ 58 w 67"/>
                  <a:gd name="T5" fmla="*/ 111 h 111"/>
                  <a:gd name="T6" fmla="*/ 67 w 67"/>
                  <a:gd name="T7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" h="111">
                    <a:moveTo>
                      <a:pt x="67" y="0"/>
                    </a:moveTo>
                    <a:cubicBezTo>
                      <a:pt x="67" y="0"/>
                      <a:pt x="12" y="20"/>
                      <a:pt x="0" y="82"/>
                    </a:cubicBezTo>
                    <a:cubicBezTo>
                      <a:pt x="58" y="111"/>
                      <a:pt x="58" y="111"/>
                      <a:pt x="58" y="111"/>
                    </a:cubicBez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3" name="任意多边形: 形状 1382">
                <a:extLst>
                  <a:ext uri="{FF2B5EF4-FFF2-40B4-BE49-F238E27FC236}">
                    <a16:creationId xmlns:a16="http://schemas.microsoft.com/office/drawing/2014/main" id="{F72067EB-A967-422B-ACC2-4DC58679C9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6163" y="2220913"/>
                <a:ext cx="485775" cy="720725"/>
              </a:xfrm>
              <a:custGeom>
                <a:avLst/>
                <a:gdLst>
                  <a:gd name="T0" fmla="*/ 39 w 212"/>
                  <a:gd name="T1" fmla="*/ 12 h 315"/>
                  <a:gd name="T2" fmla="*/ 2 w 212"/>
                  <a:gd name="T3" fmla="*/ 147 h 315"/>
                  <a:gd name="T4" fmla="*/ 13 w 212"/>
                  <a:gd name="T5" fmla="*/ 207 h 315"/>
                  <a:gd name="T6" fmla="*/ 33 w 212"/>
                  <a:gd name="T7" fmla="*/ 315 h 315"/>
                  <a:gd name="T8" fmla="*/ 192 w 212"/>
                  <a:gd name="T9" fmla="*/ 294 h 315"/>
                  <a:gd name="T10" fmla="*/ 187 w 212"/>
                  <a:gd name="T11" fmla="*/ 205 h 315"/>
                  <a:gd name="T12" fmla="*/ 212 w 212"/>
                  <a:gd name="T13" fmla="*/ 36 h 315"/>
                  <a:gd name="T14" fmla="*/ 148 w 212"/>
                  <a:gd name="T15" fmla="*/ 5 h 315"/>
                  <a:gd name="T16" fmla="*/ 39 w 212"/>
                  <a:gd name="T17" fmla="*/ 1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2" h="315">
                    <a:moveTo>
                      <a:pt x="39" y="12"/>
                    </a:moveTo>
                    <a:cubicBezTo>
                      <a:pt x="39" y="12"/>
                      <a:pt x="0" y="99"/>
                      <a:pt x="2" y="147"/>
                    </a:cubicBezTo>
                    <a:cubicBezTo>
                      <a:pt x="2" y="164"/>
                      <a:pt x="13" y="207"/>
                      <a:pt x="13" y="207"/>
                    </a:cubicBezTo>
                    <a:cubicBezTo>
                      <a:pt x="33" y="315"/>
                      <a:pt x="33" y="315"/>
                      <a:pt x="33" y="315"/>
                    </a:cubicBezTo>
                    <a:cubicBezTo>
                      <a:pt x="33" y="315"/>
                      <a:pt x="189" y="294"/>
                      <a:pt x="192" y="294"/>
                    </a:cubicBezTo>
                    <a:cubicBezTo>
                      <a:pt x="196" y="294"/>
                      <a:pt x="187" y="205"/>
                      <a:pt x="187" y="205"/>
                    </a:cubicBezTo>
                    <a:cubicBezTo>
                      <a:pt x="212" y="36"/>
                      <a:pt x="212" y="36"/>
                      <a:pt x="212" y="36"/>
                    </a:cubicBezTo>
                    <a:cubicBezTo>
                      <a:pt x="212" y="36"/>
                      <a:pt x="201" y="13"/>
                      <a:pt x="148" y="5"/>
                    </a:cubicBezTo>
                    <a:cubicBezTo>
                      <a:pt x="117" y="0"/>
                      <a:pt x="39" y="12"/>
                      <a:pt x="39" y="12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4" name="任意多边形: 形状 1383">
                <a:extLst>
                  <a:ext uri="{FF2B5EF4-FFF2-40B4-BE49-F238E27FC236}">
                    <a16:creationId xmlns:a16="http://schemas.microsoft.com/office/drawing/2014/main" id="{8CB1955B-D4B5-42ED-B7BF-4078257838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9338" y="2365376"/>
                <a:ext cx="53975" cy="298450"/>
              </a:xfrm>
              <a:custGeom>
                <a:avLst/>
                <a:gdLst>
                  <a:gd name="T0" fmla="*/ 24 w 24"/>
                  <a:gd name="T1" fmla="*/ 0 h 131"/>
                  <a:gd name="T2" fmla="*/ 15 w 24"/>
                  <a:gd name="T3" fmla="*/ 18 h 131"/>
                  <a:gd name="T4" fmla="*/ 8 w 24"/>
                  <a:gd name="T5" fmla="*/ 38 h 131"/>
                  <a:gd name="T6" fmla="*/ 3 w 24"/>
                  <a:gd name="T7" fmla="*/ 64 h 131"/>
                  <a:gd name="T8" fmla="*/ 2 w 24"/>
                  <a:gd name="T9" fmla="*/ 90 h 131"/>
                  <a:gd name="T10" fmla="*/ 4 w 24"/>
                  <a:gd name="T11" fmla="*/ 112 h 131"/>
                  <a:gd name="T12" fmla="*/ 9 w 24"/>
                  <a:gd name="T13" fmla="*/ 131 h 131"/>
                  <a:gd name="T14" fmla="*/ 7 w 24"/>
                  <a:gd name="T15" fmla="*/ 126 h 131"/>
                  <a:gd name="T16" fmla="*/ 5 w 24"/>
                  <a:gd name="T17" fmla="*/ 120 h 131"/>
                  <a:gd name="T18" fmla="*/ 3 w 24"/>
                  <a:gd name="T19" fmla="*/ 112 h 131"/>
                  <a:gd name="T20" fmla="*/ 0 w 24"/>
                  <a:gd name="T21" fmla="*/ 90 h 131"/>
                  <a:gd name="T22" fmla="*/ 1 w 24"/>
                  <a:gd name="T23" fmla="*/ 64 h 131"/>
                  <a:gd name="T24" fmla="*/ 6 w 24"/>
                  <a:gd name="T25" fmla="*/ 38 h 131"/>
                  <a:gd name="T26" fmla="*/ 14 w 24"/>
                  <a:gd name="T27" fmla="*/ 17 h 131"/>
                  <a:gd name="T28" fmla="*/ 18 w 24"/>
                  <a:gd name="T29" fmla="*/ 10 h 131"/>
                  <a:gd name="T30" fmla="*/ 21 w 24"/>
                  <a:gd name="T31" fmla="*/ 4 h 131"/>
                  <a:gd name="T32" fmla="*/ 24 w 24"/>
                  <a:gd name="T33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131">
                    <a:moveTo>
                      <a:pt x="24" y="0"/>
                    </a:moveTo>
                    <a:cubicBezTo>
                      <a:pt x="24" y="0"/>
                      <a:pt x="20" y="6"/>
                      <a:pt x="15" y="18"/>
                    </a:cubicBezTo>
                    <a:cubicBezTo>
                      <a:pt x="13" y="23"/>
                      <a:pt x="10" y="30"/>
                      <a:pt x="8" y="38"/>
                    </a:cubicBezTo>
                    <a:cubicBezTo>
                      <a:pt x="6" y="46"/>
                      <a:pt x="4" y="55"/>
                      <a:pt x="3" y="64"/>
                    </a:cubicBezTo>
                    <a:cubicBezTo>
                      <a:pt x="2" y="73"/>
                      <a:pt x="2" y="82"/>
                      <a:pt x="2" y="90"/>
                    </a:cubicBezTo>
                    <a:cubicBezTo>
                      <a:pt x="2" y="98"/>
                      <a:pt x="3" y="106"/>
                      <a:pt x="4" y="112"/>
                    </a:cubicBezTo>
                    <a:cubicBezTo>
                      <a:pt x="7" y="124"/>
                      <a:pt x="9" y="131"/>
                      <a:pt x="9" y="131"/>
                    </a:cubicBezTo>
                    <a:cubicBezTo>
                      <a:pt x="9" y="131"/>
                      <a:pt x="8" y="129"/>
                      <a:pt x="7" y="126"/>
                    </a:cubicBezTo>
                    <a:cubicBezTo>
                      <a:pt x="6" y="125"/>
                      <a:pt x="6" y="123"/>
                      <a:pt x="5" y="120"/>
                    </a:cubicBezTo>
                    <a:cubicBezTo>
                      <a:pt x="4" y="118"/>
                      <a:pt x="4" y="115"/>
                      <a:pt x="3" y="112"/>
                    </a:cubicBezTo>
                    <a:cubicBezTo>
                      <a:pt x="2" y="106"/>
                      <a:pt x="1" y="99"/>
                      <a:pt x="0" y="90"/>
                    </a:cubicBezTo>
                    <a:cubicBezTo>
                      <a:pt x="0" y="82"/>
                      <a:pt x="0" y="73"/>
                      <a:pt x="1" y="64"/>
                    </a:cubicBezTo>
                    <a:cubicBezTo>
                      <a:pt x="2" y="54"/>
                      <a:pt x="4" y="45"/>
                      <a:pt x="6" y="38"/>
                    </a:cubicBezTo>
                    <a:cubicBezTo>
                      <a:pt x="8" y="30"/>
                      <a:pt x="11" y="23"/>
                      <a:pt x="14" y="17"/>
                    </a:cubicBezTo>
                    <a:cubicBezTo>
                      <a:pt x="15" y="14"/>
                      <a:pt x="16" y="12"/>
                      <a:pt x="18" y="10"/>
                    </a:cubicBezTo>
                    <a:cubicBezTo>
                      <a:pt x="19" y="7"/>
                      <a:pt x="20" y="6"/>
                      <a:pt x="21" y="4"/>
                    </a:cubicBezTo>
                    <a:cubicBezTo>
                      <a:pt x="23" y="1"/>
                      <a:pt x="24" y="0"/>
                      <a:pt x="2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5" name="任意多边形: 形状 1384">
                <a:extLst>
                  <a:ext uri="{FF2B5EF4-FFF2-40B4-BE49-F238E27FC236}">
                    <a16:creationId xmlns:a16="http://schemas.microsoft.com/office/drawing/2014/main" id="{E4678B3D-DFB1-4B70-AFBE-965006FC5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9513" y="2168526"/>
                <a:ext cx="228600" cy="176213"/>
              </a:xfrm>
              <a:custGeom>
                <a:avLst/>
                <a:gdLst>
                  <a:gd name="T0" fmla="*/ 0 w 100"/>
                  <a:gd name="T1" fmla="*/ 34 h 77"/>
                  <a:gd name="T2" fmla="*/ 2 w 100"/>
                  <a:gd name="T3" fmla="*/ 10 h 77"/>
                  <a:gd name="T4" fmla="*/ 12 w 100"/>
                  <a:gd name="T5" fmla="*/ 1 h 77"/>
                  <a:gd name="T6" fmla="*/ 89 w 100"/>
                  <a:gd name="T7" fmla="*/ 0 h 77"/>
                  <a:gd name="T8" fmla="*/ 98 w 100"/>
                  <a:gd name="T9" fmla="*/ 8 h 77"/>
                  <a:gd name="T10" fmla="*/ 100 w 100"/>
                  <a:gd name="T11" fmla="*/ 34 h 77"/>
                  <a:gd name="T12" fmla="*/ 69 w 100"/>
                  <a:gd name="T13" fmla="*/ 65 h 77"/>
                  <a:gd name="T14" fmla="*/ 12 w 100"/>
                  <a:gd name="T15" fmla="*/ 77 h 77"/>
                  <a:gd name="T16" fmla="*/ 0 w 100"/>
                  <a:gd name="T1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" h="77">
                    <a:moveTo>
                      <a:pt x="0" y="34"/>
                    </a:moveTo>
                    <a:cubicBezTo>
                      <a:pt x="2" y="10"/>
                      <a:pt x="2" y="10"/>
                      <a:pt x="2" y="10"/>
                    </a:cubicBezTo>
                    <a:cubicBezTo>
                      <a:pt x="3" y="5"/>
                      <a:pt x="7" y="1"/>
                      <a:pt x="12" y="1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94" y="0"/>
                      <a:pt x="98" y="4"/>
                      <a:pt x="98" y="8"/>
                    </a:cubicBezTo>
                    <a:cubicBezTo>
                      <a:pt x="100" y="34"/>
                      <a:pt x="100" y="34"/>
                      <a:pt x="100" y="34"/>
                    </a:cubicBezTo>
                    <a:cubicBezTo>
                      <a:pt x="100" y="34"/>
                      <a:pt x="92" y="55"/>
                      <a:pt x="69" y="65"/>
                    </a:cubicBezTo>
                    <a:cubicBezTo>
                      <a:pt x="47" y="76"/>
                      <a:pt x="12" y="77"/>
                      <a:pt x="12" y="77"/>
                    </a:cubicBez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6" name="任意多边形: 形状 1385">
                <a:extLst>
                  <a:ext uri="{FF2B5EF4-FFF2-40B4-BE49-F238E27FC236}">
                    <a16:creationId xmlns:a16="http://schemas.microsoft.com/office/drawing/2014/main" id="{996660B1-A7C5-45A5-A03E-930CE5E3D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6026" y="2170113"/>
                <a:ext cx="9525" cy="71438"/>
              </a:xfrm>
              <a:custGeom>
                <a:avLst/>
                <a:gdLst>
                  <a:gd name="T0" fmla="*/ 4 w 4"/>
                  <a:gd name="T1" fmla="*/ 0 h 31"/>
                  <a:gd name="T2" fmla="*/ 3 w 4"/>
                  <a:gd name="T3" fmla="*/ 4 h 31"/>
                  <a:gd name="T4" fmla="*/ 3 w 4"/>
                  <a:gd name="T5" fmla="*/ 15 h 31"/>
                  <a:gd name="T6" fmla="*/ 3 w 4"/>
                  <a:gd name="T7" fmla="*/ 31 h 31"/>
                  <a:gd name="T8" fmla="*/ 1 w 4"/>
                  <a:gd name="T9" fmla="*/ 15 h 31"/>
                  <a:gd name="T10" fmla="*/ 1 w 4"/>
                  <a:gd name="T11" fmla="*/ 4 h 31"/>
                  <a:gd name="T12" fmla="*/ 4 w 4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1">
                    <a:moveTo>
                      <a:pt x="4" y="0"/>
                    </a:moveTo>
                    <a:cubicBezTo>
                      <a:pt x="4" y="0"/>
                      <a:pt x="3" y="2"/>
                      <a:pt x="3" y="4"/>
                    </a:cubicBezTo>
                    <a:cubicBezTo>
                      <a:pt x="2" y="7"/>
                      <a:pt x="3" y="11"/>
                      <a:pt x="3" y="15"/>
                    </a:cubicBezTo>
                    <a:cubicBezTo>
                      <a:pt x="4" y="24"/>
                      <a:pt x="4" y="30"/>
                      <a:pt x="3" y="31"/>
                    </a:cubicBezTo>
                    <a:cubicBezTo>
                      <a:pt x="2" y="31"/>
                      <a:pt x="1" y="24"/>
                      <a:pt x="1" y="15"/>
                    </a:cubicBezTo>
                    <a:cubicBezTo>
                      <a:pt x="1" y="11"/>
                      <a:pt x="0" y="7"/>
                      <a:pt x="1" y="4"/>
                    </a:cubicBezTo>
                    <a:cubicBezTo>
                      <a:pt x="2" y="1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7" name="任意多边形: 形状 1386">
                <a:extLst>
                  <a:ext uri="{FF2B5EF4-FFF2-40B4-BE49-F238E27FC236}">
                    <a16:creationId xmlns:a16="http://schemas.microsoft.com/office/drawing/2014/main" id="{C5F80336-1297-4675-BE7A-0E86861A8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2063" y="2170113"/>
                <a:ext cx="6350" cy="69850"/>
              </a:xfrm>
              <a:custGeom>
                <a:avLst/>
                <a:gdLst>
                  <a:gd name="T0" fmla="*/ 3 w 3"/>
                  <a:gd name="T1" fmla="*/ 30 h 30"/>
                  <a:gd name="T2" fmla="*/ 1 w 3"/>
                  <a:gd name="T3" fmla="*/ 15 h 30"/>
                  <a:gd name="T4" fmla="*/ 1 w 3"/>
                  <a:gd name="T5" fmla="*/ 4 h 30"/>
                  <a:gd name="T6" fmla="*/ 2 w 3"/>
                  <a:gd name="T7" fmla="*/ 0 h 30"/>
                  <a:gd name="T8" fmla="*/ 2 w 3"/>
                  <a:gd name="T9" fmla="*/ 4 h 30"/>
                  <a:gd name="T10" fmla="*/ 3 w 3"/>
                  <a:gd name="T11" fmla="*/ 15 h 30"/>
                  <a:gd name="T12" fmla="*/ 3 w 3"/>
                  <a:gd name="T1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30">
                    <a:moveTo>
                      <a:pt x="3" y="30"/>
                    </a:moveTo>
                    <a:cubicBezTo>
                      <a:pt x="2" y="30"/>
                      <a:pt x="1" y="23"/>
                      <a:pt x="1" y="15"/>
                    </a:cubicBezTo>
                    <a:cubicBezTo>
                      <a:pt x="0" y="11"/>
                      <a:pt x="0" y="7"/>
                      <a:pt x="1" y="4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0"/>
                      <a:pt x="2" y="2"/>
                      <a:pt x="2" y="4"/>
                    </a:cubicBezTo>
                    <a:cubicBezTo>
                      <a:pt x="2" y="7"/>
                      <a:pt x="3" y="11"/>
                      <a:pt x="3" y="15"/>
                    </a:cubicBezTo>
                    <a:cubicBezTo>
                      <a:pt x="3" y="23"/>
                      <a:pt x="3" y="30"/>
                      <a:pt x="3" y="3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8" name="任意多边形: 形状 1387">
                <a:extLst>
                  <a:ext uri="{FF2B5EF4-FFF2-40B4-BE49-F238E27FC236}">
                    <a16:creationId xmlns:a16="http://schemas.microsoft.com/office/drawing/2014/main" id="{48077931-F164-48D5-AED6-4C6A316ECB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9688" y="2170113"/>
                <a:ext cx="11113" cy="66675"/>
              </a:xfrm>
              <a:custGeom>
                <a:avLst/>
                <a:gdLst>
                  <a:gd name="T0" fmla="*/ 5 w 5"/>
                  <a:gd name="T1" fmla="*/ 29 h 29"/>
                  <a:gd name="T2" fmla="*/ 2 w 5"/>
                  <a:gd name="T3" fmla="*/ 15 h 29"/>
                  <a:gd name="T4" fmla="*/ 1 w 5"/>
                  <a:gd name="T5" fmla="*/ 0 h 29"/>
                  <a:gd name="T6" fmla="*/ 4 w 5"/>
                  <a:gd name="T7" fmla="*/ 14 h 29"/>
                  <a:gd name="T8" fmla="*/ 5 w 5"/>
                  <a:gd name="T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9">
                    <a:moveTo>
                      <a:pt x="5" y="29"/>
                    </a:moveTo>
                    <a:cubicBezTo>
                      <a:pt x="4" y="29"/>
                      <a:pt x="3" y="23"/>
                      <a:pt x="2" y="15"/>
                    </a:cubicBezTo>
                    <a:cubicBezTo>
                      <a:pt x="0" y="6"/>
                      <a:pt x="0" y="0"/>
                      <a:pt x="1" y="0"/>
                    </a:cubicBezTo>
                    <a:cubicBezTo>
                      <a:pt x="1" y="0"/>
                      <a:pt x="3" y="6"/>
                      <a:pt x="4" y="14"/>
                    </a:cubicBezTo>
                    <a:cubicBezTo>
                      <a:pt x="5" y="23"/>
                      <a:pt x="5" y="29"/>
                      <a:pt x="5" y="2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9" name="任意多边形: 形状 1388">
                <a:extLst>
                  <a:ext uri="{FF2B5EF4-FFF2-40B4-BE49-F238E27FC236}">
                    <a16:creationId xmlns:a16="http://schemas.microsoft.com/office/drawing/2014/main" id="{3B3C1A89-3773-42E2-9C33-19D57DE70F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7313" y="2165351"/>
                <a:ext cx="9525" cy="76200"/>
              </a:xfrm>
              <a:custGeom>
                <a:avLst/>
                <a:gdLst>
                  <a:gd name="T0" fmla="*/ 3 w 4"/>
                  <a:gd name="T1" fmla="*/ 33 h 33"/>
                  <a:gd name="T2" fmla="*/ 1 w 4"/>
                  <a:gd name="T3" fmla="*/ 17 h 33"/>
                  <a:gd name="T4" fmla="*/ 1 w 4"/>
                  <a:gd name="T5" fmla="*/ 0 h 33"/>
                  <a:gd name="T6" fmla="*/ 3 w 4"/>
                  <a:gd name="T7" fmla="*/ 17 h 33"/>
                  <a:gd name="T8" fmla="*/ 3 w 4"/>
                  <a:gd name="T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3">
                    <a:moveTo>
                      <a:pt x="3" y="33"/>
                    </a:moveTo>
                    <a:cubicBezTo>
                      <a:pt x="3" y="33"/>
                      <a:pt x="1" y="26"/>
                      <a:pt x="1" y="17"/>
                    </a:cubicBezTo>
                    <a:cubicBezTo>
                      <a:pt x="0" y="8"/>
                      <a:pt x="0" y="0"/>
                      <a:pt x="1" y="0"/>
                    </a:cubicBezTo>
                    <a:cubicBezTo>
                      <a:pt x="2" y="0"/>
                      <a:pt x="2" y="8"/>
                      <a:pt x="3" y="17"/>
                    </a:cubicBezTo>
                    <a:cubicBezTo>
                      <a:pt x="3" y="26"/>
                      <a:pt x="4" y="33"/>
                      <a:pt x="3" y="3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0" name="任意多边形: 形状 1389">
                <a:extLst>
                  <a:ext uri="{FF2B5EF4-FFF2-40B4-BE49-F238E27FC236}">
                    <a16:creationId xmlns:a16="http://schemas.microsoft.com/office/drawing/2014/main" id="{497457AB-701C-45F4-A7C4-F3960C6BF8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426" y="2497138"/>
                <a:ext cx="26988" cy="55563"/>
              </a:xfrm>
              <a:custGeom>
                <a:avLst/>
                <a:gdLst>
                  <a:gd name="T0" fmla="*/ 4 w 17"/>
                  <a:gd name="T1" fmla="*/ 0 h 35"/>
                  <a:gd name="T2" fmla="*/ 0 w 17"/>
                  <a:gd name="T3" fmla="*/ 35 h 35"/>
                  <a:gd name="T4" fmla="*/ 17 w 17"/>
                  <a:gd name="T5" fmla="*/ 6 h 35"/>
                  <a:gd name="T6" fmla="*/ 4 w 17"/>
                  <a:gd name="T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35">
                    <a:moveTo>
                      <a:pt x="4" y="0"/>
                    </a:moveTo>
                    <a:lnTo>
                      <a:pt x="0" y="35"/>
                    </a:lnTo>
                    <a:lnTo>
                      <a:pt x="17" y="6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1" name="任意多边形: 形状 1390">
                <a:extLst>
                  <a:ext uri="{FF2B5EF4-FFF2-40B4-BE49-F238E27FC236}">
                    <a16:creationId xmlns:a16="http://schemas.microsoft.com/office/drawing/2014/main" id="{8DB5A907-9D72-4390-A5DC-BC5E8EDED3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426" y="2497138"/>
                <a:ext cx="26988" cy="55563"/>
              </a:xfrm>
              <a:custGeom>
                <a:avLst/>
                <a:gdLst>
                  <a:gd name="T0" fmla="*/ 4 w 17"/>
                  <a:gd name="T1" fmla="*/ 0 h 35"/>
                  <a:gd name="T2" fmla="*/ 0 w 17"/>
                  <a:gd name="T3" fmla="*/ 35 h 35"/>
                  <a:gd name="T4" fmla="*/ 17 w 17"/>
                  <a:gd name="T5" fmla="*/ 6 h 35"/>
                  <a:gd name="T6" fmla="*/ 4 w 17"/>
                  <a:gd name="T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35">
                    <a:moveTo>
                      <a:pt x="4" y="0"/>
                    </a:moveTo>
                    <a:lnTo>
                      <a:pt x="0" y="35"/>
                    </a:lnTo>
                    <a:lnTo>
                      <a:pt x="17" y="6"/>
                    </a:lnTo>
                    <a:lnTo>
                      <a:pt x="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2" name="任意多边形: 形状 1391">
                <a:extLst>
                  <a:ext uri="{FF2B5EF4-FFF2-40B4-BE49-F238E27FC236}">
                    <a16:creationId xmlns:a16="http://schemas.microsoft.com/office/drawing/2014/main" id="{01C6F536-6C01-4650-9425-4275517B5F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3826" y="2449513"/>
                <a:ext cx="107950" cy="227013"/>
              </a:xfrm>
              <a:custGeom>
                <a:avLst/>
                <a:gdLst>
                  <a:gd name="T0" fmla="*/ 3 w 47"/>
                  <a:gd name="T1" fmla="*/ 0 h 99"/>
                  <a:gd name="T2" fmla="*/ 11 w 47"/>
                  <a:gd name="T3" fmla="*/ 99 h 99"/>
                  <a:gd name="T4" fmla="*/ 44 w 47"/>
                  <a:gd name="T5" fmla="*/ 45 h 99"/>
                  <a:gd name="T6" fmla="*/ 47 w 47"/>
                  <a:gd name="T7" fmla="*/ 21 h 99"/>
                  <a:gd name="T8" fmla="*/ 3 w 47"/>
                  <a:gd name="T9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99">
                    <a:moveTo>
                      <a:pt x="3" y="0"/>
                    </a:moveTo>
                    <a:cubicBezTo>
                      <a:pt x="0" y="27"/>
                      <a:pt x="2" y="74"/>
                      <a:pt x="11" y="99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0A35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3" name="任意多边形: 形状 1392">
                <a:extLst>
                  <a:ext uri="{FF2B5EF4-FFF2-40B4-BE49-F238E27FC236}">
                    <a16:creationId xmlns:a16="http://schemas.microsoft.com/office/drawing/2014/main" id="{C184929D-2209-4B0F-A849-8D637E2F82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888" y="2289176"/>
                <a:ext cx="219075" cy="227013"/>
              </a:xfrm>
              <a:custGeom>
                <a:avLst/>
                <a:gdLst>
                  <a:gd name="T0" fmla="*/ 60 w 96"/>
                  <a:gd name="T1" fmla="*/ 0 h 99"/>
                  <a:gd name="T2" fmla="*/ 60 w 96"/>
                  <a:gd name="T3" fmla="*/ 1 h 99"/>
                  <a:gd name="T4" fmla="*/ 87 w 96"/>
                  <a:gd name="T5" fmla="*/ 48 h 99"/>
                  <a:gd name="T6" fmla="*/ 96 w 96"/>
                  <a:gd name="T7" fmla="*/ 85 h 99"/>
                  <a:gd name="T8" fmla="*/ 8 w 96"/>
                  <a:gd name="T9" fmla="*/ 99 h 99"/>
                  <a:gd name="T10" fmla="*/ 4 w 96"/>
                  <a:gd name="T11" fmla="*/ 50 h 99"/>
                  <a:gd name="T12" fmla="*/ 60 w 96"/>
                  <a:gd name="T13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" h="99">
                    <a:moveTo>
                      <a:pt x="60" y="0"/>
                    </a:moveTo>
                    <a:cubicBezTo>
                      <a:pt x="60" y="1"/>
                      <a:pt x="60" y="1"/>
                      <a:pt x="60" y="1"/>
                    </a:cubicBezTo>
                    <a:cubicBezTo>
                      <a:pt x="73" y="14"/>
                      <a:pt x="82" y="30"/>
                      <a:pt x="87" y="48"/>
                    </a:cubicBezTo>
                    <a:cubicBezTo>
                      <a:pt x="96" y="85"/>
                      <a:pt x="96" y="85"/>
                      <a:pt x="96" y="85"/>
                    </a:cubicBezTo>
                    <a:cubicBezTo>
                      <a:pt x="8" y="99"/>
                      <a:pt x="8" y="99"/>
                      <a:pt x="8" y="99"/>
                    </a:cubicBezTo>
                    <a:cubicBezTo>
                      <a:pt x="8" y="99"/>
                      <a:pt x="0" y="78"/>
                      <a:pt x="4" y="50"/>
                    </a:cubicBezTo>
                    <a:cubicBezTo>
                      <a:pt x="8" y="21"/>
                      <a:pt x="60" y="0"/>
                      <a:pt x="60" y="0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4" name="任意多边形: 形状 1393">
                <a:extLst>
                  <a:ext uri="{FF2B5EF4-FFF2-40B4-BE49-F238E27FC236}">
                    <a16:creationId xmlns:a16="http://schemas.microsoft.com/office/drawing/2014/main" id="{AB4F75AC-C1E2-41D3-AC98-49C2499678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3826" y="2262188"/>
                <a:ext cx="211138" cy="255588"/>
              </a:xfrm>
              <a:custGeom>
                <a:avLst/>
                <a:gdLst>
                  <a:gd name="T0" fmla="*/ 92 w 92"/>
                  <a:gd name="T1" fmla="*/ 97 h 112"/>
                  <a:gd name="T2" fmla="*/ 90 w 92"/>
                  <a:gd name="T3" fmla="*/ 98 h 112"/>
                  <a:gd name="T4" fmla="*/ 85 w 92"/>
                  <a:gd name="T5" fmla="*/ 99 h 112"/>
                  <a:gd name="T6" fmla="*/ 66 w 92"/>
                  <a:gd name="T7" fmla="*/ 102 h 112"/>
                  <a:gd name="T8" fmla="*/ 2 w 92"/>
                  <a:gd name="T9" fmla="*/ 112 h 112"/>
                  <a:gd name="T10" fmla="*/ 1 w 92"/>
                  <a:gd name="T11" fmla="*/ 112 h 112"/>
                  <a:gd name="T12" fmla="*/ 1 w 92"/>
                  <a:gd name="T13" fmla="*/ 111 h 112"/>
                  <a:gd name="T14" fmla="*/ 1 w 92"/>
                  <a:gd name="T15" fmla="*/ 94 h 112"/>
                  <a:gd name="T16" fmla="*/ 1 w 92"/>
                  <a:gd name="T17" fmla="*/ 52 h 112"/>
                  <a:gd name="T18" fmla="*/ 12 w 92"/>
                  <a:gd name="T19" fmla="*/ 20 h 112"/>
                  <a:gd name="T20" fmla="*/ 28 w 92"/>
                  <a:gd name="T21" fmla="*/ 4 h 112"/>
                  <a:gd name="T22" fmla="*/ 34 w 92"/>
                  <a:gd name="T23" fmla="*/ 1 h 112"/>
                  <a:gd name="T24" fmla="*/ 36 w 92"/>
                  <a:gd name="T25" fmla="*/ 0 h 112"/>
                  <a:gd name="T26" fmla="*/ 28 w 92"/>
                  <a:gd name="T27" fmla="*/ 4 h 112"/>
                  <a:gd name="T28" fmla="*/ 13 w 92"/>
                  <a:gd name="T29" fmla="*/ 21 h 112"/>
                  <a:gd name="T30" fmla="*/ 3 w 92"/>
                  <a:gd name="T31" fmla="*/ 52 h 112"/>
                  <a:gd name="T32" fmla="*/ 3 w 92"/>
                  <a:gd name="T33" fmla="*/ 94 h 112"/>
                  <a:gd name="T34" fmla="*/ 3 w 92"/>
                  <a:gd name="T35" fmla="*/ 110 h 112"/>
                  <a:gd name="T36" fmla="*/ 2 w 92"/>
                  <a:gd name="T37" fmla="*/ 109 h 112"/>
                  <a:gd name="T38" fmla="*/ 66 w 92"/>
                  <a:gd name="T39" fmla="*/ 100 h 112"/>
                  <a:gd name="T40" fmla="*/ 85 w 92"/>
                  <a:gd name="T41" fmla="*/ 98 h 112"/>
                  <a:gd name="T42" fmla="*/ 90 w 92"/>
                  <a:gd name="T43" fmla="*/ 97 h 112"/>
                  <a:gd name="T44" fmla="*/ 92 w 92"/>
                  <a:gd name="T45" fmla="*/ 9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2" h="112">
                    <a:moveTo>
                      <a:pt x="92" y="97"/>
                    </a:moveTo>
                    <a:cubicBezTo>
                      <a:pt x="92" y="97"/>
                      <a:pt x="91" y="98"/>
                      <a:pt x="90" y="98"/>
                    </a:cubicBezTo>
                    <a:cubicBezTo>
                      <a:pt x="88" y="98"/>
                      <a:pt x="87" y="98"/>
                      <a:pt x="85" y="99"/>
                    </a:cubicBezTo>
                    <a:cubicBezTo>
                      <a:pt x="80" y="100"/>
                      <a:pt x="74" y="101"/>
                      <a:pt x="66" y="102"/>
                    </a:cubicBezTo>
                    <a:cubicBezTo>
                      <a:pt x="50" y="104"/>
                      <a:pt x="27" y="108"/>
                      <a:pt x="2" y="112"/>
                    </a:cubicBezTo>
                    <a:cubicBezTo>
                      <a:pt x="1" y="112"/>
                      <a:pt x="1" y="112"/>
                      <a:pt x="1" y="112"/>
                    </a:cubicBezTo>
                    <a:cubicBezTo>
                      <a:pt x="1" y="111"/>
                      <a:pt x="1" y="111"/>
                      <a:pt x="1" y="111"/>
                    </a:cubicBezTo>
                    <a:cubicBezTo>
                      <a:pt x="1" y="105"/>
                      <a:pt x="1" y="100"/>
                      <a:pt x="1" y="94"/>
                    </a:cubicBezTo>
                    <a:cubicBezTo>
                      <a:pt x="0" y="79"/>
                      <a:pt x="0" y="65"/>
                      <a:pt x="1" y="52"/>
                    </a:cubicBezTo>
                    <a:cubicBezTo>
                      <a:pt x="2" y="39"/>
                      <a:pt x="6" y="28"/>
                      <a:pt x="12" y="20"/>
                    </a:cubicBezTo>
                    <a:cubicBezTo>
                      <a:pt x="17" y="12"/>
                      <a:pt x="23" y="6"/>
                      <a:pt x="28" y="4"/>
                    </a:cubicBezTo>
                    <a:cubicBezTo>
                      <a:pt x="30" y="2"/>
                      <a:pt x="32" y="2"/>
                      <a:pt x="34" y="1"/>
                    </a:cubicBezTo>
                    <a:cubicBezTo>
                      <a:pt x="35" y="1"/>
                      <a:pt x="36" y="0"/>
                      <a:pt x="36" y="0"/>
                    </a:cubicBezTo>
                    <a:cubicBezTo>
                      <a:pt x="36" y="1"/>
                      <a:pt x="33" y="2"/>
                      <a:pt x="28" y="4"/>
                    </a:cubicBezTo>
                    <a:cubicBezTo>
                      <a:pt x="24" y="7"/>
                      <a:pt x="18" y="12"/>
                      <a:pt x="13" y="21"/>
                    </a:cubicBezTo>
                    <a:cubicBezTo>
                      <a:pt x="8" y="29"/>
                      <a:pt x="4" y="40"/>
                      <a:pt x="3" y="52"/>
                    </a:cubicBezTo>
                    <a:cubicBezTo>
                      <a:pt x="2" y="65"/>
                      <a:pt x="2" y="79"/>
                      <a:pt x="3" y="94"/>
                    </a:cubicBezTo>
                    <a:cubicBezTo>
                      <a:pt x="3" y="100"/>
                      <a:pt x="3" y="105"/>
                      <a:pt x="3" y="110"/>
                    </a:cubicBezTo>
                    <a:cubicBezTo>
                      <a:pt x="2" y="109"/>
                      <a:pt x="2" y="109"/>
                      <a:pt x="2" y="109"/>
                    </a:cubicBezTo>
                    <a:cubicBezTo>
                      <a:pt x="27" y="106"/>
                      <a:pt x="49" y="103"/>
                      <a:pt x="66" y="100"/>
                    </a:cubicBezTo>
                    <a:cubicBezTo>
                      <a:pt x="74" y="99"/>
                      <a:pt x="80" y="99"/>
                      <a:pt x="85" y="98"/>
                    </a:cubicBezTo>
                    <a:cubicBezTo>
                      <a:pt x="87" y="98"/>
                      <a:pt x="88" y="98"/>
                      <a:pt x="90" y="97"/>
                    </a:cubicBezTo>
                    <a:cubicBezTo>
                      <a:pt x="91" y="97"/>
                      <a:pt x="92" y="97"/>
                      <a:pt x="92" y="9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5" name="任意多边形: 形状 1394">
                <a:extLst>
                  <a:ext uri="{FF2B5EF4-FFF2-40B4-BE49-F238E27FC236}">
                    <a16:creationId xmlns:a16="http://schemas.microsoft.com/office/drawing/2014/main" id="{81133FCF-3629-436F-B4A1-2385285C2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951" y="2309813"/>
                <a:ext cx="55563" cy="50800"/>
              </a:xfrm>
              <a:custGeom>
                <a:avLst/>
                <a:gdLst>
                  <a:gd name="T0" fmla="*/ 24 w 24"/>
                  <a:gd name="T1" fmla="*/ 21 h 22"/>
                  <a:gd name="T2" fmla="*/ 11 w 24"/>
                  <a:gd name="T3" fmla="*/ 12 h 22"/>
                  <a:gd name="T4" fmla="*/ 1 w 24"/>
                  <a:gd name="T5" fmla="*/ 1 h 22"/>
                  <a:gd name="T6" fmla="*/ 13 w 24"/>
                  <a:gd name="T7" fmla="*/ 10 h 22"/>
                  <a:gd name="T8" fmla="*/ 24 w 24"/>
                  <a:gd name="T9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2">
                    <a:moveTo>
                      <a:pt x="24" y="21"/>
                    </a:moveTo>
                    <a:cubicBezTo>
                      <a:pt x="23" y="22"/>
                      <a:pt x="18" y="17"/>
                      <a:pt x="11" y="12"/>
                    </a:cubicBezTo>
                    <a:cubicBezTo>
                      <a:pt x="5" y="6"/>
                      <a:pt x="0" y="1"/>
                      <a:pt x="1" y="1"/>
                    </a:cubicBezTo>
                    <a:cubicBezTo>
                      <a:pt x="1" y="0"/>
                      <a:pt x="6" y="5"/>
                      <a:pt x="13" y="10"/>
                    </a:cubicBezTo>
                    <a:cubicBezTo>
                      <a:pt x="19" y="16"/>
                      <a:pt x="24" y="21"/>
                      <a:pt x="24" y="2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6" name="任意多边形: 形状 1395">
                <a:extLst>
                  <a:ext uri="{FF2B5EF4-FFF2-40B4-BE49-F238E27FC236}">
                    <a16:creationId xmlns:a16="http://schemas.microsoft.com/office/drawing/2014/main" id="{97DD9011-F82F-45E0-84AF-BCD0DC84CE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0138" y="2463801"/>
                <a:ext cx="52388" cy="33338"/>
              </a:xfrm>
              <a:custGeom>
                <a:avLst/>
                <a:gdLst>
                  <a:gd name="T0" fmla="*/ 23 w 23"/>
                  <a:gd name="T1" fmla="*/ 1 h 15"/>
                  <a:gd name="T2" fmla="*/ 12 w 23"/>
                  <a:gd name="T3" fmla="*/ 8 h 15"/>
                  <a:gd name="T4" fmla="*/ 0 w 23"/>
                  <a:gd name="T5" fmla="*/ 15 h 15"/>
                  <a:gd name="T6" fmla="*/ 11 w 23"/>
                  <a:gd name="T7" fmla="*/ 7 h 15"/>
                  <a:gd name="T8" fmla="*/ 23 w 23"/>
                  <a:gd name="T9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5">
                    <a:moveTo>
                      <a:pt x="23" y="1"/>
                    </a:moveTo>
                    <a:cubicBezTo>
                      <a:pt x="23" y="1"/>
                      <a:pt x="18" y="5"/>
                      <a:pt x="12" y="8"/>
                    </a:cubicBezTo>
                    <a:cubicBezTo>
                      <a:pt x="6" y="12"/>
                      <a:pt x="0" y="15"/>
                      <a:pt x="0" y="15"/>
                    </a:cubicBezTo>
                    <a:cubicBezTo>
                      <a:pt x="0" y="14"/>
                      <a:pt x="5" y="11"/>
                      <a:pt x="11" y="7"/>
                    </a:cubicBezTo>
                    <a:cubicBezTo>
                      <a:pt x="17" y="3"/>
                      <a:pt x="23" y="0"/>
                      <a:pt x="23" y="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7" name="任意多边形: 形状 1396">
                <a:extLst>
                  <a:ext uri="{FF2B5EF4-FFF2-40B4-BE49-F238E27FC236}">
                    <a16:creationId xmlns:a16="http://schemas.microsoft.com/office/drawing/2014/main" id="{7832CEE8-FB05-4B31-9C3F-064A2E1855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2063" y="2413001"/>
                <a:ext cx="9525" cy="77788"/>
              </a:xfrm>
              <a:custGeom>
                <a:avLst/>
                <a:gdLst>
                  <a:gd name="T0" fmla="*/ 1 w 4"/>
                  <a:gd name="T1" fmla="*/ 34 h 34"/>
                  <a:gd name="T2" fmla="*/ 1 w 4"/>
                  <a:gd name="T3" fmla="*/ 17 h 34"/>
                  <a:gd name="T4" fmla="*/ 3 w 4"/>
                  <a:gd name="T5" fmla="*/ 0 h 34"/>
                  <a:gd name="T6" fmla="*/ 3 w 4"/>
                  <a:gd name="T7" fmla="*/ 17 h 34"/>
                  <a:gd name="T8" fmla="*/ 1 w 4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4">
                    <a:moveTo>
                      <a:pt x="1" y="34"/>
                    </a:moveTo>
                    <a:cubicBezTo>
                      <a:pt x="0" y="34"/>
                      <a:pt x="0" y="26"/>
                      <a:pt x="1" y="17"/>
                    </a:cubicBezTo>
                    <a:cubicBezTo>
                      <a:pt x="1" y="7"/>
                      <a:pt x="2" y="0"/>
                      <a:pt x="3" y="0"/>
                    </a:cubicBezTo>
                    <a:cubicBezTo>
                      <a:pt x="4" y="0"/>
                      <a:pt x="4" y="7"/>
                      <a:pt x="3" y="17"/>
                    </a:cubicBezTo>
                    <a:cubicBezTo>
                      <a:pt x="2" y="26"/>
                      <a:pt x="1" y="34"/>
                      <a:pt x="1" y="34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8" name="任意多边形: 形状 1397">
                <a:extLst>
                  <a:ext uri="{FF2B5EF4-FFF2-40B4-BE49-F238E27FC236}">
                    <a16:creationId xmlns:a16="http://schemas.microsoft.com/office/drawing/2014/main" id="{7CB393D2-C8AF-4C9B-8618-9CAFB0681F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0801" y="2541588"/>
                <a:ext cx="52388" cy="57150"/>
              </a:xfrm>
              <a:custGeom>
                <a:avLst/>
                <a:gdLst>
                  <a:gd name="T0" fmla="*/ 23 w 23"/>
                  <a:gd name="T1" fmla="*/ 24 h 25"/>
                  <a:gd name="T2" fmla="*/ 12 w 23"/>
                  <a:gd name="T3" fmla="*/ 12 h 25"/>
                  <a:gd name="T4" fmla="*/ 1 w 23"/>
                  <a:gd name="T5" fmla="*/ 0 h 25"/>
                  <a:gd name="T6" fmla="*/ 13 w 23"/>
                  <a:gd name="T7" fmla="*/ 11 h 25"/>
                  <a:gd name="T8" fmla="*/ 23 w 23"/>
                  <a:gd name="T9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5">
                    <a:moveTo>
                      <a:pt x="23" y="24"/>
                    </a:moveTo>
                    <a:cubicBezTo>
                      <a:pt x="22" y="25"/>
                      <a:pt x="18" y="19"/>
                      <a:pt x="12" y="12"/>
                    </a:cubicBezTo>
                    <a:cubicBezTo>
                      <a:pt x="5" y="5"/>
                      <a:pt x="0" y="0"/>
                      <a:pt x="1" y="0"/>
                    </a:cubicBezTo>
                    <a:cubicBezTo>
                      <a:pt x="1" y="0"/>
                      <a:pt x="7" y="4"/>
                      <a:pt x="13" y="11"/>
                    </a:cubicBezTo>
                    <a:cubicBezTo>
                      <a:pt x="19" y="17"/>
                      <a:pt x="23" y="24"/>
                      <a:pt x="23" y="24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9" name="任意多边形: 形状 1398">
                <a:extLst>
                  <a:ext uri="{FF2B5EF4-FFF2-40B4-BE49-F238E27FC236}">
                    <a16:creationId xmlns:a16="http://schemas.microsoft.com/office/drawing/2014/main" id="{6FB2FCE4-58D8-456C-990F-B393A14BE3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3500" y="2373313"/>
                <a:ext cx="57150" cy="39688"/>
              </a:xfrm>
              <a:custGeom>
                <a:avLst/>
                <a:gdLst>
                  <a:gd name="T0" fmla="*/ 24 w 25"/>
                  <a:gd name="T1" fmla="*/ 0 h 17"/>
                  <a:gd name="T2" fmla="*/ 13 w 25"/>
                  <a:gd name="T3" fmla="*/ 10 h 17"/>
                  <a:gd name="T4" fmla="*/ 0 w 25"/>
                  <a:gd name="T5" fmla="*/ 17 h 17"/>
                  <a:gd name="T6" fmla="*/ 12 w 25"/>
                  <a:gd name="T7" fmla="*/ 8 h 17"/>
                  <a:gd name="T8" fmla="*/ 24 w 25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7">
                    <a:moveTo>
                      <a:pt x="24" y="0"/>
                    </a:moveTo>
                    <a:cubicBezTo>
                      <a:pt x="25" y="1"/>
                      <a:pt x="19" y="5"/>
                      <a:pt x="13" y="10"/>
                    </a:cubicBezTo>
                    <a:cubicBezTo>
                      <a:pt x="6" y="14"/>
                      <a:pt x="0" y="17"/>
                      <a:pt x="0" y="17"/>
                    </a:cubicBezTo>
                    <a:cubicBezTo>
                      <a:pt x="0" y="16"/>
                      <a:pt x="5" y="12"/>
                      <a:pt x="12" y="8"/>
                    </a:cubicBezTo>
                    <a:cubicBezTo>
                      <a:pt x="18" y="3"/>
                      <a:pt x="24" y="0"/>
                      <a:pt x="24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0" name="任意多边形: 形状 1399">
                <a:extLst>
                  <a:ext uri="{FF2B5EF4-FFF2-40B4-BE49-F238E27FC236}">
                    <a16:creationId xmlns:a16="http://schemas.microsoft.com/office/drawing/2014/main" id="{BEF472E4-CF10-40B1-BE7B-EFD346F3E8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7138" y="2293938"/>
                <a:ext cx="65088" cy="41275"/>
              </a:xfrm>
              <a:custGeom>
                <a:avLst/>
                <a:gdLst>
                  <a:gd name="T0" fmla="*/ 27 w 28"/>
                  <a:gd name="T1" fmla="*/ 0 h 18"/>
                  <a:gd name="T2" fmla="*/ 15 w 28"/>
                  <a:gd name="T3" fmla="*/ 10 h 18"/>
                  <a:gd name="T4" fmla="*/ 1 w 28"/>
                  <a:gd name="T5" fmla="*/ 17 h 18"/>
                  <a:gd name="T6" fmla="*/ 13 w 28"/>
                  <a:gd name="T7" fmla="*/ 8 h 18"/>
                  <a:gd name="T8" fmla="*/ 27 w 28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8">
                    <a:moveTo>
                      <a:pt x="27" y="0"/>
                    </a:moveTo>
                    <a:cubicBezTo>
                      <a:pt x="28" y="1"/>
                      <a:pt x="22" y="5"/>
                      <a:pt x="15" y="10"/>
                    </a:cubicBezTo>
                    <a:cubicBezTo>
                      <a:pt x="7" y="15"/>
                      <a:pt x="1" y="18"/>
                      <a:pt x="1" y="17"/>
                    </a:cubicBezTo>
                    <a:cubicBezTo>
                      <a:pt x="0" y="17"/>
                      <a:pt x="6" y="13"/>
                      <a:pt x="13" y="8"/>
                    </a:cubicBezTo>
                    <a:cubicBezTo>
                      <a:pt x="21" y="3"/>
                      <a:pt x="27" y="0"/>
                      <a:pt x="27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1" name="任意多边形: 形状 1400">
                <a:extLst>
                  <a:ext uri="{FF2B5EF4-FFF2-40B4-BE49-F238E27FC236}">
                    <a16:creationId xmlns:a16="http://schemas.microsoft.com/office/drawing/2014/main" id="{AE0E530C-F99F-4FF6-9662-A458782AAD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2550" y="2266951"/>
                <a:ext cx="28575" cy="61913"/>
              </a:xfrm>
              <a:custGeom>
                <a:avLst/>
                <a:gdLst>
                  <a:gd name="T0" fmla="*/ 11 w 12"/>
                  <a:gd name="T1" fmla="*/ 26 h 27"/>
                  <a:gd name="T2" fmla="*/ 5 w 12"/>
                  <a:gd name="T3" fmla="*/ 14 h 27"/>
                  <a:gd name="T4" fmla="*/ 1 w 12"/>
                  <a:gd name="T5" fmla="*/ 0 h 27"/>
                  <a:gd name="T6" fmla="*/ 7 w 12"/>
                  <a:gd name="T7" fmla="*/ 13 h 27"/>
                  <a:gd name="T8" fmla="*/ 11 w 12"/>
                  <a:gd name="T9" fmla="*/ 2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7">
                    <a:moveTo>
                      <a:pt x="11" y="26"/>
                    </a:moveTo>
                    <a:cubicBezTo>
                      <a:pt x="11" y="27"/>
                      <a:pt x="8" y="21"/>
                      <a:pt x="5" y="14"/>
                    </a:cubicBezTo>
                    <a:cubicBezTo>
                      <a:pt x="2" y="7"/>
                      <a:pt x="0" y="1"/>
                      <a:pt x="1" y="0"/>
                    </a:cubicBezTo>
                    <a:cubicBezTo>
                      <a:pt x="1" y="0"/>
                      <a:pt x="4" y="6"/>
                      <a:pt x="7" y="13"/>
                    </a:cubicBezTo>
                    <a:cubicBezTo>
                      <a:pt x="10" y="20"/>
                      <a:pt x="12" y="26"/>
                      <a:pt x="11" y="26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2" name="任意多边形: 形状 1401">
                <a:extLst>
                  <a:ext uri="{FF2B5EF4-FFF2-40B4-BE49-F238E27FC236}">
                    <a16:creationId xmlns:a16="http://schemas.microsoft.com/office/drawing/2014/main" id="{58023245-5AB9-4978-9B01-EB8FBC018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675" y="2328863"/>
                <a:ext cx="38100" cy="38100"/>
              </a:xfrm>
              <a:custGeom>
                <a:avLst/>
                <a:gdLst>
                  <a:gd name="T0" fmla="*/ 17 w 17"/>
                  <a:gd name="T1" fmla="*/ 17 h 17"/>
                  <a:gd name="T2" fmla="*/ 8 w 17"/>
                  <a:gd name="T3" fmla="*/ 9 h 17"/>
                  <a:gd name="T4" fmla="*/ 0 w 17"/>
                  <a:gd name="T5" fmla="*/ 1 h 17"/>
                  <a:gd name="T6" fmla="*/ 9 w 17"/>
                  <a:gd name="T7" fmla="*/ 8 h 17"/>
                  <a:gd name="T8" fmla="*/ 17 w 17"/>
                  <a:gd name="T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7" y="17"/>
                    </a:moveTo>
                    <a:cubicBezTo>
                      <a:pt x="16" y="17"/>
                      <a:pt x="12" y="14"/>
                      <a:pt x="8" y="9"/>
                    </a:cubicBezTo>
                    <a:cubicBezTo>
                      <a:pt x="3" y="5"/>
                      <a:pt x="0" y="1"/>
                      <a:pt x="0" y="1"/>
                    </a:cubicBezTo>
                    <a:cubicBezTo>
                      <a:pt x="1" y="0"/>
                      <a:pt x="5" y="3"/>
                      <a:pt x="9" y="8"/>
                    </a:cubicBezTo>
                    <a:cubicBezTo>
                      <a:pt x="14" y="12"/>
                      <a:pt x="17" y="16"/>
                      <a:pt x="17" y="17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3" name="任意多边形: 形状 1402">
                <a:extLst>
                  <a:ext uri="{FF2B5EF4-FFF2-40B4-BE49-F238E27FC236}">
                    <a16:creationId xmlns:a16="http://schemas.microsoft.com/office/drawing/2014/main" id="{456EB2B2-914C-4833-AD7D-61F90A273D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7800" y="2398713"/>
                <a:ext cx="3175" cy="57150"/>
              </a:xfrm>
              <a:custGeom>
                <a:avLst/>
                <a:gdLst>
                  <a:gd name="T0" fmla="*/ 2 w 2"/>
                  <a:gd name="T1" fmla="*/ 25 h 25"/>
                  <a:gd name="T2" fmla="*/ 0 w 2"/>
                  <a:gd name="T3" fmla="*/ 13 h 25"/>
                  <a:gd name="T4" fmla="*/ 0 w 2"/>
                  <a:gd name="T5" fmla="*/ 0 h 25"/>
                  <a:gd name="T6" fmla="*/ 2 w 2"/>
                  <a:gd name="T7" fmla="*/ 13 h 25"/>
                  <a:gd name="T8" fmla="*/ 2 w 2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5">
                    <a:moveTo>
                      <a:pt x="2" y="25"/>
                    </a:moveTo>
                    <a:cubicBezTo>
                      <a:pt x="1" y="25"/>
                      <a:pt x="0" y="19"/>
                      <a:pt x="0" y="13"/>
                    </a:cubicBezTo>
                    <a:cubicBezTo>
                      <a:pt x="0" y="6"/>
                      <a:pt x="0" y="0"/>
                      <a:pt x="0" y="0"/>
                    </a:cubicBezTo>
                    <a:cubicBezTo>
                      <a:pt x="1" y="0"/>
                      <a:pt x="2" y="6"/>
                      <a:pt x="2" y="13"/>
                    </a:cubicBezTo>
                    <a:cubicBezTo>
                      <a:pt x="2" y="19"/>
                      <a:pt x="2" y="25"/>
                      <a:pt x="2" y="2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4" name="任意多边形: 形状 1403">
                <a:extLst>
                  <a:ext uri="{FF2B5EF4-FFF2-40B4-BE49-F238E27FC236}">
                    <a16:creationId xmlns:a16="http://schemas.microsoft.com/office/drawing/2014/main" id="{A2726FDA-17CF-443D-A513-5903017D7D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7488" y="2427288"/>
                <a:ext cx="65088" cy="12700"/>
              </a:xfrm>
              <a:custGeom>
                <a:avLst/>
                <a:gdLst>
                  <a:gd name="T0" fmla="*/ 28 w 28"/>
                  <a:gd name="T1" fmla="*/ 5 h 6"/>
                  <a:gd name="T2" fmla="*/ 14 w 28"/>
                  <a:gd name="T3" fmla="*/ 4 h 6"/>
                  <a:gd name="T4" fmla="*/ 1 w 28"/>
                  <a:gd name="T5" fmla="*/ 1 h 6"/>
                  <a:gd name="T6" fmla="*/ 14 w 28"/>
                  <a:gd name="T7" fmla="*/ 2 h 6"/>
                  <a:gd name="T8" fmla="*/ 28 w 28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6">
                    <a:moveTo>
                      <a:pt x="28" y="5"/>
                    </a:moveTo>
                    <a:cubicBezTo>
                      <a:pt x="28" y="5"/>
                      <a:pt x="22" y="6"/>
                      <a:pt x="14" y="4"/>
                    </a:cubicBezTo>
                    <a:cubicBezTo>
                      <a:pt x="6" y="3"/>
                      <a:pt x="0" y="1"/>
                      <a:pt x="1" y="1"/>
                    </a:cubicBezTo>
                    <a:cubicBezTo>
                      <a:pt x="1" y="0"/>
                      <a:pt x="7" y="1"/>
                      <a:pt x="14" y="2"/>
                    </a:cubicBezTo>
                    <a:cubicBezTo>
                      <a:pt x="22" y="3"/>
                      <a:pt x="28" y="4"/>
                      <a:pt x="28" y="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5" name="任意多边形: 形状 1404">
                <a:extLst>
                  <a:ext uri="{FF2B5EF4-FFF2-40B4-BE49-F238E27FC236}">
                    <a16:creationId xmlns:a16="http://schemas.microsoft.com/office/drawing/2014/main" id="{B3583366-D101-4087-A143-2E646187A7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8075" y="2552701"/>
                <a:ext cx="34925" cy="69850"/>
              </a:xfrm>
              <a:custGeom>
                <a:avLst/>
                <a:gdLst>
                  <a:gd name="T0" fmla="*/ 15 w 15"/>
                  <a:gd name="T1" fmla="*/ 30 h 31"/>
                  <a:gd name="T2" fmla="*/ 7 w 15"/>
                  <a:gd name="T3" fmla="*/ 16 h 31"/>
                  <a:gd name="T4" fmla="*/ 1 w 15"/>
                  <a:gd name="T5" fmla="*/ 0 h 31"/>
                  <a:gd name="T6" fmla="*/ 9 w 15"/>
                  <a:gd name="T7" fmla="*/ 15 h 31"/>
                  <a:gd name="T8" fmla="*/ 15 w 15"/>
                  <a:gd name="T9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31">
                    <a:moveTo>
                      <a:pt x="15" y="30"/>
                    </a:moveTo>
                    <a:cubicBezTo>
                      <a:pt x="14" y="31"/>
                      <a:pt x="11" y="24"/>
                      <a:pt x="7" y="16"/>
                    </a:cubicBezTo>
                    <a:cubicBezTo>
                      <a:pt x="3" y="8"/>
                      <a:pt x="0" y="1"/>
                      <a:pt x="1" y="0"/>
                    </a:cubicBezTo>
                    <a:cubicBezTo>
                      <a:pt x="1" y="0"/>
                      <a:pt x="5" y="7"/>
                      <a:pt x="9" y="15"/>
                    </a:cubicBezTo>
                    <a:cubicBezTo>
                      <a:pt x="13" y="23"/>
                      <a:pt x="15" y="30"/>
                      <a:pt x="15" y="3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6" name="任意多边形: 形状 1405">
                <a:extLst>
                  <a:ext uri="{FF2B5EF4-FFF2-40B4-BE49-F238E27FC236}">
                    <a16:creationId xmlns:a16="http://schemas.microsoft.com/office/drawing/2014/main" id="{D786C40C-3190-4C67-A161-4EAF18FD8D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5075" y="2709863"/>
                <a:ext cx="42863" cy="57150"/>
              </a:xfrm>
              <a:custGeom>
                <a:avLst/>
                <a:gdLst>
                  <a:gd name="T0" fmla="*/ 18 w 19"/>
                  <a:gd name="T1" fmla="*/ 25 h 25"/>
                  <a:gd name="T2" fmla="*/ 9 w 19"/>
                  <a:gd name="T3" fmla="*/ 13 h 25"/>
                  <a:gd name="T4" fmla="*/ 1 w 19"/>
                  <a:gd name="T5" fmla="*/ 0 h 25"/>
                  <a:gd name="T6" fmla="*/ 10 w 19"/>
                  <a:gd name="T7" fmla="*/ 12 h 25"/>
                  <a:gd name="T8" fmla="*/ 18 w 19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18" y="25"/>
                    </a:moveTo>
                    <a:cubicBezTo>
                      <a:pt x="18" y="25"/>
                      <a:pt x="14" y="20"/>
                      <a:pt x="9" y="13"/>
                    </a:cubicBezTo>
                    <a:cubicBezTo>
                      <a:pt x="4" y="6"/>
                      <a:pt x="0" y="0"/>
                      <a:pt x="1" y="0"/>
                    </a:cubicBezTo>
                    <a:cubicBezTo>
                      <a:pt x="1" y="0"/>
                      <a:pt x="5" y="5"/>
                      <a:pt x="10" y="12"/>
                    </a:cubicBezTo>
                    <a:cubicBezTo>
                      <a:pt x="15" y="18"/>
                      <a:pt x="19" y="24"/>
                      <a:pt x="18" y="2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7" name="任意多边形: 形状 1406">
                <a:extLst>
                  <a:ext uri="{FF2B5EF4-FFF2-40B4-BE49-F238E27FC236}">
                    <a16:creationId xmlns:a16="http://schemas.microsoft.com/office/drawing/2014/main" id="{AF12AEAD-8043-4AA4-859A-201316EC0A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5563" y="2705101"/>
                <a:ext cx="61913" cy="25400"/>
              </a:xfrm>
              <a:custGeom>
                <a:avLst/>
                <a:gdLst>
                  <a:gd name="T0" fmla="*/ 27 w 27"/>
                  <a:gd name="T1" fmla="*/ 0 h 11"/>
                  <a:gd name="T2" fmla="*/ 14 w 27"/>
                  <a:gd name="T3" fmla="*/ 6 h 11"/>
                  <a:gd name="T4" fmla="*/ 0 w 27"/>
                  <a:gd name="T5" fmla="*/ 11 h 11"/>
                  <a:gd name="T6" fmla="*/ 13 w 27"/>
                  <a:gd name="T7" fmla="*/ 4 h 11"/>
                  <a:gd name="T8" fmla="*/ 27 w 27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1">
                    <a:moveTo>
                      <a:pt x="27" y="0"/>
                    </a:moveTo>
                    <a:cubicBezTo>
                      <a:pt x="27" y="1"/>
                      <a:pt x="21" y="3"/>
                      <a:pt x="14" y="6"/>
                    </a:cubicBezTo>
                    <a:cubicBezTo>
                      <a:pt x="6" y="9"/>
                      <a:pt x="0" y="11"/>
                      <a:pt x="0" y="11"/>
                    </a:cubicBezTo>
                    <a:cubicBezTo>
                      <a:pt x="0" y="10"/>
                      <a:pt x="6" y="7"/>
                      <a:pt x="13" y="4"/>
                    </a:cubicBezTo>
                    <a:cubicBezTo>
                      <a:pt x="21" y="1"/>
                      <a:pt x="27" y="0"/>
                      <a:pt x="27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8" name="任意多边形: 形状 1407">
                <a:extLst>
                  <a:ext uri="{FF2B5EF4-FFF2-40B4-BE49-F238E27FC236}">
                    <a16:creationId xmlns:a16="http://schemas.microsoft.com/office/drawing/2014/main" id="{BCE051DE-AF80-4155-983C-838EC3D60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2838" y="2773363"/>
                <a:ext cx="25400" cy="49213"/>
              </a:xfrm>
              <a:custGeom>
                <a:avLst/>
                <a:gdLst>
                  <a:gd name="T0" fmla="*/ 0 w 11"/>
                  <a:gd name="T1" fmla="*/ 21 h 21"/>
                  <a:gd name="T2" fmla="*/ 4 w 11"/>
                  <a:gd name="T3" fmla="*/ 10 h 21"/>
                  <a:gd name="T4" fmla="*/ 10 w 11"/>
                  <a:gd name="T5" fmla="*/ 0 h 21"/>
                  <a:gd name="T6" fmla="*/ 6 w 11"/>
                  <a:gd name="T7" fmla="*/ 11 h 21"/>
                  <a:gd name="T8" fmla="*/ 0 w 11"/>
                  <a:gd name="T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21">
                    <a:moveTo>
                      <a:pt x="0" y="21"/>
                    </a:moveTo>
                    <a:cubicBezTo>
                      <a:pt x="0" y="21"/>
                      <a:pt x="2" y="16"/>
                      <a:pt x="4" y="10"/>
                    </a:cubicBezTo>
                    <a:cubicBezTo>
                      <a:pt x="7" y="4"/>
                      <a:pt x="10" y="0"/>
                      <a:pt x="10" y="0"/>
                    </a:cubicBezTo>
                    <a:cubicBezTo>
                      <a:pt x="11" y="0"/>
                      <a:pt x="9" y="5"/>
                      <a:pt x="6" y="11"/>
                    </a:cubicBezTo>
                    <a:cubicBezTo>
                      <a:pt x="4" y="17"/>
                      <a:pt x="1" y="21"/>
                      <a:pt x="0" y="2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9" name="任意多边形: 形状 1408">
                <a:extLst>
                  <a:ext uri="{FF2B5EF4-FFF2-40B4-BE49-F238E27FC236}">
                    <a16:creationId xmlns:a16="http://schemas.microsoft.com/office/drawing/2014/main" id="{2F385D11-BC63-4E7C-BE8C-F0F3984099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7588" y="2360613"/>
                <a:ext cx="11113" cy="50800"/>
              </a:xfrm>
              <a:custGeom>
                <a:avLst/>
                <a:gdLst>
                  <a:gd name="T0" fmla="*/ 5 w 5"/>
                  <a:gd name="T1" fmla="*/ 21 h 22"/>
                  <a:gd name="T2" fmla="*/ 1 w 5"/>
                  <a:gd name="T3" fmla="*/ 11 h 22"/>
                  <a:gd name="T4" fmla="*/ 1 w 5"/>
                  <a:gd name="T5" fmla="*/ 0 h 22"/>
                  <a:gd name="T6" fmla="*/ 3 w 5"/>
                  <a:gd name="T7" fmla="*/ 11 h 22"/>
                  <a:gd name="T8" fmla="*/ 5 w 5"/>
                  <a:gd name="T9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2">
                    <a:moveTo>
                      <a:pt x="5" y="21"/>
                    </a:moveTo>
                    <a:cubicBezTo>
                      <a:pt x="4" y="22"/>
                      <a:pt x="2" y="17"/>
                      <a:pt x="1" y="11"/>
                    </a:cubicBezTo>
                    <a:cubicBezTo>
                      <a:pt x="0" y="5"/>
                      <a:pt x="1" y="0"/>
                      <a:pt x="1" y="0"/>
                    </a:cubicBezTo>
                    <a:cubicBezTo>
                      <a:pt x="2" y="0"/>
                      <a:pt x="2" y="5"/>
                      <a:pt x="3" y="11"/>
                    </a:cubicBezTo>
                    <a:cubicBezTo>
                      <a:pt x="4" y="17"/>
                      <a:pt x="5" y="21"/>
                      <a:pt x="5" y="2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0" name="任意多边形: 形状 1409">
                <a:extLst>
                  <a:ext uri="{FF2B5EF4-FFF2-40B4-BE49-F238E27FC236}">
                    <a16:creationId xmlns:a16="http://schemas.microsoft.com/office/drawing/2014/main" id="{975A8D12-DAB0-4E4B-AB54-E33F0E1A4D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713" y="2700338"/>
                <a:ext cx="52388" cy="30163"/>
              </a:xfrm>
              <a:custGeom>
                <a:avLst/>
                <a:gdLst>
                  <a:gd name="T0" fmla="*/ 23 w 23"/>
                  <a:gd name="T1" fmla="*/ 13 h 13"/>
                  <a:gd name="T2" fmla="*/ 11 w 23"/>
                  <a:gd name="T3" fmla="*/ 7 h 13"/>
                  <a:gd name="T4" fmla="*/ 0 w 23"/>
                  <a:gd name="T5" fmla="*/ 0 h 13"/>
                  <a:gd name="T6" fmla="*/ 12 w 23"/>
                  <a:gd name="T7" fmla="*/ 5 h 13"/>
                  <a:gd name="T8" fmla="*/ 23 w 23"/>
                  <a:gd name="T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3">
                    <a:moveTo>
                      <a:pt x="23" y="13"/>
                    </a:moveTo>
                    <a:cubicBezTo>
                      <a:pt x="22" y="13"/>
                      <a:pt x="17" y="11"/>
                      <a:pt x="11" y="7"/>
                    </a:cubicBezTo>
                    <a:cubicBezTo>
                      <a:pt x="5" y="4"/>
                      <a:pt x="0" y="1"/>
                      <a:pt x="0" y="0"/>
                    </a:cubicBezTo>
                    <a:cubicBezTo>
                      <a:pt x="0" y="0"/>
                      <a:pt x="6" y="2"/>
                      <a:pt x="12" y="5"/>
                    </a:cubicBezTo>
                    <a:cubicBezTo>
                      <a:pt x="18" y="9"/>
                      <a:pt x="23" y="12"/>
                      <a:pt x="23" y="13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1" name="任意多边形: 形状 1410">
                <a:extLst>
                  <a:ext uri="{FF2B5EF4-FFF2-40B4-BE49-F238E27FC236}">
                    <a16:creationId xmlns:a16="http://schemas.microsoft.com/office/drawing/2014/main" id="{53D73C1D-B574-4EE9-A403-A264F53210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6025" y="2578101"/>
                <a:ext cx="55563" cy="47625"/>
              </a:xfrm>
              <a:custGeom>
                <a:avLst/>
                <a:gdLst>
                  <a:gd name="T0" fmla="*/ 23 w 24"/>
                  <a:gd name="T1" fmla="*/ 0 h 21"/>
                  <a:gd name="T2" fmla="*/ 13 w 24"/>
                  <a:gd name="T3" fmla="*/ 11 h 21"/>
                  <a:gd name="T4" fmla="*/ 1 w 24"/>
                  <a:gd name="T5" fmla="*/ 21 h 21"/>
                  <a:gd name="T6" fmla="*/ 11 w 24"/>
                  <a:gd name="T7" fmla="*/ 10 h 21"/>
                  <a:gd name="T8" fmla="*/ 23 w 24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1">
                    <a:moveTo>
                      <a:pt x="23" y="0"/>
                    </a:moveTo>
                    <a:cubicBezTo>
                      <a:pt x="24" y="0"/>
                      <a:pt x="19" y="5"/>
                      <a:pt x="13" y="11"/>
                    </a:cubicBezTo>
                    <a:cubicBezTo>
                      <a:pt x="6" y="17"/>
                      <a:pt x="1" y="21"/>
                      <a:pt x="1" y="21"/>
                    </a:cubicBezTo>
                    <a:cubicBezTo>
                      <a:pt x="0" y="20"/>
                      <a:pt x="5" y="15"/>
                      <a:pt x="11" y="10"/>
                    </a:cubicBezTo>
                    <a:cubicBezTo>
                      <a:pt x="18" y="4"/>
                      <a:pt x="23" y="0"/>
                      <a:pt x="23" y="0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2" name="矩形 1411">
                <a:extLst>
                  <a:ext uri="{FF2B5EF4-FFF2-40B4-BE49-F238E27FC236}">
                    <a16:creationId xmlns:a16="http://schemas.microsoft.com/office/drawing/2014/main" id="{94C93CE8-04FC-482E-A4F0-FA8750C73E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6025" y="2574926"/>
                <a:ext cx="144463" cy="11271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3" name="任意多边形: 形状 1412">
                <a:extLst>
                  <a:ext uri="{FF2B5EF4-FFF2-40B4-BE49-F238E27FC236}">
                    <a16:creationId xmlns:a16="http://schemas.microsoft.com/office/drawing/2014/main" id="{66D5EE48-79C0-47A9-A42B-F4A04AFE52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5550" y="2605088"/>
                <a:ext cx="12700" cy="14288"/>
              </a:xfrm>
              <a:custGeom>
                <a:avLst/>
                <a:gdLst>
                  <a:gd name="T0" fmla="*/ 5 w 6"/>
                  <a:gd name="T1" fmla="*/ 0 h 6"/>
                  <a:gd name="T2" fmla="*/ 0 w 6"/>
                  <a:gd name="T3" fmla="*/ 4 h 6"/>
                  <a:gd name="T4" fmla="*/ 1 w 6"/>
                  <a:gd name="T5" fmla="*/ 6 h 6"/>
                  <a:gd name="T6" fmla="*/ 6 w 6"/>
                  <a:gd name="T7" fmla="*/ 1 h 6"/>
                  <a:gd name="T8" fmla="*/ 5 w 6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5" y="0"/>
                    </a:moveTo>
                    <a:cubicBezTo>
                      <a:pt x="3" y="1"/>
                      <a:pt x="2" y="3"/>
                      <a:pt x="0" y="4"/>
                    </a:cubicBezTo>
                    <a:cubicBezTo>
                      <a:pt x="1" y="5"/>
                      <a:pt x="1" y="5"/>
                      <a:pt x="1" y="6"/>
                    </a:cubicBezTo>
                    <a:cubicBezTo>
                      <a:pt x="3" y="4"/>
                      <a:pt x="4" y="3"/>
                      <a:pt x="6" y="1"/>
                    </a:cubicBezTo>
                    <a:cubicBezTo>
                      <a:pt x="6" y="1"/>
                      <a:pt x="5" y="1"/>
                      <a:pt x="5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4" name="任意多边形: 形状 1413">
                <a:extLst>
                  <a:ext uri="{FF2B5EF4-FFF2-40B4-BE49-F238E27FC236}">
                    <a16:creationId xmlns:a16="http://schemas.microsoft.com/office/drawing/2014/main" id="{26BB2C4E-C7FC-4113-BCB4-0DD61B6A6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38" y="2565401"/>
                <a:ext cx="120650" cy="85725"/>
              </a:xfrm>
              <a:custGeom>
                <a:avLst/>
                <a:gdLst>
                  <a:gd name="T0" fmla="*/ 53 w 53"/>
                  <a:gd name="T1" fmla="*/ 36 h 37"/>
                  <a:gd name="T2" fmla="*/ 50 w 53"/>
                  <a:gd name="T3" fmla="*/ 37 h 37"/>
                  <a:gd name="T4" fmla="*/ 43 w 53"/>
                  <a:gd name="T5" fmla="*/ 36 h 37"/>
                  <a:gd name="T6" fmla="*/ 32 w 53"/>
                  <a:gd name="T7" fmla="*/ 34 h 37"/>
                  <a:gd name="T8" fmla="*/ 20 w 53"/>
                  <a:gd name="T9" fmla="*/ 28 h 37"/>
                  <a:gd name="T10" fmla="*/ 10 w 53"/>
                  <a:gd name="T11" fmla="*/ 18 h 37"/>
                  <a:gd name="T12" fmla="*/ 4 w 53"/>
                  <a:gd name="T13" fmla="*/ 9 h 37"/>
                  <a:gd name="T14" fmla="*/ 1 w 53"/>
                  <a:gd name="T15" fmla="*/ 2 h 37"/>
                  <a:gd name="T16" fmla="*/ 0 w 53"/>
                  <a:gd name="T17" fmla="*/ 0 h 37"/>
                  <a:gd name="T18" fmla="*/ 5 w 53"/>
                  <a:gd name="T19" fmla="*/ 9 h 37"/>
                  <a:gd name="T20" fmla="*/ 11 w 53"/>
                  <a:gd name="T21" fmla="*/ 17 h 37"/>
                  <a:gd name="T22" fmla="*/ 21 w 53"/>
                  <a:gd name="T23" fmla="*/ 26 h 37"/>
                  <a:gd name="T24" fmla="*/ 32 w 53"/>
                  <a:gd name="T25" fmla="*/ 32 h 37"/>
                  <a:gd name="T26" fmla="*/ 43 w 53"/>
                  <a:gd name="T27" fmla="*/ 35 h 37"/>
                  <a:gd name="T28" fmla="*/ 53 w 53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3" h="37">
                    <a:moveTo>
                      <a:pt x="53" y="36"/>
                    </a:moveTo>
                    <a:cubicBezTo>
                      <a:pt x="53" y="36"/>
                      <a:pt x="52" y="36"/>
                      <a:pt x="50" y="37"/>
                    </a:cubicBezTo>
                    <a:cubicBezTo>
                      <a:pt x="48" y="37"/>
                      <a:pt x="46" y="37"/>
                      <a:pt x="43" y="36"/>
                    </a:cubicBezTo>
                    <a:cubicBezTo>
                      <a:pt x="39" y="36"/>
                      <a:pt x="36" y="35"/>
                      <a:pt x="32" y="34"/>
                    </a:cubicBezTo>
                    <a:cubicBezTo>
                      <a:pt x="28" y="32"/>
                      <a:pt x="24" y="30"/>
                      <a:pt x="20" y="28"/>
                    </a:cubicBezTo>
                    <a:cubicBezTo>
                      <a:pt x="16" y="25"/>
                      <a:pt x="12" y="22"/>
                      <a:pt x="10" y="18"/>
                    </a:cubicBezTo>
                    <a:cubicBezTo>
                      <a:pt x="7" y="15"/>
                      <a:pt x="5" y="12"/>
                      <a:pt x="4" y="9"/>
                    </a:cubicBezTo>
                    <a:cubicBezTo>
                      <a:pt x="2" y="6"/>
                      <a:pt x="1" y="4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2" y="3"/>
                      <a:pt x="5" y="9"/>
                    </a:cubicBezTo>
                    <a:cubicBezTo>
                      <a:pt x="6" y="11"/>
                      <a:pt x="8" y="14"/>
                      <a:pt x="11" y="17"/>
                    </a:cubicBezTo>
                    <a:cubicBezTo>
                      <a:pt x="14" y="20"/>
                      <a:pt x="17" y="23"/>
                      <a:pt x="21" y="26"/>
                    </a:cubicBezTo>
                    <a:cubicBezTo>
                      <a:pt x="25" y="29"/>
                      <a:pt x="29" y="31"/>
                      <a:pt x="32" y="32"/>
                    </a:cubicBezTo>
                    <a:cubicBezTo>
                      <a:pt x="36" y="33"/>
                      <a:pt x="40" y="34"/>
                      <a:pt x="43" y="35"/>
                    </a:cubicBezTo>
                    <a:cubicBezTo>
                      <a:pt x="49" y="36"/>
                      <a:pt x="53" y="36"/>
                      <a:pt x="53" y="3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5" name="任意多边形: 形状 1414">
                <a:extLst>
                  <a:ext uri="{FF2B5EF4-FFF2-40B4-BE49-F238E27FC236}">
                    <a16:creationId xmlns:a16="http://schemas.microsoft.com/office/drawing/2014/main" id="{329CD3F1-88FF-4C4C-82E8-FDEBC901A1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4225" y="2490788"/>
                <a:ext cx="795338" cy="430213"/>
              </a:xfrm>
              <a:custGeom>
                <a:avLst/>
                <a:gdLst>
                  <a:gd name="T0" fmla="*/ 20 w 348"/>
                  <a:gd name="T1" fmla="*/ 134 h 188"/>
                  <a:gd name="T2" fmla="*/ 78 w 348"/>
                  <a:gd name="T3" fmla="*/ 127 h 188"/>
                  <a:gd name="T4" fmla="*/ 119 w 348"/>
                  <a:gd name="T5" fmla="*/ 153 h 188"/>
                  <a:gd name="T6" fmla="*/ 275 w 348"/>
                  <a:gd name="T7" fmla="*/ 116 h 188"/>
                  <a:gd name="T8" fmla="*/ 279 w 348"/>
                  <a:gd name="T9" fmla="*/ 9 h 188"/>
                  <a:gd name="T10" fmla="*/ 348 w 348"/>
                  <a:gd name="T11" fmla="*/ 0 h 188"/>
                  <a:gd name="T12" fmla="*/ 348 w 348"/>
                  <a:gd name="T13" fmla="*/ 129 h 188"/>
                  <a:gd name="T14" fmla="*/ 287 w 348"/>
                  <a:gd name="T15" fmla="*/ 187 h 188"/>
                  <a:gd name="T16" fmla="*/ 59 w 348"/>
                  <a:gd name="T17" fmla="*/ 181 h 188"/>
                  <a:gd name="T18" fmla="*/ 49 w 348"/>
                  <a:gd name="T19" fmla="*/ 162 h 188"/>
                  <a:gd name="T20" fmla="*/ 0 w 348"/>
                  <a:gd name="T21" fmla="*/ 160 h 188"/>
                  <a:gd name="T22" fmla="*/ 20 w 348"/>
                  <a:gd name="T23" fmla="*/ 134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8" h="188">
                    <a:moveTo>
                      <a:pt x="20" y="134"/>
                    </a:moveTo>
                    <a:cubicBezTo>
                      <a:pt x="78" y="127"/>
                      <a:pt x="78" y="127"/>
                      <a:pt x="78" y="127"/>
                    </a:cubicBezTo>
                    <a:cubicBezTo>
                      <a:pt x="119" y="153"/>
                      <a:pt x="119" y="153"/>
                      <a:pt x="119" y="153"/>
                    </a:cubicBezTo>
                    <a:cubicBezTo>
                      <a:pt x="275" y="116"/>
                      <a:pt x="275" y="116"/>
                      <a:pt x="275" y="116"/>
                    </a:cubicBezTo>
                    <a:cubicBezTo>
                      <a:pt x="279" y="9"/>
                      <a:pt x="279" y="9"/>
                      <a:pt x="279" y="9"/>
                    </a:cubicBezTo>
                    <a:cubicBezTo>
                      <a:pt x="348" y="0"/>
                      <a:pt x="348" y="0"/>
                      <a:pt x="348" y="0"/>
                    </a:cubicBezTo>
                    <a:cubicBezTo>
                      <a:pt x="348" y="129"/>
                      <a:pt x="348" y="129"/>
                      <a:pt x="348" y="129"/>
                    </a:cubicBezTo>
                    <a:cubicBezTo>
                      <a:pt x="348" y="162"/>
                      <a:pt x="320" y="188"/>
                      <a:pt x="287" y="187"/>
                    </a:cubicBezTo>
                    <a:cubicBezTo>
                      <a:pt x="59" y="181"/>
                      <a:pt x="59" y="181"/>
                      <a:pt x="59" y="181"/>
                    </a:cubicBezTo>
                    <a:cubicBezTo>
                      <a:pt x="49" y="162"/>
                      <a:pt x="49" y="162"/>
                      <a:pt x="49" y="162"/>
                    </a:cubicBezTo>
                    <a:cubicBezTo>
                      <a:pt x="0" y="160"/>
                      <a:pt x="0" y="160"/>
                      <a:pt x="0" y="160"/>
                    </a:cubicBezTo>
                    <a:lnTo>
                      <a:pt x="20" y="134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6" name="任意多边形: 形状 1415">
                <a:extLst>
                  <a:ext uri="{FF2B5EF4-FFF2-40B4-BE49-F238E27FC236}">
                    <a16:creationId xmlns:a16="http://schemas.microsoft.com/office/drawing/2014/main" id="{3C2FABE0-BB5C-4C2E-8CEF-852DD3C16F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9463" y="2755901"/>
                <a:ext cx="628650" cy="100013"/>
              </a:xfrm>
              <a:custGeom>
                <a:avLst/>
                <a:gdLst>
                  <a:gd name="T0" fmla="*/ 275 w 275"/>
                  <a:gd name="T1" fmla="*/ 0 h 44"/>
                  <a:gd name="T2" fmla="*/ 272 w 275"/>
                  <a:gd name="T3" fmla="*/ 1 h 44"/>
                  <a:gd name="T4" fmla="*/ 264 w 275"/>
                  <a:gd name="T5" fmla="*/ 3 h 44"/>
                  <a:gd name="T6" fmla="*/ 233 w 275"/>
                  <a:gd name="T7" fmla="*/ 11 h 44"/>
                  <a:gd name="T8" fmla="*/ 129 w 275"/>
                  <a:gd name="T9" fmla="*/ 36 h 44"/>
                  <a:gd name="T10" fmla="*/ 119 w 275"/>
                  <a:gd name="T11" fmla="*/ 38 h 44"/>
                  <a:gd name="T12" fmla="*/ 119 w 275"/>
                  <a:gd name="T13" fmla="*/ 38 h 44"/>
                  <a:gd name="T14" fmla="*/ 119 w 275"/>
                  <a:gd name="T15" fmla="*/ 38 h 44"/>
                  <a:gd name="T16" fmla="*/ 78 w 275"/>
                  <a:gd name="T17" fmla="*/ 11 h 44"/>
                  <a:gd name="T18" fmla="*/ 78 w 275"/>
                  <a:gd name="T19" fmla="*/ 11 h 44"/>
                  <a:gd name="T20" fmla="*/ 21 w 275"/>
                  <a:gd name="T21" fmla="*/ 18 h 44"/>
                  <a:gd name="T22" fmla="*/ 21 w 275"/>
                  <a:gd name="T23" fmla="*/ 18 h 44"/>
                  <a:gd name="T24" fmla="*/ 6 w 275"/>
                  <a:gd name="T25" fmla="*/ 37 h 44"/>
                  <a:gd name="T26" fmla="*/ 1 w 275"/>
                  <a:gd name="T27" fmla="*/ 42 h 44"/>
                  <a:gd name="T28" fmla="*/ 0 w 275"/>
                  <a:gd name="T29" fmla="*/ 44 h 44"/>
                  <a:gd name="T30" fmla="*/ 1 w 275"/>
                  <a:gd name="T31" fmla="*/ 42 h 44"/>
                  <a:gd name="T32" fmla="*/ 5 w 275"/>
                  <a:gd name="T33" fmla="*/ 37 h 44"/>
                  <a:gd name="T34" fmla="*/ 20 w 275"/>
                  <a:gd name="T35" fmla="*/ 17 h 44"/>
                  <a:gd name="T36" fmla="*/ 20 w 275"/>
                  <a:gd name="T37" fmla="*/ 17 h 44"/>
                  <a:gd name="T38" fmla="*/ 20 w 275"/>
                  <a:gd name="T39" fmla="*/ 17 h 44"/>
                  <a:gd name="T40" fmla="*/ 78 w 275"/>
                  <a:gd name="T41" fmla="*/ 10 h 44"/>
                  <a:gd name="T42" fmla="*/ 79 w 275"/>
                  <a:gd name="T43" fmla="*/ 10 h 44"/>
                  <a:gd name="T44" fmla="*/ 79 w 275"/>
                  <a:gd name="T45" fmla="*/ 10 h 44"/>
                  <a:gd name="T46" fmla="*/ 120 w 275"/>
                  <a:gd name="T47" fmla="*/ 37 h 44"/>
                  <a:gd name="T48" fmla="*/ 119 w 275"/>
                  <a:gd name="T49" fmla="*/ 36 h 44"/>
                  <a:gd name="T50" fmla="*/ 129 w 275"/>
                  <a:gd name="T51" fmla="*/ 34 h 44"/>
                  <a:gd name="T52" fmla="*/ 232 w 275"/>
                  <a:gd name="T53" fmla="*/ 10 h 44"/>
                  <a:gd name="T54" fmla="*/ 264 w 275"/>
                  <a:gd name="T55" fmla="*/ 2 h 44"/>
                  <a:gd name="T56" fmla="*/ 272 w 275"/>
                  <a:gd name="T57" fmla="*/ 0 h 44"/>
                  <a:gd name="T58" fmla="*/ 275 w 275"/>
                  <a:gd name="T5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75" h="44">
                    <a:moveTo>
                      <a:pt x="275" y="0"/>
                    </a:moveTo>
                    <a:cubicBezTo>
                      <a:pt x="275" y="0"/>
                      <a:pt x="274" y="0"/>
                      <a:pt x="272" y="1"/>
                    </a:cubicBezTo>
                    <a:cubicBezTo>
                      <a:pt x="270" y="1"/>
                      <a:pt x="267" y="2"/>
                      <a:pt x="264" y="3"/>
                    </a:cubicBezTo>
                    <a:cubicBezTo>
                      <a:pt x="256" y="5"/>
                      <a:pt x="246" y="8"/>
                      <a:pt x="233" y="11"/>
                    </a:cubicBezTo>
                    <a:cubicBezTo>
                      <a:pt x="206" y="17"/>
                      <a:pt x="169" y="26"/>
                      <a:pt x="129" y="36"/>
                    </a:cubicBezTo>
                    <a:cubicBezTo>
                      <a:pt x="126" y="37"/>
                      <a:pt x="123" y="37"/>
                      <a:pt x="119" y="38"/>
                    </a:cubicBezTo>
                    <a:cubicBezTo>
                      <a:pt x="119" y="38"/>
                      <a:pt x="119" y="38"/>
                      <a:pt x="119" y="38"/>
                    </a:cubicBezTo>
                    <a:cubicBezTo>
                      <a:pt x="119" y="38"/>
                      <a:pt x="119" y="38"/>
                      <a:pt x="119" y="38"/>
                    </a:cubicBezTo>
                    <a:cubicBezTo>
                      <a:pt x="104" y="29"/>
                      <a:pt x="91" y="20"/>
                      <a:pt x="78" y="11"/>
                    </a:cubicBezTo>
                    <a:cubicBezTo>
                      <a:pt x="78" y="11"/>
                      <a:pt x="78" y="11"/>
                      <a:pt x="78" y="11"/>
                    </a:cubicBezTo>
                    <a:cubicBezTo>
                      <a:pt x="56" y="14"/>
                      <a:pt x="36" y="16"/>
                      <a:pt x="21" y="18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14" y="26"/>
                      <a:pt x="9" y="33"/>
                      <a:pt x="6" y="37"/>
                    </a:cubicBezTo>
                    <a:cubicBezTo>
                      <a:pt x="4" y="39"/>
                      <a:pt x="2" y="41"/>
                      <a:pt x="1" y="42"/>
                    </a:cubicBezTo>
                    <a:cubicBezTo>
                      <a:pt x="1" y="44"/>
                      <a:pt x="0" y="44"/>
                      <a:pt x="0" y="44"/>
                    </a:cubicBezTo>
                    <a:cubicBezTo>
                      <a:pt x="0" y="44"/>
                      <a:pt x="0" y="43"/>
                      <a:pt x="1" y="42"/>
                    </a:cubicBezTo>
                    <a:cubicBezTo>
                      <a:pt x="2" y="41"/>
                      <a:pt x="3" y="39"/>
                      <a:pt x="5" y="37"/>
                    </a:cubicBezTo>
                    <a:cubicBezTo>
                      <a:pt x="9" y="32"/>
                      <a:pt x="14" y="26"/>
                      <a:pt x="20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36" y="15"/>
                      <a:pt x="55" y="13"/>
                      <a:pt x="78" y="10"/>
                    </a:cubicBezTo>
                    <a:cubicBezTo>
                      <a:pt x="79" y="10"/>
                      <a:pt x="79" y="10"/>
                      <a:pt x="79" y="10"/>
                    </a:cubicBezTo>
                    <a:cubicBezTo>
                      <a:pt x="79" y="10"/>
                      <a:pt x="79" y="10"/>
                      <a:pt x="79" y="10"/>
                    </a:cubicBezTo>
                    <a:cubicBezTo>
                      <a:pt x="91" y="18"/>
                      <a:pt x="105" y="27"/>
                      <a:pt x="120" y="37"/>
                    </a:cubicBezTo>
                    <a:cubicBezTo>
                      <a:pt x="119" y="36"/>
                      <a:pt x="119" y="36"/>
                      <a:pt x="119" y="36"/>
                    </a:cubicBezTo>
                    <a:cubicBezTo>
                      <a:pt x="122" y="36"/>
                      <a:pt x="125" y="35"/>
                      <a:pt x="129" y="34"/>
                    </a:cubicBezTo>
                    <a:cubicBezTo>
                      <a:pt x="169" y="25"/>
                      <a:pt x="206" y="16"/>
                      <a:pt x="232" y="10"/>
                    </a:cubicBezTo>
                    <a:cubicBezTo>
                      <a:pt x="245" y="7"/>
                      <a:pt x="256" y="4"/>
                      <a:pt x="264" y="2"/>
                    </a:cubicBezTo>
                    <a:cubicBezTo>
                      <a:pt x="267" y="2"/>
                      <a:pt x="270" y="1"/>
                      <a:pt x="272" y="0"/>
                    </a:cubicBezTo>
                    <a:cubicBezTo>
                      <a:pt x="274" y="0"/>
                      <a:pt x="275" y="0"/>
                      <a:pt x="275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7" name="任意多边形: 形状 1416">
                <a:extLst>
                  <a:ext uri="{FF2B5EF4-FFF2-40B4-BE49-F238E27FC236}">
                    <a16:creationId xmlns:a16="http://schemas.microsoft.com/office/drawing/2014/main" id="{90E8CD10-58B5-41E3-A3E1-A966D9FDC8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9625" y="2830513"/>
                <a:ext cx="93663" cy="30163"/>
              </a:xfrm>
              <a:custGeom>
                <a:avLst/>
                <a:gdLst>
                  <a:gd name="T0" fmla="*/ 41 w 41"/>
                  <a:gd name="T1" fmla="*/ 1 h 13"/>
                  <a:gd name="T2" fmla="*/ 19 w 41"/>
                  <a:gd name="T3" fmla="*/ 2 h 13"/>
                  <a:gd name="T4" fmla="*/ 14 w 41"/>
                  <a:gd name="T5" fmla="*/ 2 h 13"/>
                  <a:gd name="T6" fmla="*/ 15 w 41"/>
                  <a:gd name="T7" fmla="*/ 2 h 13"/>
                  <a:gd name="T8" fmla="*/ 0 w 41"/>
                  <a:gd name="T9" fmla="*/ 13 h 13"/>
                  <a:gd name="T10" fmla="*/ 14 w 41"/>
                  <a:gd name="T11" fmla="*/ 0 h 13"/>
                  <a:gd name="T12" fmla="*/ 14 w 41"/>
                  <a:gd name="T13" fmla="*/ 0 h 13"/>
                  <a:gd name="T14" fmla="*/ 14 w 41"/>
                  <a:gd name="T15" fmla="*/ 0 h 13"/>
                  <a:gd name="T16" fmla="*/ 19 w 41"/>
                  <a:gd name="T17" fmla="*/ 0 h 13"/>
                  <a:gd name="T18" fmla="*/ 41 w 41"/>
                  <a:gd name="T19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13">
                    <a:moveTo>
                      <a:pt x="41" y="1"/>
                    </a:moveTo>
                    <a:cubicBezTo>
                      <a:pt x="41" y="2"/>
                      <a:pt x="31" y="2"/>
                      <a:pt x="19" y="2"/>
                    </a:cubicBezTo>
                    <a:cubicBezTo>
                      <a:pt x="17" y="2"/>
                      <a:pt x="16" y="2"/>
                      <a:pt x="14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7" y="9"/>
                      <a:pt x="1" y="13"/>
                      <a:pt x="0" y="13"/>
                    </a:cubicBezTo>
                    <a:cubicBezTo>
                      <a:pt x="0" y="13"/>
                      <a:pt x="6" y="7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6" y="0"/>
                      <a:pt x="17" y="0"/>
                      <a:pt x="19" y="0"/>
                    </a:cubicBezTo>
                    <a:cubicBezTo>
                      <a:pt x="31" y="0"/>
                      <a:pt x="41" y="1"/>
                      <a:pt x="41" y="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8" name="任意多边形: 形状 1417">
                <a:extLst>
                  <a:ext uri="{FF2B5EF4-FFF2-40B4-BE49-F238E27FC236}">
                    <a16:creationId xmlns:a16="http://schemas.microsoft.com/office/drawing/2014/main" id="{C8B7E9AC-5CAC-4044-9CF8-548959AAE4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2875" y="2755901"/>
                <a:ext cx="61913" cy="41275"/>
              </a:xfrm>
              <a:custGeom>
                <a:avLst/>
                <a:gdLst>
                  <a:gd name="T0" fmla="*/ 27 w 27"/>
                  <a:gd name="T1" fmla="*/ 17 h 18"/>
                  <a:gd name="T2" fmla="*/ 16 w 27"/>
                  <a:gd name="T3" fmla="*/ 5 h 18"/>
                  <a:gd name="T4" fmla="*/ 0 w 27"/>
                  <a:gd name="T5" fmla="*/ 0 h 18"/>
                  <a:gd name="T6" fmla="*/ 5 w 27"/>
                  <a:gd name="T7" fmla="*/ 0 h 18"/>
                  <a:gd name="T8" fmla="*/ 17 w 27"/>
                  <a:gd name="T9" fmla="*/ 4 h 18"/>
                  <a:gd name="T10" fmla="*/ 25 w 27"/>
                  <a:gd name="T11" fmla="*/ 13 h 18"/>
                  <a:gd name="T12" fmla="*/ 27 w 27"/>
                  <a:gd name="T13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8">
                    <a:moveTo>
                      <a:pt x="27" y="17"/>
                    </a:moveTo>
                    <a:cubicBezTo>
                      <a:pt x="27" y="18"/>
                      <a:pt x="24" y="10"/>
                      <a:pt x="16" y="5"/>
                    </a:cubicBezTo>
                    <a:cubicBezTo>
                      <a:pt x="8" y="0"/>
                      <a:pt x="0" y="1"/>
                      <a:pt x="0" y="0"/>
                    </a:cubicBezTo>
                    <a:cubicBezTo>
                      <a:pt x="0" y="0"/>
                      <a:pt x="2" y="0"/>
                      <a:pt x="5" y="0"/>
                    </a:cubicBezTo>
                    <a:cubicBezTo>
                      <a:pt x="8" y="0"/>
                      <a:pt x="13" y="1"/>
                      <a:pt x="17" y="4"/>
                    </a:cubicBezTo>
                    <a:cubicBezTo>
                      <a:pt x="21" y="7"/>
                      <a:pt x="24" y="10"/>
                      <a:pt x="25" y="13"/>
                    </a:cubicBezTo>
                    <a:cubicBezTo>
                      <a:pt x="27" y="15"/>
                      <a:pt x="27" y="17"/>
                      <a:pt x="27" y="17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9" name="矩形 1418">
                <a:extLst>
                  <a:ext uri="{FF2B5EF4-FFF2-40B4-BE49-F238E27FC236}">
                    <a16:creationId xmlns:a16="http://schemas.microsoft.com/office/drawing/2014/main" id="{E55B93E4-6FFD-4746-AFC5-D91426D663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0300" y="4748213"/>
                <a:ext cx="596900" cy="82550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0" name="任意多边形: 形状 1419">
                <a:extLst>
                  <a:ext uri="{FF2B5EF4-FFF2-40B4-BE49-F238E27FC236}">
                    <a16:creationId xmlns:a16="http://schemas.microsoft.com/office/drawing/2014/main" id="{43714271-F4D0-48FB-9A37-98F3AA15D0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68713" y="4746626"/>
                <a:ext cx="598488" cy="84138"/>
              </a:xfrm>
              <a:custGeom>
                <a:avLst/>
                <a:gdLst>
                  <a:gd name="T0" fmla="*/ 377 w 377"/>
                  <a:gd name="T1" fmla="*/ 53 h 53"/>
                  <a:gd name="T2" fmla="*/ 0 w 377"/>
                  <a:gd name="T3" fmla="*/ 53 h 53"/>
                  <a:gd name="T4" fmla="*/ 0 w 377"/>
                  <a:gd name="T5" fmla="*/ 0 h 53"/>
                  <a:gd name="T6" fmla="*/ 377 w 377"/>
                  <a:gd name="T7" fmla="*/ 0 h 53"/>
                  <a:gd name="T8" fmla="*/ 377 w 377"/>
                  <a:gd name="T9" fmla="*/ 53 h 53"/>
                  <a:gd name="T10" fmla="*/ 1 w 377"/>
                  <a:gd name="T11" fmla="*/ 52 h 53"/>
                  <a:gd name="T12" fmla="*/ 376 w 377"/>
                  <a:gd name="T13" fmla="*/ 52 h 53"/>
                  <a:gd name="T14" fmla="*/ 376 w 377"/>
                  <a:gd name="T15" fmla="*/ 1 h 53"/>
                  <a:gd name="T16" fmla="*/ 1 w 377"/>
                  <a:gd name="T17" fmla="*/ 1 h 53"/>
                  <a:gd name="T18" fmla="*/ 1 w 377"/>
                  <a:gd name="T19" fmla="*/ 5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7" h="53">
                    <a:moveTo>
                      <a:pt x="377" y="53"/>
                    </a:moveTo>
                    <a:lnTo>
                      <a:pt x="0" y="53"/>
                    </a:lnTo>
                    <a:lnTo>
                      <a:pt x="0" y="0"/>
                    </a:lnTo>
                    <a:lnTo>
                      <a:pt x="377" y="0"/>
                    </a:lnTo>
                    <a:lnTo>
                      <a:pt x="377" y="53"/>
                    </a:lnTo>
                    <a:close/>
                    <a:moveTo>
                      <a:pt x="1" y="52"/>
                    </a:moveTo>
                    <a:lnTo>
                      <a:pt x="376" y="52"/>
                    </a:lnTo>
                    <a:lnTo>
                      <a:pt x="376" y="1"/>
                    </a:lnTo>
                    <a:lnTo>
                      <a:pt x="1" y="1"/>
                    </a:lnTo>
                    <a:lnTo>
                      <a:pt x="1" y="52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1" name="任意多边形: 形状 1420">
                <a:extLst>
                  <a:ext uri="{FF2B5EF4-FFF2-40B4-BE49-F238E27FC236}">
                    <a16:creationId xmlns:a16="http://schemas.microsoft.com/office/drawing/2014/main" id="{26F3E36B-99D9-4780-B8E0-B8F68D04D5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5863" y="4803776"/>
                <a:ext cx="487363" cy="422275"/>
              </a:xfrm>
              <a:custGeom>
                <a:avLst/>
                <a:gdLst>
                  <a:gd name="T0" fmla="*/ 0 w 307"/>
                  <a:gd name="T1" fmla="*/ 0 h 266"/>
                  <a:gd name="T2" fmla="*/ 53 w 307"/>
                  <a:gd name="T3" fmla="*/ 266 h 266"/>
                  <a:gd name="T4" fmla="*/ 253 w 307"/>
                  <a:gd name="T5" fmla="*/ 266 h 266"/>
                  <a:gd name="T6" fmla="*/ 307 w 307"/>
                  <a:gd name="T7" fmla="*/ 17 h 266"/>
                  <a:gd name="T8" fmla="*/ 0 w 307"/>
                  <a:gd name="T9" fmla="*/ 0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266">
                    <a:moveTo>
                      <a:pt x="0" y="0"/>
                    </a:moveTo>
                    <a:lnTo>
                      <a:pt x="53" y="266"/>
                    </a:lnTo>
                    <a:lnTo>
                      <a:pt x="253" y="266"/>
                    </a:lnTo>
                    <a:lnTo>
                      <a:pt x="307" y="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2" name="任意多边形: 形状 1421">
                <a:extLst>
                  <a:ext uri="{FF2B5EF4-FFF2-40B4-BE49-F238E27FC236}">
                    <a16:creationId xmlns:a16="http://schemas.microsoft.com/office/drawing/2014/main" id="{0FF6DC0F-388C-4737-9A81-5F8E3A1600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5863" y="5187951"/>
                <a:ext cx="487363" cy="61913"/>
              </a:xfrm>
              <a:custGeom>
                <a:avLst/>
                <a:gdLst>
                  <a:gd name="T0" fmla="*/ 0 w 307"/>
                  <a:gd name="T1" fmla="*/ 0 h 39"/>
                  <a:gd name="T2" fmla="*/ 29 w 307"/>
                  <a:gd name="T3" fmla="*/ 39 h 39"/>
                  <a:gd name="T4" fmla="*/ 272 w 307"/>
                  <a:gd name="T5" fmla="*/ 39 h 39"/>
                  <a:gd name="T6" fmla="*/ 307 w 307"/>
                  <a:gd name="T7" fmla="*/ 0 h 39"/>
                  <a:gd name="T8" fmla="*/ 0 w 307"/>
                  <a:gd name="T9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39">
                    <a:moveTo>
                      <a:pt x="0" y="0"/>
                    </a:moveTo>
                    <a:lnTo>
                      <a:pt x="29" y="39"/>
                    </a:lnTo>
                    <a:lnTo>
                      <a:pt x="272" y="39"/>
                    </a:lnTo>
                    <a:lnTo>
                      <a:pt x="30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3" name="任意多边形: 形状 1422">
                <a:extLst>
                  <a:ext uri="{FF2B5EF4-FFF2-40B4-BE49-F238E27FC236}">
                    <a16:creationId xmlns:a16="http://schemas.microsoft.com/office/drawing/2014/main" id="{C79A6663-A1EC-4041-916F-AB56E8049F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3350" y="3937001"/>
                <a:ext cx="4763" cy="877888"/>
              </a:xfrm>
              <a:custGeom>
                <a:avLst/>
                <a:gdLst>
                  <a:gd name="T0" fmla="*/ 1 w 2"/>
                  <a:gd name="T1" fmla="*/ 384 h 384"/>
                  <a:gd name="T2" fmla="*/ 0 w 2"/>
                  <a:gd name="T3" fmla="*/ 192 h 384"/>
                  <a:gd name="T4" fmla="*/ 0 w 2"/>
                  <a:gd name="T5" fmla="*/ 0 h 384"/>
                  <a:gd name="T6" fmla="*/ 2 w 2"/>
                  <a:gd name="T7" fmla="*/ 192 h 384"/>
                  <a:gd name="T8" fmla="*/ 1 w 2"/>
                  <a:gd name="T9" fmla="*/ 38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84">
                    <a:moveTo>
                      <a:pt x="1" y="384"/>
                    </a:moveTo>
                    <a:cubicBezTo>
                      <a:pt x="1" y="384"/>
                      <a:pt x="0" y="298"/>
                      <a:pt x="0" y="192"/>
                    </a:cubicBezTo>
                    <a:cubicBezTo>
                      <a:pt x="0" y="86"/>
                      <a:pt x="0" y="0"/>
                      <a:pt x="0" y="0"/>
                    </a:cubicBezTo>
                    <a:cubicBezTo>
                      <a:pt x="1" y="0"/>
                      <a:pt x="1" y="86"/>
                      <a:pt x="2" y="192"/>
                    </a:cubicBezTo>
                    <a:cubicBezTo>
                      <a:pt x="2" y="298"/>
                      <a:pt x="2" y="384"/>
                      <a:pt x="1" y="38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4" name="任意多边形: 形状 1423">
                <a:extLst>
                  <a:ext uri="{FF2B5EF4-FFF2-40B4-BE49-F238E27FC236}">
                    <a16:creationId xmlns:a16="http://schemas.microsoft.com/office/drawing/2014/main" id="{BA5C890D-7491-4375-AF87-97F1EDAB25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2725" y="4324351"/>
                <a:ext cx="57150" cy="465138"/>
              </a:xfrm>
              <a:custGeom>
                <a:avLst/>
                <a:gdLst>
                  <a:gd name="T0" fmla="*/ 25 w 25"/>
                  <a:gd name="T1" fmla="*/ 0 h 204"/>
                  <a:gd name="T2" fmla="*/ 24 w 25"/>
                  <a:gd name="T3" fmla="*/ 2 h 204"/>
                  <a:gd name="T4" fmla="*/ 22 w 25"/>
                  <a:gd name="T5" fmla="*/ 8 h 204"/>
                  <a:gd name="T6" fmla="*/ 20 w 25"/>
                  <a:gd name="T7" fmla="*/ 12 h 204"/>
                  <a:gd name="T8" fmla="*/ 18 w 25"/>
                  <a:gd name="T9" fmla="*/ 17 h 204"/>
                  <a:gd name="T10" fmla="*/ 16 w 25"/>
                  <a:gd name="T11" fmla="*/ 22 h 204"/>
                  <a:gd name="T12" fmla="*/ 14 w 25"/>
                  <a:gd name="T13" fmla="*/ 29 h 204"/>
                  <a:gd name="T14" fmla="*/ 7 w 25"/>
                  <a:gd name="T15" fmla="*/ 61 h 204"/>
                  <a:gd name="T16" fmla="*/ 3 w 25"/>
                  <a:gd name="T17" fmla="*/ 101 h 204"/>
                  <a:gd name="T18" fmla="*/ 5 w 25"/>
                  <a:gd name="T19" fmla="*/ 174 h 204"/>
                  <a:gd name="T20" fmla="*/ 7 w 25"/>
                  <a:gd name="T21" fmla="*/ 196 h 204"/>
                  <a:gd name="T22" fmla="*/ 8 w 25"/>
                  <a:gd name="T23" fmla="*/ 202 h 204"/>
                  <a:gd name="T24" fmla="*/ 8 w 25"/>
                  <a:gd name="T25" fmla="*/ 204 h 204"/>
                  <a:gd name="T26" fmla="*/ 7 w 25"/>
                  <a:gd name="T27" fmla="*/ 202 h 204"/>
                  <a:gd name="T28" fmla="*/ 6 w 25"/>
                  <a:gd name="T29" fmla="*/ 196 h 204"/>
                  <a:gd name="T30" fmla="*/ 4 w 25"/>
                  <a:gd name="T31" fmla="*/ 174 h 204"/>
                  <a:gd name="T32" fmla="*/ 1 w 25"/>
                  <a:gd name="T33" fmla="*/ 100 h 204"/>
                  <a:gd name="T34" fmla="*/ 5 w 25"/>
                  <a:gd name="T35" fmla="*/ 60 h 204"/>
                  <a:gd name="T36" fmla="*/ 13 w 25"/>
                  <a:gd name="T37" fmla="*/ 28 h 204"/>
                  <a:gd name="T38" fmla="*/ 15 w 25"/>
                  <a:gd name="T39" fmla="*/ 22 h 204"/>
                  <a:gd name="T40" fmla="*/ 17 w 25"/>
                  <a:gd name="T41" fmla="*/ 16 h 204"/>
                  <a:gd name="T42" fmla="*/ 19 w 25"/>
                  <a:gd name="T43" fmla="*/ 11 h 204"/>
                  <a:gd name="T44" fmla="*/ 21 w 25"/>
                  <a:gd name="T45" fmla="*/ 7 h 204"/>
                  <a:gd name="T46" fmla="*/ 24 w 25"/>
                  <a:gd name="T47" fmla="*/ 2 h 204"/>
                  <a:gd name="T48" fmla="*/ 25 w 25"/>
                  <a:gd name="T49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" h="204">
                    <a:moveTo>
                      <a:pt x="25" y="0"/>
                    </a:moveTo>
                    <a:cubicBezTo>
                      <a:pt x="25" y="0"/>
                      <a:pt x="24" y="1"/>
                      <a:pt x="24" y="2"/>
                    </a:cubicBezTo>
                    <a:cubicBezTo>
                      <a:pt x="23" y="4"/>
                      <a:pt x="22" y="5"/>
                      <a:pt x="22" y="8"/>
                    </a:cubicBezTo>
                    <a:cubicBezTo>
                      <a:pt x="21" y="9"/>
                      <a:pt x="20" y="10"/>
                      <a:pt x="20" y="12"/>
                    </a:cubicBezTo>
                    <a:cubicBezTo>
                      <a:pt x="19" y="13"/>
                      <a:pt x="19" y="15"/>
                      <a:pt x="18" y="17"/>
                    </a:cubicBezTo>
                    <a:cubicBezTo>
                      <a:pt x="17" y="18"/>
                      <a:pt x="17" y="20"/>
                      <a:pt x="16" y="22"/>
                    </a:cubicBezTo>
                    <a:cubicBezTo>
                      <a:pt x="15" y="24"/>
                      <a:pt x="15" y="26"/>
                      <a:pt x="14" y="29"/>
                    </a:cubicBezTo>
                    <a:cubicBezTo>
                      <a:pt x="11" y="38"/>
                      <a:pt x="9" y="48"/>
                      <a:pt x="7" y="61"/>
                    </a:cubicBezTo>
                    <a:cubicBezTo>
                      <a:pt x="5" y="73"/>
                      <a:pt x="3" y="86"/>
                      <a:pt x="3" y="101"/>
                    </a:cubicBezTo>
                    <a:cubicBezTo>
                      <a:pt x="2" y="129"/>
                      <a:pt x="3" y="155"/>
                      <a:pt x="5" y="174"/>
                    </a:cubicBezTo>
                    <a:cubicBezTo>
                      <a:pt x="6" y="183"/>
                      <a:pt x="7" y="191"/>
                      <a:pt x="7" y="196"/>
                    </a:cubicBezTo>
                    <a:cubicBezTo>
                      <a:pt x="7" y="198"/>
                      <a:pt x="8" y="200"/>
                      <a:pt x="8" y="202"/>
                    </a:cubicBezTo>
                    <a:cubicBezTo>
                      <a:pt x="8" y="203"/>
                      <a:pt x="8" y="204"/>
                      <a:pt x="8" y="204"/>
                    </a:cubicBezTo>
                    <a:cubicBezTo>
                      <a:pt x="8" y="204"/>
                      <a:pt x="8" y="203"/>
                      <a:pt x="7" y="202"/>
                    </a:cubicBezTo>
                    <a:cubicBezTo>
                      <a:pt x="7" y="200"/>
                      <a:pt x="7" y="198"/>
                      <a:pt x="6" y="196"/>
                    </a:cubicBezTo>
                    <a:cubicBezTo>
                      <a:pt x="6" y="191"/>
                      <a:pt x="5" y="183"/>
                      <a:pt x="4" y="174"/>
                    </a:cubicBezTo>
                    <a:cubicBezTo>
                      <a:pt x="1" y="155"/>
                      <a:pt x="0" y="129"/>
                      <a:pt x="1" y="100"/>
                    </a:cubicBezTo>
                    <a:cubicBezTo>
                      <a:pt x="2" y="86"/>
                      <a:pt x="3" y="73"/>
                      <a:pt x="5" y="60"/>
                    </a:cubicBezTo>
                    <a:cubicBezTo>
                      <a:pt x="7" y="48"/>
                      <a:pt x="10" y="37"/>
                      <a:pt x="13" y="28"/>
                    </a:cubicBezTo>
                    <a:cubicBezTo>
                      <a:pt x="14" y="26"/>
                      <a:pt x="14" y="24"/>
                      <a:pt x="15" y="22"/>
                    </a:cubicBezTo>
                    <a:cubicBezTo>
                      <a:pt x="16" y="20"/>
                      <a:pt x="16" y="18"/>
                      <a:pt x="17" y="16"/>
                    </a:cubicBezTo>
                    <a:cubicBezTo>
                      <a:pt x="18" y="15"/>
                      <a:pt x="18" y="13"/>
                      <a:pt x="19" y="11"/>
                    </a:cubicBezTo>
                    <a:cubicBezTo>
                      <a:pt x="20" y="10"/>
                      <a:pt x="20" y="9"/>
                      <a:pt x="21" y="7"/>
                    </a:cubicBezTo>
                    <a:cubicBezTo>
                      <a:pt x="22" y="5"/>
                      <a:pt x="23" y="3"/>
                      <a:pt x="24" y="2"/>
                    </a:cubicBezTo>
                    <a:cubicBezTo>
                      <a:pt x="24" y="1"/>
                      <a:pt x="24" y="0"/>
                      <a:pt x="2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5" name="任意多边形: 形状 1424">
                <a:extLst>
                  <a:ext uri="{FF2B5EF4-FFF2-40B4-BE49-F238E27FC236}">
                    <a16:creationId xmlns:a16="http://schemas.microsoft.com/office/drawing/2014/main" id="{559EDE0B-048C-40BC-B76A-B502F96503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6213" y="4165601"/>
                <a:ext cx="77788" cy="654050"/>
              </a:xfrm>
              <a:custGeom>
                <a:avLst/>
                <a:gdLst>
                  <a:gd name="T0" fmla="*/ 34 w 34"/>
                  <a:gd name="T1" fmla="*/ 0 h 286"/>
                  <a:gd name="T2" fmla="*/ 33 w 34"/>
                  <a:gd name="T3" fmla="*/ 3 h 286"/>
                  <a:gd name="T4" fmla="*/ 30 w 34"/>
                  <a:gd name="T5" fmla="*/ 11 h 286"/>
                  <a:gd name="T6" fmla="*/ 28 w 34"/>
                  <a:gd name="T7" fmla="*/ 16 h 286"/>
                  <a:gd name="T8" fmla="*/ 26 w 34"/>
                  <a:gd name="T9" fmla="*/ 23 h 286"/>
                  <a:gd name="T10" fmla="*/ 21 w 34"/>
                  <a:gd name="T11" fmla="*/ 40 h 286"/>
                  <a:gd name="T12" fmla="*/ 19 w 34"/>
                  <a:gd name="T13" fmla="*/ 50 h 286"/>
                  <a:gd name="T14" fmla="*/ 16 w 34"/>
                  <a:gd name="T15" fmla="*/ 61 h 286"/>
                  <a:gd name="T16" fmla="*/ 11 w 34"/>
                  <a:gd name="T17" fmla="*/ 85 h 286"/>
                  <a:gd name="T18" fmla="*/ 4 w 34"/>
                  <a:gd name="T19" fmla="*/ 141 h 286"/>
                  <a:gd name="T20" fmla="*/ 2 w 34"/>
                  <a:gd name="T21" fmla="*/ 197 h 286"/>
                  <a:gd name="T22" fmla="*/ 3 w 34"/>
                  <a:gd name="T23" fmla="*/ 243 h 286"/>
                  <a:gd name="T24" fmla="*/ 4 w 34"/>
                  <a:gd name="T25" fmla="*/ 261 h 286"/>
                  <a:gd name="T26" fmla="*/ 4 w 34"/>
                  <a:gd name="T27" fmla="*/ 274 h 286"/>
                  <a:gd name="T28" fmla="*/ 5 w 34"/>
                  <a:gd name="T29" fmla="*/ 283 h 286"/>
                  <a:gd name="T30" fmla="*/ 5 w 34"/>
                  <a:gd name="T31" fmla="*/ 286 h 286"/>
                  <a:gd name="T32" fmla="*/ 5 w 34"/>
                  <a:gd name="T33" fmla="*/ 283 h 286"/>
                  <a:gd name="T34" fmla="*/ 4 w 34"/>
                  <a:gd name="T35" fmla="*/ 274 h 286"/>
                  <a:gd name="T36" fmla="*/ 2 w 34"/>
                  <a:gd name="T37" fmla="*/ 261 h 286"/>
                  <a:gd name="T38" fmla="*/ 1 w 34"/>
                  <a:gd name="T39" fmla="*/ 243 h 286"/>
                  <a:gd name="T40" fmla="*/ 0 w 34"/>
                  <a:gd name="T41" fmla="*/ 197 h 286"/>
                  <a:gd name="T42" fmla="*/ 2 w 34"/>
                  <a:gd name="T43" fmla="*/ 141 h 286"/>
                  <a:gd name="T44" fmla="*/ 10 w 34"/>
                  <a:gd name="T45" fmla="*/ 85 h 286"/>
                  <a:gd name="T46" fmla="*/ 15 w 34"/>
                  <a:gd name="T47" fmla="*/ 61 h 286"/>
                  <a:gd name="T48" fmla="*/ 17 w 34"/>
                  <a:gd name="T49" fmla="*/ 50 h 286"/>
                  <a:gd name="T50" fmla="*/ 20 w 34"/>
                  <a:gd name="T51" fmla="*/ 40 h 286"/>
                  <a:gd name="T52" fmla="*/ 25 w 34"/>
                  <a:gd name="T53" fmla="*/ 23 h 286"/>
                  <a:gd name="T54" fmla="*/ 27 w 34"/>
                  <a:gd name="T55" fmla="*/ 16 h 286"/>
                  <a:gd name="T56" fmla="*/ 30 w 34"/>
                  <a:gd name="T57" fmla="*/ 10 h 286"/>
                  <a:gd name="T58" fmla="*/ 33 w 34"/>
                  <a:gd name="T59" fmla="*/ 2 h 286"/>
                  <a:gd name="T60" fmla="*/ 34 w 34"/>
                  <a:gd name="T61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4" h="286">
                    <a:moveTo>
                      <a:pt x="34" y="0"/>
                    </a:moveTo>
                    <a:cubicBezTo>
                      <a:pt x="34" y="0"/>
                      <a:pt x="34" y="1"/>
                      <a:pt x="33" y="3"/>
                    </a:cubicBezTo>
                    <a:cubicBezTo>
                      <a:pt x="32" y="5"/>
                      <a:pt x="31" y="7"/>
                      <a:pt x="30" y="11"/>
                    </a:cubicBezTo>
                    <a:cubicBezTo>
                      <a:pt x="30" y="12"/>
                      <a:pt x="29" y="14"/>
                      <a:pt x="28" y="16"/>
                    </a:cubicBezTo>
                    <a:cubicBezTo>
                      <a:pt x="28" y="18"/>
                      <a:pt x="27" y="21"/>
                      <a:pt x="26" y="23"/>
                    </a:cubicBezTo>
                    <a:cubicBezTo>
                      <a:pt x="25" y="28"/>
                      <a:pt x="23" y="34"/>
                      <a:pt x="21" y="40"/>
                    </a:cubicBezTo>
                    <a:cubicBezTo>
                      <a:pt x="21" y="43"/>
                      <a:pt x="20" y="47"/>
                      <a:pt x="19" y="50"/>
                    </a:cubicBezTo>
                    <a:cubicBezTo>
                      <a:pt x="18" y="54"/>
                      <a:pt x="17" y="57"/>
                      <a:pt x="16" y="61"/>
                    </a:cubicBezTo>
                    <a:cubicBezTo>
                      <a:pt x="14" y="68"/>
                      <a:pt x="13" y="77"/>
                      <a:pt x="11" y="85"/>
                    </a:cubicBezTo>
                    <a:cubicBezTo>
                      <a:pt x="9" y="102"/>
                      <a:pt x="6" y="121"/>
                      <a:pt x="4" y="141"/>
                    </a:cubicBezTo>
                    <a:cubicBezTo>
                      <a:pt x="3" y="161"/>
                      <a:pt x="2" y="180"/>
                      <a:pt x="2" y="197"/>
                    </a:cubicBezTo>
                    <a:cubicBezTo>
                      <a:pt x="2" y="214"/>
                      <a:pt x="2" y="230"/>
                      <a:pt x="3" y="243"/>
                    </a:cubicBezTo>
                    <a:cubicBezTo>
                      <a:pt x="3" y="250"/>
                      <a:pt x="3" y="256"/>
                      <a:pt x="4" y="261"/>
                    </a:cubicBezTo>
                    <a:cubicBezTo>
                      <a:pt x="4" y="266"/>
                      <a:pt x="4" y="270"/>
                      <a:pt x="4" y="274"/>
                    </a:cubicBezTo>
                    <a:cubicBezTo>
                      <a:pt x="5" y="278"/>
                      <a:pt x="5" y="280"/>
                      <a:pt x="5" y="283"/>
                    </a:cubicBezTo>
                    <a:cubicBezTo>
                      <a:pt x="5" y="284"/>
                      <a:pt x="5" y="286"/>
                      <a:pt x="5" y="286"/>
                    </a:cubicBezTo>
                    <a:cubicBezTo>
                      <a:pt x="5" y="286"/>
                      <a:pt x="5" y="285"/>
                      <a:pt x="5" y="283"/>
                    </a:cubicBezTo>
                    <a:cubicBezTo>
                      <a:pt x="5" y="281"/>
                      <a:pt x="4" y="278"/>
                      <a:pt x="4" y="274"/>
                    </a:cubicBezTo>
                    <a:cubicBezTo>
                      <a:pt x="3" y="271"/>
                      <a:pt x="3" y="266"/>
                      <a:pt x="2" y="261"/>
                    </a:cubicBezTo>
                    <a:cubicBezTo>
                      <a:pt x="2" y="256"/>
                      <a:pt x="2" y="250"/>
                      <a:pt x="1" y="243"/>
                    </a:cubicBezTo>
                    <a:cubicBezTo>
                      <a:pt x="0" y="230"/>
                      <a:pt x="0" y="215"/>
                      <a:pt x="0" y="197"/>
                    </a:cubicBezTo>
                    <a:cubicBezTo>
                      <a:pt x="0" y="180"/>
                      <a:pt x="1" y="161"/>
                      <a:pt x="2" y="141"/>
                    </a:cubicBezTo>
                    <a:cubicBezTo>
                      <a:pt x="4" y="121"/>
                      <a:pt x="7" y="102"/>
                      <a:pt x="10" y="85"/>
                    </a:cubicBezTo>
                    <a:cubicBezTo>
                      <a:pt x="11" y="76"/>
                      <a:pt x="13" y="68"/>
                      <a:pt x="15" y="61"/>
                    </a:cubicBezTo>
                    <a:cubicBezTo>
                      <a:pt x="16" y="57"/>
                      <a:pt x="17" y="53"/>
                      <a:pt x="17" y="50"/>
                    </a:cubicBezTo>
                    <a:cubicBezTo>
                      <a:pt x="18" y="46"/>
                      <a:pt x="19" y="43"/>
                      <a:pt x="20" y="40"/>
                    </a:cubicBezTo>
                    <a:cubicBezTo>
                      <a:pt x="22" y="33"/>
                      <a:pt x="24" y="28"/>
                      <a:pt x="25" y="23"/>
                    </a:cubicBezTo>
                    <a:cubicBezTo>
                      <a:pt x="26" y="20"/>
                      <a:pt x="27" y="18"/>
                      <a:pt x="27" y="16"/>
                    </a:cubicBezTo>
                    <a:cubicBezTo>
                      <a:pt x="28" y="14"/>
                      <a:pt x="29" y="12"/>
                      <a:pt x="30" y="10"/>
                    </a:cubicBezTo>
                    <a:cubicBezTo>
                      <a:pt x="31" y="7"/>
                      <a:pt x="32" y="4"/>
                      <a:pt x="33" y="2"/>
                    </a:cubicBezTo>
                    <a:cubicBezTo>
                      <a:pt x="33" y="1"/>
                      <a:pt x="34" y="0"/>
                      <a:pt x="3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6" name="任意多边形: 形状 1425">
                <a:extLst>
                  <a:ext uri="{FF2B5EF4-FFF2-40B4-BE49-F238E27FC236}">
                    <a16:creationId xmlns:a16="http://schemas.microsoft.com/office/drawing/2014/main" id="{BB4B12F9-57E6-460C-917E-DF73F55393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4125" y="3965576"/>
                <a:ext cx="114300" cy="884238"/>
              </a:xfrm>
              <a:custGeom>
                <a:avLst/>
                <a:gdLst>
                  <a:gd name="T0" fmla="*/ 50 w 50"/>
                  <a:gd name="T1" fmla="*/ 387 h 387"/>
                  <a:gd name="T2" fmla="*/ 50 w 50"/>
                  <a:gd name="T3" fmla="*/ 386 h 387"/>
                  <a:gd name="T4" fmla="*/ 49 w 50"/>
                  <a:gd name="T5" fmla="*/ 383 h 387"/>
                  <a:gd name="T6" fmla="*/ 49 w 50"/>
                  <a:gd name="T7" fmla="*/ 372 h 387"/>
                  <a:gd name="T8" fmla="*/ 46 w 50"/>
                  <a:gd name="T9" fmla="*/ 330 h 387"/>
                  <a:gd name="T10" fmla="*/ 35 w 50"/>
                  <a:gd name="T11" fmla="*/ 192 h 387"/>
                  <a:gd name="T12" fmla="*/ 24 w 50"/>
                  <a:gd name="T13" fmla="*/ 117 h 387"/>
                  <a:gd name="T14" fmla="*/ 19 w 50"/>
                  <a:gd name="T15" fmla="*/ 84 h 387"/>
                  <a:gd name="T16" fmla="*/ 13 w 50"/>
                  <a:gd name="T17" fmla="*/ 56 h 387"/>
                  <a:gd name="T18" fmla="*/ 8 w 50"/>
                  <a:gd name="T19" fmla="*/ 33 h 387"/>
                  <a:gd name="T20" fmla="*/ 4 w 50"/>
                  <a:gd name="T21" fmla="*/ 15 h 387"/>
                  <a:gd name="T22" fmla="*/ 1 w 50"/>
                  <a:gd name="T23" fmla="*/ 4 h 387"/>
                  <a:gd name="T24" fmla="*/ 0 w 50"/>
                  <a:gd name="T25" fmla="*/ 1 h 387"/>
                  <a:gd name="T26" fmla="*/ 0 w 50"/>
                  <a:gd name="T27" fmla="*/ 0 h 387"/>
                  <a:gd name="T28" fmla="*/ 0 w 50"/>
                  <a:gd name="T29" fmla="*/ 1 h 387"/>
                  <a:gd name="T30" fmla="*/ 1 w 50"/>
                  <a:gd name="T31" fmla="*/ 4 h 387"/>
                  <a:gd name="T32" fmla="*/ 4 w 50"/>
                  <a:gd name="T33" fmla="*/ 15 h 387"/>
                  <a:gd name="T34" fmla="*/ 9 w 50"/>
                  <a:gd name="T35" fmla="*/ 32 h 387"/>
                  <a:gd name="T36" fmla="*/ 14 w 50"/>
                  <a:gd name="T37" fmla="*/ 56 h 387"/>
                  <a:gd name="T38" fmla="*/ 20 w 50"/>
                  <a:gd name="T39" fmla="*/ 84 h 387"/>
                  <a:gd name="T40" fmla="*/ 26 w 50"/>
                  <a:gd name="T41" fmla="*/ 117 h 387"/>
                  <a:gd name="T42" fmla="*/ 36 w 50"/>
                  <a:gd name="T43" fmla="*/ 192 h 387"/>
                  <a:gd name="T44" fmla="*/ 47 w 50"/>
                  <a:gd name="T45" fmla="*/ 330 h 387"/>
                  <a:gd name="T46" fmla="*/ 49 w 50"/>
                  <a:gd name="T47" fmla="*/ 372 h 387"/>
                  <a:gd name="T48" fmla="*/ 50 w 50"/>
                  <a:gd name="T49" fmla="*/ 383 h 387"/>
                  <a:gd name="T50" fmla="*/ 50 w 50"/>
                  <a:gd name="T51" fmla="*/ 386 h 387"/>
                  <a:gd name="T52" fmla="*/ 50 w 50"/>
                  <a:gd name="T53" fmla="*/ 387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0" h="387">
                    <a:moveTo>
                      <a:pt x="50" y="387"/>
                    </a:moveTo>
                    <a:cubicBezTo>
                      <a:pt x="50" y="387"/>
                      <a:pt x="50" y="387"/>
                      <a:pt x="50" y="386"/>
                    </a:cubicBezTo>
                    <a:cubicBezTo>
                      <a:pt x="50" y="386"/>
                      <a:pt x="50" y="385"/>
                      <a:pt x="49" y="383"/>
                    </a:cubicBezTo>
                    <a:cubicBezTo>
                      <a:pt x="49" y="381"/>
                      <a:pt x="49" y="377"/>
                      <a:pt x="49" y="372"/>
                    </a:cubicBezTo>
                    <a:cubicBezTo>
                      <a:pt x="48" y="362"/>
                      <a:pt x="47" y="348"/>
                      <a:pt x="46" y="330"/>
                    </a:cubicBezTo>
                    <a:cubicBezTo>
                      <a:pt x="44" y="295"/>
                      <a:pt x="41" y="246"/>
                      <a:pt x="35" y="192"/>
                    </a:cubicBezTo>
                    <a:cubicBezTo>
                      <a:pt x="32" y="166"/>
                      <a:pt x="28" y="140"/>
                      <a:pt x="24" y="117"/>
                    </a:cubicBezTo>
                    <a:cubicBezTo>
                      <a:pt x="22" y="105"/>
                      <a:pt x="21" y="94"/>
                      <a:pt x="19" y="84"/>
                    </a:cubicBezTo>
                    <a:cubicBezTo>
                      <a:pt x="17" y="74"/>
                      <a:pt x="15" y="65"/>
                      <a:pt x="13" y="56"/>
                    </a:cubicBezTo>
                    <a:cubicBezTo>
                      <a:pt x="11" y="47"/>
                      <a:pt x="9" y="39"/>
                      <a:pt x="8" y="33"/>
                    </a:cubicBezTo>
                    <a:cubicBezTo>
                      <a:pt x="6" y="26"/>
                      <a:pt x="5" y="20"/>
                      <a:pt x="4" y="15"/>
                    </a:cubicBezTo>
                    <a:cubicBezTo>
                      <a:pt x="2" y="10"/>
                      <a:pt x="2" y="7"/>
                      <a:pt x="1" y="4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2"/>
                      <a:pt x="1" y="3"/>
                      <a:pt x="1" y="4"/>
                    </a:cubicBezTo>
                    <a:cubicBezTo>
                      <a:pt x="2" y="6"/>
                      <a:pt x="3" y="10"/>
                      <a:pt x="4" y="15"/>
                    </a:cubicBezTo>
                    <a:cubicBezTo>
                      <a:pt x="6" y="20"/>
                      <a:pt x="7" y="25"/>
                      <a:pt x="9" y="32"/>
                    </a:cubicBezTo>
                    <a:cubicBezTo>
                      <a:pt x="10" y="39"/>
                      <a:pt x="12" y="47"/>
                      <a:pt x="14" y="56"/>
                    </a:cubicBezTo>
                    <a:cubicBezTo>
                      <a:pt x="16" y="64"/>
                      <a:pt x="18" y="74"/>
                      <a:pt x="20" y="84"/>
                    </a:cubicBezTo>
                    <a:cubicBezTo>
                      <a:pt x="22" y="94"/>
                      <a:pt x="24" y="105"/>
                      <a:pt x="26" y="117"/>
                    </a:cubicBezTo>
                    <a:cubicBezTo>
                      <a:pt x="30" y="140"/>
                      <a:pt x="33" y="165"/>
                      <a:pt x="36" y="192"/>
                    </a:cubicBezTo>
                    <a:cubicBezTo>
                      <a:pt x="42" y="246"/>
                      <a:pt x="45" y="295"/>
                      <a:pt x="47" y="330"/>
                    </a:cubicBezTo>
                    <a:cubicBezTo>
                      <a:pt x="48" y="348"/>
                      <a:pt x="49" y="362"/>
                      <a:pt x="49" y="372"/>
                    </a:cubicBezTo>
                    <a:cubicBezTo>
                      <a:pt x="50" y="377"/>
                      <a:pt x="50" y="381"/>
                      <a:pt x="50" y="383"/>
                    </a:cubicBezTo>
                    <a:cubicBezTo>
                      <a:pt x="50" y="385"/>
                      <a:pt x="50" y="386"/>
                      <a:pt x="50" y="386"/>
                    </a:cubicBezTo>
                    <a:cubicBezTo>
                      <a:pt x="50" y="387"/>
                      <a:pt x="50" y="387"/>
                      <a:pt x="50" y="38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7" name="任意多边形: 形状 1426">
                <a:extLst>
                  <a:ext uri="{FF2B5EF4-FFF2-40B4-BE49-F238E27FC236}">
                    <a16:creationId xmlns:a16="http://schemas.microsoft.com/office/drawing/2014/main" id="{448DCA13-54C3-475C-A8B8-D16303E608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088" y="3983038"/>
                <a:ext cx="285750" cy="514350"/>
              </a:xfrm>
              <a:custGeom>
                <a:avLst/>
                <a:gdLst>
                  <a:gd name="T0" fmla="*/ 84 w 125"/>
                  <a:gd name="T1" fmla="*/ 22 h 225"/>
                  <a:gd name="T2" fmla="*/ 59 w 125"/>
                  <a:gd name="T3" fmla="*/ 0 h 225"/>
                  <a:gd name="T4" fmla="*/ 27 w 125"/>
                  <a:gd name="T5" fmla="*/ 17 h 225"/>
                  <a:gd name="T6" fmla="*/ 12 w 125"/>
                  <a:gd name="T7" fmla="*/ 50 h 225"/>
                  <a:gd name="T8" fmla="*/ 3 w 125"/>
                  <a:gd name="T9" fmla="*/ 139 h 225"/>
                  <a:gd name="T10" fmla="*/ 40 w 125"/>
                  <a:gd name="T11" fmla="*/ 219 h 225"/>
                  <a:gd name="T12" fmla="*/ 53 w 125"/>
                  <a:gd name="T13" fmla="*/ 224 h 225"/>
                  <a:gd name="T14" fmla="*/ 59 w 125"/>
                  <a:gd name="T15" fmla="*/ 220 h 225"/>
                  <a:gd name="T16" fmla="*/ 124 w 125"/>
                  <a:gd name="T17" fmla="*/ 70 h 225"/>
                  <a:gd name="T18" fmla="*/ 116 w 125"/>
                  <a:gd name="T19" fmla="*/ 37 h 225"/>
                  <a:gd name="T20" fmla="*/ 84 w 125"/>
                  <a:gd name="T21" fmla="*/ 22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5" h="225">
                    <a:moveTo>
                      <a:pt x="84" y="22"/>
                    </a:moveTo>
                    <a:cubicBezTo>
                      <a:pt x="83" y="10"/>
                      <a:pt x="71" y="0"/>
                      <a:pt x="59" y="0"/>
                    </a:cubicBezTo>
                    <a:cubicBezTo>
                      <a:pt x="46" y="0"/>
                      <a:pt x="35" y="7"/>
                      <a:pt x="27" y="17"/>
                    </a:cubicBezTo>
                    <a:cubicBezTo>
                      <a:pt x="20" y="27"/>
                      <a:pt x="16" y="39"/>
                      <a:pt x="12" y="50"/>
                    </a:cubicBezTo>
                    <a:cubicBezTo>
                      <a:pt x="4" y="79"/>
                      <a:pt x="0" y="109"/>
                      <a:pt x="3" y="139"/>
                    </a:cubicBezTo>
                    <a:cubicBezTo>
                      <a:pt x="7" y="168"/>
                      <a:pt x="19" y="198"/>
                      <a:pt x="40" y="219"/>
                    </a:cubicBezTo>
                    <a:cubicBezTo>
                      <a:pt x="44" y="222"/>
                      <a:pt x="48" y="225"/>
                      <a:pt x="53" y="224"/>
                    </a:cubicBezTo>
                    <a:cubicBezTo>
                      <a:pt x="55" y="224"/>
                      <a:pt x="57" y="222"/>
                      <a:pt x="59" y="220"/>
                    </a:cubicBezTo>
                    <a:cubicBezTo>
                      <a:pt x="101" y="182"/>
                      <a:pt x="125" y="126"/>
                      <a:pt x="124" y="70"/>
                    </a:cubicBezTo>
                    <a:cubicBezTo>
                      <a:pt x="123" y="58"/>
                      <a:pt x="122" y="47"/>
                      <a:pt x="116" y="37"/>
                    </a:cubicBezTo>
                    <a:cubicBezTo>
                      <a:pt x="109" y="28"/>
                      <a:pt x="95" y="18"/>
                      <a:pt x="84" y="22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8" name="任意多边形: 形状 1427">
                <a:extLst>
                  <a:ext uri="{FF2B5EF4-FFF2-40B4-BE49-F238E27FC236}">
                    <a16:creationId xmlns:a16="http://schemas.microsoft.com/office/drawing/2014/main" id="{730A05DB-9519-4459-A911-A5ED2C2A14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708401"/>
                <a:ext cx="152400" cy="176213"/>
              </a:xfrm>
              <a:custGeom>
                <a:avLst/>
                <a:gdLst>
                  <a:gd name="T0" fmla="*/ 67 w 67"/>
                  <a:gd name="T1" fmla="*/ 44 h 77"/>
                  <a:gd name="T2" fmla="*/ 50 w 67"/>
                  <a:gd name="T3" fmla="*/ 75 h 77"/>
                  <a:gd name="T4" fmla="*/ 48 w 67"/>
                  <a:gd name="T5" fmla="*/ 77 h 77"/>
                  <a:gd name="T6" fmla="*/ 46 w 67"/>
                  <a:gd name="T7" fmla="*/ 75 h 77"/>
                  <a:gd name="T8" fmla="*/ 0 w 67"/>
                  <a:gd name="T9" fmla="*/ 6 h 77"/>
                  <a:gd name="T10" fmla="*/ 11 w 67"/>
                  <a:gd name="T11" fmla="*/ 0 h 77"/>
                  <a:gd name="T12" fmla="*/ 67 w 67"/>
                  <a:gd name="T13" fmla="*/ 4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77">
                    <a:moveTo>
                      <a:pt x="67" y="44"/>
                    </a:moveTo>
                    <a:cubicBezTo>
                      <a:pt x="61" y="55"/>
                      <a:pt x="55" y="65"/>
                      <a:pt x="50" y="75"/>
                    </a:cubicBezTo>
                    <a:cubicBezTo>
                      <a:pt x="49" y="76"/>
                      <a:pt x="49" y="77"/>
                      <a:pt x="48" y="77"/>
                    </a:cubicBezTo>
                    <a:cubicBezTo>
                      <a:pt x="47" y="77"/>
                      <a:pt x="46" y="76"/>
                      <a:pt x="46" y="75"/>
                    </a:cubicBezTo>
                    <a:cubicBezTo>
                      <a:pt x="31" y="52"/>
                      <a:pt x="16" y="29"/>
                      <a:pt x="0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67" y="44"/>
                      <a:pt x="67" y="44"/>
                      <a:pt x="67" y="44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9" name="任意多边形: 形状 1428">
                <a:extLst>
                  <a:ext uri="{FF2B5EF4-FFF2-40B4-BE49-F238E27FC236}">
                    <a16:creationId xmlns:a16="http://schemas.microsoft.com/office/drawing/2014/main" id="{B791B1DF-2CDD-4059-8C38-79F717AD5A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708401"/>
                <a:ext cx="152400" cy="176213"/>
              </a:xfrm>
              <a:custGeom>
                <a:avLst/>
                <a:gdLst>
                  <a:gd name="T0" fmla="*/ 11 w 67"/>
                  <a:gd name="T1" fmla="*/ 0 h 77"/>
                  <a:gd name="T2" fmla="*/ 0 w 67"/>
                  <a:gd name="T3" fmla="*/ 6 h 77"/>
                  <a:gd name="T4" fmla="*/ 46 w 67"/>
                  <a:gd name="T5" fmla="*/ 75 h 77"/>
                  <a:gd name="T6" fmla="*/ 48 w 67"/>
                  <a:gd name="T7" fmla="*/ 77 h 77"/>
                  <a:gd name="T8" fmla="*/ 48 w 67"/>
                  <a:gd name="T9" fmla="*/ 77 h 77"/>
                  <a:gd name="T10" fmla="*/ 50 w 67"/>
                  <a:gd name="T11" fmla="*/ 75 h 77"/>
                  <a:gd name="T12" fmla="*/ 67 w 67"/>
                  <a:gd name="T13" fmla="*/ 44 h 77"/>
                  <a:gd name="T14" fmla="*/ 11 w 67"/>
                  <a:gd name="T15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7" h="77">
                    <a:moveTo>
                      <a:pt x="11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16" y="29"/>
                      <a:pt x="31" y="52"/>
                      <a:pt x="46" y="75"/>
                    </a:cubicBezTo>
                    <a:cubicBezTo>
                      <a:pt x="46" y="76"/>
                      <a:pt x="47" y="77"/>
                      <a:pt x="48" y="77"/>
                    </a:cubicBezTo>
                    <a:cubicBezTo>
                      <a:pt x="48" y="77"/>
                      <a:pt x="48" y="77"/>
                      <a:pt x="48" y="77"/>
                    </a:cubicBezTo>
                    <a:cubicBezTo>
                      <a:pt x="49" y="77"/>
                      <a:pt x="49" y="76"/>
                      <a:pt x="50" y="75"/>
                    </a:cubicBezTo>
                    <a:cubicBezTo>
                      <a:pt x="55" y="65"/>
                      <a:pt x="61" y="55"/>
                      <a:pt x="67" y="44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0C3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0" name="任意多边形: 形状 1429">
                <a:extLst>
                  <a:ext uri="{FF2B5EF4-FFF2-40B4-BE49-F238E27FC236}">
                    <a16:creationId xmlns:a16="http://schemas.microsoft.com/office/drawing/2014/main" id="{D8D58F4B-ADE3-46E3-96AB-400B13165F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625851"/>
                <a:ext cx="401638" cy="311150"/>
              </a:xfrm>
              <a:custGeom>
                <a:avLst/>
                <a:gdLst>
                  <a:gd name="T0" fmla="*/ 159 w 176"/>
                  <a:gd name="T1" fmla="*/ 136 h 136"/>
                  <a:gd name="T2" fmla="*/ 4 w 176"/>
                  <a:gd name="T3" fmla="*/ 45 h 136"/>
                  <a:gd name="T4" fmla="*/ 0 w 176"/>
                  <a:gd name="T5" fmla="*/ 41 h 136"/>
                  <a:gd name="T6" fmla="*/ 3 w 176"/>
                  <a:gd name="T7" fmla="*/ 35 h 136"/>
                  <a:gd name="T8" fmla="*/ 86 w 176"/>
                  <a:gd name="T9" fmla="*/ 2 h 136"/>
                  <a:gd name="T10" fmla="*/ 161 w 176"/>
                  <a:gd name="T11" fmla="*/ 49 h 136"/>
                  <a:gd name="T12" fmla="*/ 159 w 176"/>
                  <a:gd name="T1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6" h="136">
                    <a:moveTo>
                      <a:pt x="159" y="136"/>
                    </a:moveTo>
                    <a:cubicBezTo>
                      <a:pt x="108" y="106"/>
                      <a:pt x="56" y="75"/>
                      <a:pt x="4" y="45"/>
                    </a:cubicBezTo>
                    <a:cubicBezTo>
                      <a:pt x="2" y="44"/>
                      <a:pt x="1" y="43"/>
                      <a:pt x="0" y="41"/>
                    </a:cubicBezTo>
                    <a:cubicBezTo>
                      <a:pt x="0" y="39"/>
                      <a:pt x="1" y="36"/>
                      <a:pt x="3" y="35"/>
                    </a:cubicBezTo>
                    <a:cubicBezTo>
                      <a:pt x="24" y="13"/>
                      <a:pt x="55" y="0"/>
                      <a:pt x="86" y="2"/>
                    </a:cubicBezTo>
                    <a:cubicBezTo>
                      <a:pt x="117" y="4"/>
                      <a:pt x="146" y="22"/>
                      <a:pt x="161" y="49"/>
                    </a:cubicBezTo>
                    <a:cubicBezTo>
                      <a:pt x="176" y="76"/>
                      <a:pt x="176" y="111"/>
                      <a:pt x="159" y="136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1" name="任意多边形: 形状 1430">
                <a:extLst>
                  <a:ext uri="{FF2B5EF4-FFF2-40B4-BE49-F238E27FC236}">
                    <a16:creationId xmlns:a16="http://schemas.microsoft.com/office/drawing/2014/main" id="{992EC82F-7138-42D3-9FEB-962730C797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8550" y="3660776"/>
                <a:ext cx="309563" cy="279400"/>
              </a:xfrm>
              <a:custGeom>
                <a:avLst/>
                <a:gdLst>
                  <a:gd name="T0" fmla="*/ 0 w 135"/>
                  <a:gd name="T1" fmla="*/ 1 h 122"/>
                  <a:gd name="T2" fmla="*/ 2 w 135"/>
                  <a:gd name="T3" fmla="*/ 0 h 122"/>
                  <a:gd name="T4" fmla="*/ 8 w 135"/>
                  <a:gd name="T5" fmla="*/ 0 h 122"/>
                  <a:gd name="T6" fmla="*/ 30 w 135"/>
                  <a:gd name="T7" fmla="*/ 2 h 122"/>
                  <a:gd name="T8" fmla="*/ 61 w 135"/>
                  <a:gd name="T9" fmla="*/ 11 h 122"/>
                  <a:gd name="T10" fmla="*/ 93 w 135"/>
                  <a:gd name="T11" fmla="*/ 32 h 122"/>
                  <a:gd name="T12" fmla="*/ 118 w 135"/>
                  <a:gd name="T13" fmla="*/ 63 h 122"/>
                  <a:gd name="T14" fmla="*/ 130 w 135"/>
                  <a:gd name="T15" fmla="*/ 93 h 122"/>
                  <a:gd name="T16" fmla="*/ 134 w 135"/>
                  <a:gd name="T17" fmla="*/ 114 h 122"/>
                  <a:gd name="T18" fmla="*/ 134 w 135"/>
                  <a:gd name="T19" fmla="*/ 120 h 122"/>
                  <a:gd name="T20" fmla="*/ 134 w 135"/>
                  <a:gd name="T21" fmla="*/ 122 h 122"/>
                  <a:gd name="T22" fmla="*/ 133 w 135"/>
                  <a:gd name="T23" fmla="*/ 114 h 122"/>
                  <a:gd name="T24" fmla="*/ 129 w 135"/>
                  <a:gd name="T25" fmla="*/ 93 h 122"/>
                  <a:gd name="T26" fmla="*/ 92 w 135"/>
                  <a:gd name="T27" fmla="*/ 34 h 122"/>
                  <a:gd name="T28" fmla="*/ 30 w 135"/>
                  <a:gd name="T29" fmla="*/ 3 h 122"/>
                  <a:gd name="T30" fmla="*/ 8 w 135"/>
                  <a:gd name="T31" fmla="*/ 1 h 122"/>
                  <a:gd name="T32" fmla="*/ 0 w 135"/>
                  <a:gd name="T33" fmla="*/ 1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5" h="122">
                    <a:moveTo>
                      <a:pt x="0" y="1"/>
                    </a:moveTo>
                    <a:cubicBezTo>
                      <a:pt x="0" y="0"/>
                      <a:pt x="1" y="0"/>
                      <a:pt x="2" y="0"/>
                    </a:cubicBezTo>
                    <a:cubicBezTo>
                      <a:pt x="4" y="0"/>
                      <a:pt x="6" y="0"/>
                      <a:pt x="8" y="0"/>
                    </a:cubicBezTo>
                    <a:cubicBezTo>
                      <a:pt x="13" y="0"/>
                      <a:pt x="21" y="0"/>
                      <a:pt x="30" y="2"/>
                    </a:cubicBezTo>
                    <a:cubicBezTo>
                      <a:pt x="39" y="3"/>
                      <a:pt x="49" y="6"/>
                      <a:pt x="61" y="11"/>
                    </a:cubicBezTo>
                    <a:cubicBezTo>
                      <a:pt x="72" y="16"/>
                      <a:pt x="83" y="23"/>
                      <a:pt x="93" y="32"/>
                    </a:cubicBezTo>
                    <a:cubicBezTo>
                      <a:pt x="104" y="42"/>
                      <a:pt x="112" y="53"/>
                      <a:pt x="118" y="63"/>
                    </a:cubicBezTo>
                    <a:cubicBezTo>
                      <a:pt x="124" y="74"/>
                      <a:pt x="128" y="84"/>
                      <a:pt x="130" y="93"/>
                    </a:cubicBezTo>
                    <a:cubicBezTo>
                      <a:pt x="133" y="101"/>
                      <a:pt x="134" y="109"/>
                      <a:pt x="134" y="114"/>
                    </a:cubicBezTo>
                    <a:cubicBezTo>
                      <a:pt x="134" y="116"/>
                      <a:pt x="134" y="118"/>
                      <a:pt x="134" y="120"/>
                    </a:cubicBezTo>
                    <a:cubicBezTo>
                      <a:pt x="135" y="121"/>
                      <a:pt x="134" y="122"/>
                      <a:pt x="134" y="122"/>
                    </a:cubicBezTo>
                    <a:cubicBezTo>
                      <a:pt x="134" y="122"/>
                      <a:pt x="134" y="119"/>
                      <a:pt x="133" y="114"/>
                    </a:cubicBezTo>
                    <a:cubicBezTo>
                      <a:pt x="133" y="109"/>
                      <a:pt x="132" y="102"/>
                      <a:pt x="129" y="93"/>
                    </a:cubicBezTo>
                    <a:cubicBezTo>
                      <a:pt x="124" y="76"/>
                      <a:pt x="113" y="52"/>
                      <a:pt x="92" y="34"/>
                    </a:cubicBezTo>
                    <a:cubicBezTo>
                      <a:pt x="72" y="15"/>
                      <a:pt x="47" y="6"/>
                      <a:pt x="30" y="3"/>
                    </a:cubicBezTo>
                    <a:cubicBezTo>
                      <a:pt x="21" y="1"/>
                      <a:pt x="13" y="1"/>
                      <a:pt x="8" y="1"/>
                    </a:cubicBezTo>
                    <a:cubicBezTo>
                      <a:pt x="3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2" name="任意多边形: 形状 1431">
                <a:extLst>
                  <a:ext uri="{FF2B5EF4-FFF2-40B4-BE49-F238E27FC236}">
                    <a16:creationId xmlns:a16="http://schemas.microsoft.com/office/drawing/2014/main" id="{F6EBC9E5-2223-4AA2-AB2B-5E0DC1B655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7138" y="3794126"/>
                <a:ext cx="127000" cy="39688"/>
              </a:xfrm>
              <a:custGeom>
                <a:avLst/>
                <a:gdLst>
                  <a:gd name="T0" fmla="*/ 56 w 56"/>
                  <a:gd name="T1" fmla="*/ 0 h 18"/>
                  <a:gd name="T2" fmla="*/ 48 w 56"/>
                  <a:gd name="T3" fmla="*/ 4 h 18"/>
                  <a:gd name="T4" fmla="*/ 29 w 56"/>
                  <a:gd name="T5" fmla="*/ 11 h 18"/>
                  <a:gd name="T6" fmla="*/ 9 w 56"/>
                  <a:gd name="T7" fmla="*/ 16 h 18"/>
                  <a:gd name="T8" fmla="*/ 0 w 56"/>
                  <a:gd name="T9" fmla="*/ 18 h 18"/>
                  <a:gd name="T10" fmla="*/ 8 w 56"/>
                  <a:gd name="T11" fmla="*/ 15 h 18"/>
                  <a:gd name="T12" fmla="*/ 28 w 56"/>
                  <a:gd name="T13" fmla="*/ 9 h 18"/>
                  <a:gd name="T14" fmla="*/ 48 w 56"/>
                  <a:gd name="T15" fmla="*/ 2 h 18"/>
                  <a:gd name="T16" fmla="*/ 56 w 56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8">
                    <a:moveTo>
                      <a:pt x="56" y="0"/>
                    </a:moveTo>
                    <a:cubicBezTo>
                      <a:pt x="56" y="0"/>
                      <a:pt x="53" y="2"/>
                      <a:pt x="48" y="4"/>
                    </a:cubicBezTo>
                    <a:cubicBezTo>
                      <a:pt x="43" y="6"/>
                      <a:pt x="37" y="8"/>
                      <a:pt x="29" y="11"/>
                    </a:cubicBezTo>
                    <a:cubicBezTo>
                      <a:pt x="21" y="13"/>
                      <a:pt x="14" y="15"/>
                      <a:pt x="9" y="16"/>
                    </a:cubicBezTo>
                    <a:cubicBezTo>
                      <a:pt x="4" y="18"/>
                      <a:pt x="0" y="18"/>
                      <a:pt x="0" y="18"/>
                    </a:cubicBezTo>
                    <a:cubicBezTo>
                      <a:pt x="0" y="18"/>
                      <a:pt x="3" y="17"/>
                      <a:pt x="8" y="15"/>
                    </a:cubicBezTo>
                    <a:cubicBezTo>
                      <a:pt x="14" y="13"/>
                      <a:pt x="21" y="11"/>
                      <a:pt x="28" y="9"/>
                    </a:cubicBezTo>
                    <a:cubicBezTo>
                      <a:pt x="36" y="6"/>
                      <a:pt x="42" y="4"/>
                      <a:pt x="48" y="2"/>
                    </a:cubicBezTo>
                    <a:cubicBezTo>
                      <a:pt x="53" y="1"/>
                      <a:pt x="56" y="0"/>
                      <a:pt x="5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3" name="任意多边形: 形状 1432">
                <a:extLst>
                  <a:ext uri="{FF2B5EF4-FFF2-40B4-BE49-F238E27FC236}">
                    <a16:creationId xmlns:a16="http://schemas.microsoft.com/office/drawing/2014/main" id="{9A50E7C1-E085-4B1A-881B-CD6535E06F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6988" y="3643313"/>
                <a:ext cx="7938" cy="79375"/>
              </a:xfrm>
              <a:custGeom>
                <a:avLst/>
                <a:gdLst>
                  <a:gd name="T0" fmla="*/ 1 w 3"/>
                  <a:gd name="T1" fmla="*/ 0 h 35"/>
                  <a:gd name="T2" fmla="*/ 3 w 3"/>
                  <a:gd name="T3" fmla="*/ 18 h 35"/>
                  <a:gd name="T4" fmla="*/ 2 w 3"/>
                  <a:gd name="T5" fmla="*/ 35 h 35"/>
                  <a:gd name="T6" fmla="*/ 1 w 3"/>
                  <a:gd name="T7" fmla="*/ 18 h 35"/>
                  <a:gd name="T8" fmla="*/ 1 w 3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5">
                    <a:moveTo>
                      <a:pt x="1" y="0"/>
                    </a:moveTo>
                    <a:cubicBezTo>
                      <a:pt x="1" y="0"/>
                      <a:pt x="2" y="8"/>
                      <a:pt x="3" y="18"/>
                    </a:cubicBezTo>
                    <a:cubicBezTo>
                      <a:pt x="3" y="27"/>
                      <a:pt x="2" y="35"/>
                      <a:pt x="2" y="35"/>
                    </a:cubicBezTo>
                    <a:cubicBezTo>
                      <a:pt x="1" y="35"/>
                      <a:pt x="1" y="27"/>
                      <a:pt x="1" y="18"/>
                    </a:cubicBezTo>
                    <a:cubicBezTo>
                      <a:pt x="1" y="8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4" name="任意多边形: 形状 1433">
                <a:extLst>
                  <a:ext uri="{FF2B5EF4-FFF2-40B4-BE49-F238E27FC236}">
                    <a16:creationId xmlns:a16="http://schemas.microsoft.com/office/drawing/2014/main" id="{9B84B86D-B6F4-4A1A-8791-8EDBAAE06C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6163" y="3681413"/>
                <a:ext cx="180975" cy="42863"/>
              </a:xfrm>
              <a:custGeom>
                <a:avLst/>
                <a:gdLst>
                  <a:gd name="T0" fmla="*/ 0 w 79"/>
                  <a:gd name="T1" fmla="*/ 19 h 19"/>
                  <a:gd name="T2" fmla="*/ 11 w 79"/>
                  <a:gd name="T3" fmla="*/ 15 h 19"/>
                  <a:gd name="T4" fmla="*/ 39 w 79"/>
                  <a:gd name="T5" fmla="*/ 7 h 19"/>
                  <a:gd name="T6" fmla="*/ 67 w 79"/>
                  <a:gd name="T7" fmla="*/ 2 h 19"/>
                  <a:gd name="T8" fmla="*/ 79 w 79"/>
                  <a:gd name="T9" fmla="*/ 0 h 19"/>
                  <a:gd name="T10" fmla="*/ 67 w 79"/>
                  <a:gd name="T11" fmla="*/ 3 h 19"/>
                  <a:gd name="T12" fmla="*/ 39 w 79"/>
                  <a:gd name="T13" fmla="*/ 9 h 19"/>
                  <a:gd name="T14" fmla="*/ 11 w 79"/>
                  <a:gd name="T15" fmla="*/ 16 h 19"/>
                  <a:gd name="T16" fmla="*/ 0 w 79"/>
                  <a:gd name="T1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19">
                    <a:moveTo>
                      <a:pt x="0" y="19"/>
                    </a:moveTo>
                    <a:cubicBezTo>
                      <a:pt x="0" y="19"/>
                      <a:pt x="4" y="17"/>
                      <a:pt x="11" y="15"/>
                    </a:cubicBezTo>
                    <a:cubicBezTo>
                      <a:pt x="18" y="13"/>
                      <a:pt x="28" y="10"/>
                      <a:pt x="39" y="7"/>
                    </a:cubicBezTo>
                    <a:cubicBezTo>
                      <a:pt x="50" y="5"/>
                      <a:pt x="60" y="3"/>
                      <a:pt x="67" y="2"/>
                    </a:cubicBezTo>
                    <a:cubicBezTo>
                      <a:pt x="74" y="0"/>
                      <a:pt x="79" y="0"/>
                      <a:pt x="79" y="0"/>
                    </a:cubicBezTo>
                    <a:cubicBezTo>
                      <a:pt x="79" y="0"/>
                      <a:pt x="74" y="1"/>
                      <a:pt x="67" y="3"/>
                    </a:cubicBezTo>
                    <a:cubicBezTo>
                      <a:pt x="60" y="4"/>
                      <a:pt x="50" y="7"/>
                      <a:pt x="39" y="9"/>
                    </a:cubicBezTo>
                    <a:cubicBezTo>
                      <a:pt x="28" y="12"/>
                      <a:pt x="18" y="14"/>
                      <a:pt x="11" y="16"/>
                    </a:cubicBezTo>
                    <a:cubicBezTo>
                      <a:pt x="4" y="18"/>
                      <a:pt x="0" y="19"/>
                      <a:pt x="0" y="1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5" name="任意多边形: 形状 1434">
                <a:extLst>
                  <a:ext uri="{FF2B5EF4-FFF2-40B4-BE49-F238E27FC236}">
                    <a16:creationId xmlns:a16="http://schemas.microsoft.com/office/drawing/2014/main" id="{C9E11ACE-EC29-423B-9B25-3F2F8A5800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7088" y="3940176"/>
                <a:ext cx="430213" cy="354013"/>
              </a:xfrm>
              <a:custGeom>
                <a:avLst/>
                <a:gdLst>
                  <a:gd name="T0" fmla="*/ 181 w 188"/>
                  <a:gd name="T1" fmla="*/ 12 h 155"/>
                  <a:gd name="T2" fmla="*/ 136 w 188"/>
                  <a:gd name="T3" fmla="*/ 0 h 155"/>
                  <a:gd name="T4" fmla="*/ 88 w 188"/>
                  <a:gd name="T5" fmla="*/ 13 h 155"/>
                  <a:gd name="T6" fmla="*/ 22 w 188"/>
                  <a:gd name="T7" fmla="*/ 65 h 155"/>
                  <a:gd name="T8" fmla="*/ 12 w 188"/>
                  <a:gd name="T9" fmla="*/ 147 h 155"/>
                  <a:gd name="T10" fmla="*/ 18 w 188"/>
                  <a:gd name="T11" fmla="*/ 153 h 155"/>
                  <a:gd name="T12" fmla="*/ 26 w 188"/>
                  <a:gd name="T13" fmla="*/ 153 h 155"/>
                  <a:gd name="T14" fmla="*/ 113 w 188"/>
                  <a:gd name="T15" fmla="*/ 118 h 155"/>
                  <a:gd name="T16" fmla="*/ 180 w 188"/>
                  <a:gd name="T17" fmla="*/ 54 h 155"/>
                  <a:gd name="T18" fmla="*/ 188 w 188"/>
                  <a:gd name="T19" fmla="*/ 33 h 155"/>
                  <a:gd name="T20" fmla="*/ 181 w 188"/>
                  <a:gd name="T21" fmla="*/ 12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8" h="155">
                    <a:moveTo>
                      <a:pt x="181" y="12"/>
                    </a:moveTo>
                    <a:cubicBezTo>
                      <a:pt x="167" y="2"/>
                      <a:pt x="153" y="0"/>
                      <a:pt x="136" y="0"/>
                    </a:cubicBezTo>
                    <a:cubicBezTo>
                      <a:pt x="120" y="1"/>
                      <a:pt x="103" y="6"/>
                      <a:pt x="88" y="13"/>
                    </a:cubicBezTo>
                    <a:cubicBezTo>
                      <a:pt x="62" y="24"/>
                      <a:pt x="37" y="41"/>
                      <a:pt x="22" y="65"/>
                    </a:cubicBezTo>
                    <a:cubicBezTo>
                      <a:pt x="6" y="89"/>
                      <a:pt x="0" y="121"/>
                      <a:pt x="12" y="147"/>
                    </a:cubicBezTo>
                    <a:cubicBezTo>
                      <a:pt x="13" y="149"/>
                      <a:pt x="15" y="152"/>
                      <a:pt x="18" y="153"/>
                    </a:cubicBezTo>
                    <a:cubicBezTo>
                      <a:pt x="20" y="155"/>
                      <a:pt x="23" y="154"/>
                      <a:pt x="26" y="153"/>
                    </a:cubicBezTo>
                    <a:cubicBezTo>
                      <a:pt x="56" y="143"/>
                      <a:pt x="86" y="133"/>
                      <a:pt x="113" y="118"/>
                    </a:cubicBezTo>
                    <a:cubicBezTo>
                      <a:pt x="141" y="103"/>
                      <a:pt x="166" y="82"/>
                      <a:pt x="180" y="54"/>
                    </a:cubicBezTo>
                    <a:cubicBezTo>
                      <a:pt x="184" y="47"/>
                      <a:pt x="187" y="40"/>
                      <a:pt x="188" y="33"/>
                    </a:cubicBezTo>
                    <a:cubicBezTo>
                      <a:pt x="188" y="25"/>
                      <a:pt x="186" y="17"/>
                      <a:pt x="181" y="12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6" name="任意多边形: 形状 1435">
                <a:extLst>
                  <a:ext uri="{FF2B5EF4-FFF2-40B4-BE49-F238E27FC236}">
                    <a16:creationId xmlns:a16="http://schemas.microsoft.com/office/drawing/2014/main" id="{F6921D76-139B-430F-A547-C7119C249E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3600" y="3960813"/>
                <a:ext cx="376238" cy="330200"/>
              </a:xfrm>
              <a:custGeom>
                <a:avLst/>
                <a:gdLst>
                  <a:gd name="T0" fmla="*/ 165 w 165"/>
                  <a:gd name="T1" fmla="*/ 0 h 145"/>
                  <a:gd name="T2" fmla="*/ 163 w 165"/>
                  <a:gd name="T3" fmla="*/ 1 h 145"/>
                  <a:gd name="T4" fmla="*/ 157 w 165"/>
                  <a:gd name="T5" fmla="*/ 3 h 145"/>
                  <a:gd name="T6" fmla="*/ 152 w 165"/>
                  <a:gd name="T7" fmla="*/ 4 h 145"/>
                  <a:gd name="T8" fmla="*/ 147 w 165"/>
                  <a:gd name="T9" fmla="*/ 6 h 145"/>
                  <a:gd name="T10" fmla="*/ 134 w 165"/>
                  <a:gd name="T11" fmla="*/ 12 h 145"/>
                  <a:gd name="T12" fmla="*/ 127 w 165"/>
                  <a:gd name="T13" fmla="*/ 15 h 145"/>
                  <a:gd name="T14" fmla="*/ 119 w 165"/>
                  <a:gd name="T15" fmla="*/ 19 h 145"/>
                  <a:gd name="T16" fmla="*/ 102 w 165"/>
                  <a:gd name="T17" fmla="*/ 28 h 145"/>
                  <a:gd name="T18" fmla="*/ 67 w 165"/>
                  <a:gd name="T19" fmla="*/ 55 h 145"/>
                  <a:gd name="T20" fmla="*/ 37 w 165"/>
                  <a:gd name="T21" fmla="*/ 86 h 145"/>
                  <a:gd name="T22" fmla="*/ 25 w 165"/>
                  <a:gd name="T23" fmla="*/ 102 h 145"/>
                  <a:gd name="T24" fmla="*/ 20 w 165"/>
                  <a:gd name="T25" fmla="*/ 109 h 145"/>
                  <a:gd name="T26" fmla="*/ 16 w 165"/>
                  <a:gd name="T27" fmla="*/ 116 h 145"/>
                  <a:gd name="T28" fmla="*/ 9 w 165"/>
                  <a:gd name="T29" fmla="*/ 127 h 145"/>
                  <a:gd name="T30" fmla="*/ 6 w 165"/>
                  <a:gd name="T31" fmla="*/ 132 h 145"/>
                  <a:gd name="T32" fmla="*/ 4 w 165"/>
                  <a:gd name="T33" fmla="*/ 137 h 145"/>
                  <a:gd name="T34" fmla="*/ 1 w 165"/>
                  <a:gd name="T35" fmla="*/ 143 h 145"/>
                  <a:gd name="T36" fmla="*/ 0 w 165"/>
                  <a:gd name="T37" fmla="*/ 145 h 145"/>
                  <a:gd name="T38" fmla="*/ 1 w 165"/>
                  <a:gd name="T39" fmla="*/ 143 h 145"/>
                  <a:gd name="T40" fmla="*/ 4 w 165"/>
                  <a:gd name="T41" fmla="*/ 136 h 145"/>
                  <a:gd name="T42" fmla="*/ 6 w 165"/>
                  <a:gd name="T43" fmla="*/ 132 h 145"/>
                  <a:gd name="T44" fmla="*/ 8 w 165"/>
                  <a:gd name="T45" fmla="*/ 127 h 145"/>
                  <a:gd name="T46" fmla="*/ 15 w 165"/>
                  <a:gd name="T47" fmla="*/ 115 h 145"/>
                  <a:gd name="T48" fmla="*/ 19 w 165"/>
                  <a:gd name="T49" fmla="*/ 108 h 145"/>
                  <a:gd name="T50" fmla="*/ 24 w 165"/>
                  <a:gd name="T51" fmla="*/ 101 h 145"/>
                  <a:gd name="T52" fmla="*/ 35 w 165"/>
                  <a:gd name="T53" fmla="*/ 85 h 145"/>
                  <a:gd name="T54" fmla="*/ 66 w 165"/>
                  <a:gd name="T55" fmla="*/ 53 h 145"/>
                  <a:gd name="T56" fmla="*/ 101 w 165"/>
                  <a:gd name="T57" fmla="*/ 27 h 145"/>
                  <a:gd name="T58" fmla="*/ 118 w 165"/>
                  <a:gd name="T59" fmla="*/ 18 h 145"/>
                  <a:gd name="T60" fmla="*/ 126 w 165"/>
                  <a:gd name="T61" fmla="*/ 14 h 145"/>
                  <a:gd name="T62" fmla="*/ 133 w 165"/>
                  <a:gd name="T63" fmla="*/ 10 h 145"/>
                  <a:gd name="T64" fmla="*/ 146 w 165"/>
                  <a:gd name="T65" fmla="*/ 5 h 145"/>
                  <a:gd name="T66" fmla="*/ 152 w 165"/>
                  <a:gd name="T67" fmla="*/ 3 h 145"/>
                  <a:gd name="T68" fmla="*/ 156 w 165"/>
                  <a:gd name="T69" fmla="*/ 2 h 145"/>
                  <a:gd name="T70" fmla="*/ 163 w 165"/>
                  <a:gd name="T71" fmla="*/ 0 h 145"/>
                  <a:gd name="T72" fmla="*/ 165 w 165"/>
                  <a:gd name="T73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65" h="145">
                    <a:moveTo>
                      <a:pt x="165" y="0"/>
                    </a:moveTo>
                    <a:cubicBezTo>
                      <a:pt x="165" y="0"/>
                      <a:pt x="164" y="0"/>
                      <a:pt x="163" y="1"/>
                    </a:cubicBezTo>
                    <a:cubicBezTo>
                      <a:pt x="161" y="1"/>
                      <a:pt x="159" y="2"/>
                      <a:pt x="157" y="3"/>
                    </a:cubicBezTo>
                    <a:cubicBezTo>
                      <a:pt x="155" y="3"/>
                      <a:pt x="154" y="4"/>
                      <a:pt x="152" y="4"/>
                    </a:cubicBezTo>
                    <a:cubicBezTo>
                      <a:pt x="150" y="5"/>
                      <a:pt x="149" y="6"/>
                      <a:pt x="147" y="6"/>
                    </a:cubicBezTo>
                    <a:cubicBezTo>
                      <a:pt x="143" y="8"/>
                      <a:pt x="139" y="9"/>
                      <a:pt x="134" y="12"/>
                    </a:cubicBezTo>
                    <a:cubicBezTo>
                      <a:pt x="132" y="13"/>
                      <a:pt x="129" y="14"/>
                      <a:pt x="127" y="15"/>
                    </a:cubicBezTo>
                    <a:cubicBezTo>
                      <a:pt x="124" y="16"/>
                      <a:pt x="122" y="18"/>
                      <a:pt x="119" y="19"/>
                    </a:cubicBezTo>
                    <a:cubicBezTo>
                      <a:pt x="114" y="22"/>
                      <a:pt x="108" y="25"/>
                      <a:pt x="102" y="28"/>
                    </a:cubicBezTo>
                    <a:cubicBezTo>
                      <a:pt x="91" y="36"/>
                      <a:pt x="79" y="44"/>
                      <a:pt x="67" y="55"/>
                    </a:cubicBezTo>
                    <a:cubicBezTo>
                      <a:pt x="55" y="65"/>
                      <a:pt x="45" y="76"/>
                      <a:pt x="37" y="86"/>
                    </a:cubicBezTo>
                    <a:cubicBezTo>
                      <a:pt x="32" y="92"/>
                      <a:pt x="28" y="97"/>
                      <a:pt x="25" y="102"/>
                    </a:cubicBezTo>
                    <a:cubicBezTo>
                      <a:pt x="23" y="104"/>
                      <a:pt x="22" y="106"/>
                      <a:pt x="20" y="109"/>
                    </a:cubicBezTo>
                    <a:cubicBezTo>
                      <a:pt x="19" y="111"/>
                      <a:pt x="17" y="113"/>
                      <a:pt x="16" y="116"/>
                    </a:cubicBezTo>
                    <a:cubicBezTo>
                      <a:pt x="13" y="120"/>
                      <a:pt x="11" y="124"/>
                      <a:pt x="9" y="127"/>
                    </a:cubicBezTo>
                    <a:cubicBezTo>
                      <a:pt x="8" y="129"/>
                      <a:pt x="7" y="131"/>
                      <a:pt x="6" y="132"/>
                    </a:cubicBezTo>
                    <a:cubicBezTo>
                      <a:pt x="6" y="134"/>
                      <a:pt x="5" y="135"/>
                      <a:pt x="4" y="137"/>
                    </a:cubicBezTo>
                    <a:cubicBezTo>
                      <a:pt x="3" y="139"/>
                      <a:pt x="2" y="141"/>
                      <a:pt x="1" y="143"/>
                    </a:cubicBezTo>
                    <a:cubicBezTo>
                      <a:pt x="1" y="144"/>
                      <a:pt x="0" y="145"/>
                      <a:pt x="0" y="145"/>
                    </a:cubicBezTo>
                    <a:cubicBezTo>
                      <a:pt x="0" y="145"/>
                      <a:pt x="0" y="144"/>
                      <a:pt x="1" y="143"/>
                    </a:cubicBezTo>
                    <a:cubicBezTo>
                      <a:pt x="2" y="141"/>
                      <a:pt x="3" y="139"/>
                      <a:pt x="4" y="136"/>
                    </a:cubicBezTo>
                    <a:cubicBezTo>
                      <a:pt x="4" y="135"/>
                      <a:pt x="5" y="134"/>
                      <a:pt x="6" y="132"/>
                    </a:cubicBezTo>
                    <a:cubicBezTo>
                      <a:pt x="6" y="130"/>
                      <a:pt x="7" y="129"/>
                      <a:pt x="8" y="127"/>
                    </a:cubicBezTo>
                    <a:cubicBezTo>
                      <a:pt x="10" y="123"/>
                      <a:pt x="12" y="119"/>
                      <a:pt x="15" y="115"/>
                    </a:cubicBezTo>
                    <a:cubicBezTo>
                      <a:pt x="16" y="113"/>
                      <a:pt x="17" y="110"/>
                      <a:pt x="19" y="108"/>
                    </a:cubicBezTo>
                    <a:cubicBezTo>
                      <a:pt x="20" y="106"/>
                      <a:pt x="22" y="103"/>
                      <a:pt x="24" y="101"/>
                    </a:cubicBezTo>
                    <a:cubicBezTo>
                      <a:pt x="27" y="96"/>
                      <a:pt x="31" y="91"/>
                      <a:pt x="35" y="85"/>
                    </a:cubicBezTo>
                    <a:cubicBezTo>
                      <a:pt x="44" y="75"/>
                      <a:pt x="54" y="64"/>
                      <a:pt x="66" y="53"/>
                    </a:cubicBezTo>
                    <a:cubicBezTo>
                      <a:pt x="78" y="43"/>
                      <a:pt x="90" y="34"/>
                      <a:pt x="101" y="27"/>
                    </a:cubicBezTo>
                    <a:cubicBezTo>
                      <a:pt x="107" y="24"/>
                      <a:pt x="113" y="20"/>
                      <a:pt x="118" y="18"/>
                    </a:cubicBezTo>
                    <a:cubicBezTo>
                      <a:pt x="121" y="16"/>
                      <a:pt x="124" y="15"/>
                      <a:pt x="126" y="14"/>
                    </a:cubicBezTo>
                    <a:cubicBezTo>
                      <a:pt x="129" y="13"/>
                      <a:pt x="131" y="11"/>
                      <a:pt x="133" y="10"/>
                    </a:cubicBezTo>
                    <a:cubicBezTo>
                      <a:pt x="138" y="8"/>
                      <a:pt x="143" y="7"/>
                      <a:pt x="146" y="5"/>
                    </a:cubicBezTo>
                    <a:cubicBezTo>
                      <a:pt x="148" y="5"/>
                      <a:pt x="150" y="4"/>
                      <a:pt x="152" y="3"/>
                    </a:cubicBezTo>
                    <a:cubicBezTo>
                      <a:pt x="153" y="3"/>
                      <a:pt x="155" y="2"/>
                      <a:pt x="156" y="2"/>
                    </a:cubicBezTo>
                    <a:cubicBezTo>
                      <a:pt x="159" y="1"/>
                      <a:pt x="161" y="1"/>
                      <a:pt x="163" y="0"/>
                    </a:cubicBezTo>
                    <a:cubicBezTo>
                      <a:pt x="164" y="0"/>
                      <a:pt x="165" y="0"/>
                      <a:pt x="16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7" name="任意多边形: 形状 1436">
                <a:extLst>
                  <a:ext uri="{FF2B5EF4-FFF2-40B4-BE49-F238E27FC236}">
                    <a16:creationId xmlns:a16="http://schemas.microsoft.com/office/drawing/2014/main" id="{CB000662-E7E4-4EA5-B0BF-6FCC8C71B8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2488" y="4087813"/>
                <a:ext cx="150813" cy="46038"/>
              </a:xfrm>
              <a:custGeom>
                <a:avLst/>
                <a:gdLst>
                  <a:gd name="T0" fmla="*/ 66 w 66"/>
                  <a:gd name="T1" fmla="*/ 0 h 20"/>
                  <a:gd name="T2" fmla="*/ 33 w 66"/>
                  <a:gd name="T3" fmla="*/ 11 h 20"/>
                  <a:gd name="T4" fmla="*/ 0 w 66"/>
                  <a:gd name="T5" fmla="*/ 19 h 20"/>
                  <a:gd name="T6" fmla="*/ 33 w 66"/>
                  <a:gd name="T7" fmla="*/ 9 h 20"/>
                  <a:gd name="T8" fmla="*/ 66 w 66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20">
                    <a:moveTo>
                      <a:pt x="66" y="0"/>
                    </a:moveTo>
                    <a:cubicBezTo>
                      <a:pt x="66" y="1"/>
                      <a:pt x="51" y="5"/>
                      <a:pt x="33" y="11"/>
                    </a:cubicBezTo>
                    <a:cubicBezTo>
                      <a:pt x="15" y="16"/>
                      <a:pt x="0" y="20"/>
                      <a:pt x="0" y="19"/>
                    </a:cubicBezTo>
                    <a:cubicBezTo>
                      <a:pt x="0" y="19"/>
                      <a:pt x="14" y="14"/>
                      <a:pt x="33" y="9"/>
                    </a:cubicBezTo>
                    <a:cubicBezTo>
                      <a:pt x="51" y="4"/>
                      <a:pt x="65" y="0"/>
                      <a:pt x="6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8" name="任意多边形: 形状 1437">
                <a:extLst>
                  <a:ext uri="{FF2B5EF4-FFF2-40B4-BE49-F238E27FC236}">
                    <a16:creationId xmlns:a16="http://schemas.microsoft.com/office/drawing/2014/main" id="{80F52B2F-FE23-47D9-851C-9BC4F25F3C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5363" y="4095751"/>
                <a:ext cx="7938" cy="157163"/>
              </a:xfrm>
              <a:custGeom>
                <a:avLst/>
                <a:gdLst>
                  <a:gd name="T0" fmla="*/ 1 w 3"/>
                  <a:gd name="T1" fmla="*/ 69 h 69"/>
                  <a:gd name="T2" fmla="*/ 1 w 3"/>
                  <a:gd name="T3" fmla="*/ 59 h 69"/>
                  <a:gd name="T4" fmla="*/ 1 w 3"/>
                  <a:gd name="T5" fmla="*/ 34 h 69"/>
                  <a:gd name="T6" fmla="*/ 2 w 3"/>
                  <a:gd name="T7" fmla="*/ 10 h 69"/>
                  <a:gd name="T8" fmla="*/ 3 w 3"/>
                  <a:gd name="T9" fmla="*/ 0 h 69"/>
                  <a:gd name="T10" fmla="*/ 3 w 3"/>
                  <a:gd name="T11" fmla="*/ 10 h 69"/>
                  <a:gd name="T12" fmla="*/ 2 w 3"/>
                  <a:gd name="T13" fmla="*/ 34 h 69"/>
                  <a:gd name="T14" fmla="*/ 2 w 3"/>
                  <a:gd name="T15" fmla="*/ 59 h 69"/>
                  <a:gd name="T16" fmla="*/ 1 w 3"/>
                  <a:gd name="T17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69">
                    <a:moveTo>
                      <a:pt x="1" y="69"/>
                    </a:moveTo>
                    <a:cubicBezTo>
                      <a:pt x="1" y="69"/>
                      <a:pt x="1" y="65"/>
                      <a:pt x="1" y="59"/>
                    </a:cubicBezTo>
                    <a:cubicBezTo>
                      <a:pt x="0" y="53"/>
                      <a:pt x="0" y="44"/>
                      <a:pt x="1" y="34"/>
                    </a:cubicBezTo>
                    <a:cubicBezTo>
                      <a:pt x="1" y="25"/>
                      <a:pt x="1" y="16"/>
                      <a:pt x="2" y="10"/>
                    </a:cubicBezTo>
                    <a:cubicBezTo>
                      <a:pt x="2" y="4"/>
                      <a:pt x="3" y="0"/>
                      <a:pt x="3" y="0"/>
                    </a:cubicBezTo>
                    <a:cubicBezTo>
                      <a:pt x="3" y="0"/>
                      <a:pt x="3" y="4"/>
                      <a:pt x="3" y="10"/>
                    </a:cubicBezTo>
                    <a:cubicBezTo>
                      <a:pt x="3" y="17"/>
                      <a:pt x="3" y="25"/>
                      <a:pt x="2" y="34"/>
                    </a:cubicBezTo>
                    <a:cubicBezTo>
                      <a:pt x="2" y="44"/>
                      <a:pt x="2" y="52"/>
                      <a:pt x="2" y="59"/>
                    </a:cubicBezTo>
                    <a:cubicBezTo>
                      <a:pt x="2" y="65"/>
                      <a:pt x="2" y="69"/>
                      <a:pt x="1" y="6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9" name="任意多边形: 形状 1438">
                <a:extLst>
                  <a:ext uri="{FF2B5EF4-FFF2-40B4-BE49-F238E27FC236}">
                    <a16:creationId xmlns:a16="http://schemas.microsoft.com/office/drawing/2014/main" id="{A99C39B9-5C86-461C-A452-C907ABD654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5538" y="4002088"/>
                <a:ext cx="14288" cy="179388"/>
              </a:xfrm>
              <a:custGeom>
                <a:avLst/>
                <a:gdLst>
                  <a:gd name="T0" fmla="*/ 6 w 6"/>
                  <a:gd name="T1" fmla="*/ 79 h 79"/>
                  <a:gd name="T2" fmla="*/ 2 w 6"/>
                  <a:gd name="T3" fmla="*/ 39 h 79"/>
                  <a:gd name="T4" fmla="*/ 0 w 6"/>
                  <a:gd name="T5" fmla="*/ 0 h 79"/>
                  <a:gd name="T6" fmla="*/ 4 w 6"/>
                  <a:gd name="T7" fmla="*/ 39 h 79"/>
                  <a:gd name="T8" fmla="*/ 6 w 6"/>
                  <a:gd name="T9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79">
                    <a:moveTo>
                      <a:pt x="6" y="79"/>
                    </a:moveTo>
                    <a:cubicBezTo>
                      <a:pt x="5" y="79"/>
                      <a:pt x="4" y="61"/>
                      <a:pt x="2" y="39"/>
                    </a:cubicBezTo>
                    <a:cubicBezTo>
                      <a:pt x="1" y="18"/>
                      <a:pt x="0" y="0"/>
                      <a:pt x="0" y="0"/>
                    </a:cubicBezTo>
                    <a:cubicBezTo>
                      <a:pt x="1" y="0"/>
                      <a:pt x="2" y="18"/>
                      <a:pt x="4" y="39"/>
                    </a:cubicBezTo>
                    <a:cubicBezTo>
                      <a:pt x="5" y="61"/>
                      <a:pt x="6" y="79"/>
                      <a:pt x="6" y="7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0" name="任意多边形: 形状 1439">
                <a:extLst>
                  <a:ext uri="{FF2B5EF4-FFF2-40B4-BE49-F238E27FC236}">
                    <a16:creationId xmlns:a16="http://schemas.microsoft.com/office/drawing/2014/main" id="{2A043ABF-2E8A-4FEB-BC53-42B01BD9E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613" y="3997326"/>
                <a:ext cx="161925" cy="6350"/>
              </a:xfrm>
              <a:custGeom>
                <a:avLst/>
                <a:gdLst>
                  <a:gd name="T0" fmla="*/ 0 w 71"/>
                  <a:gd name="T1" fmla="*/ 0 h 3"/>
                  <a:gd name="T2" fmla="*/ 11 w 71"/>
                  <a:gd name="T3" fmla="*/ 0 h 3"/>
                  <a:gd name="T4" fmla="*/ 36 w 71"/>
                  <a:gd name="T5" fmla="*/ 1 h 3"/>
                  <a:gd name="T6" fmla="*/ 61 w 71"/>
                  <a:gd name="T7" fmla="*/ 2 h 3"/>
                  <a:gd name="T8" fmla="*/ 71 w 71"/>
                  <a:gd name="T9" fmla="*/ 3 h 3"/>
                  <a:gd name="T10" fmla="*/ 61 w 71"/>
                  <a:gd name="T11" fmla="*/ 3 h 3"/>
                  <a:gd name="T12" fmla="*/ 36 w 71"/>
                  <a:gd name="T13" fmla="*/ 2 h 3"/>
                  <a:gd name="T14" fmla="*/ 11 w 71"/>
                  <a:gd name="T15" fmla="*/ 1 h 3"/>
                  <a:gd name="T16" fmla="*/ 0 w 71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3">
                    <a:moveTo>
                      <a:pt x="0" y="0"/>
                    </a:moveTo>
                    <a:cubicBezTo>
                      <a:pt x="0" y="0"/>
                      <a:pt x="4" y="0"/>
                      <a:pt x="11" y="0"/>
                    </a:cubicBezTo>
                    <a:cubicBezTo>
                      <a:pt x="17" y="0"/>
                      <a:pt x="26" y="0"/>
                      <a:pt x="36" y="1"/>
                    </a:cubicBezTo>
                    <a:cubicBezTo>
                      <a:pt x="45" y="1"/>
                      <a:pt x="54" y="1"/>
                      <a:pt x="61" y="2"/>
                    </a:cubicBezTo>
                    <a:cubicBezTo>
                      <a:pt x="67" y="2"/>
                      <a:pt x="71" y="2"/>
                      <a:pt x="71" y="3"/>
                    </a:cubicBezTo>
                    <a:cubicBezTo>
                      <a:pt x="71" y="3"/>
                      <a:pt x="67" y="3"/>
                      <a:pt x="61" y="3"/>
                    </a:cubicBezTo>
                    <a:cubicBezTo>
                      <a:pt x="54" y="3"/>
                      <a:pt x="45" y="3"/>
                      <a:pt x="36" y="2"/>
                    </a:cubicBezTo>
                    <a:cubicBezTo>
                      <a:pt x="26" y="2"/>
                      <a:pt x="17" y="2"/>
                      <a:pt x="11" y="1"/>
                    </a:cubicBezTo>
                    <a:cubicBezTo>
                      <a:pt x="4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1" name="任意多边形: 形状 1440">
                <a:extLst>
                  <a:ext uri="{FF2B5EF4-FFF2-40B4-BE49-F238E27FC236}">
                    <a16:creationId xmlns:a16="http://schemas.microsoft.com/office/drawing/2014/main" id="{E9218E3E-C3F3-4516-9488-BB521CC0B5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4450" y="4033838"/>
                <a:ext cx="84138" cy="468313"/>
              </a:xfrm>
              <a:custGeom>
                <a:avLst/>
                <a:gdLst>
                  <a:gd name="T0" fmla="*/ 1 w 37"/>
                  <a:gd name="T1" fmla="*/ 205 h 205"/>
                  <a:gd name="T2" fmla="*/ 1 w 37"/>
                  <a:gd name="T3" fmla="*/ 203 h 205"/>
                  <a:gd name="T4" fmla="*/ 0 w 37"/>
                  <a:gd name="T5" fmla="*/ 197 h 205"/>
                  <a:gd name="T6" fmla="*/ 0 w 37"/>
                  <a:gd name="T7" fmla="*/ 174 h 205"/>
                  <a:gd name="T8" fmla="*/ 2 w 37"/>
                  <a:gd name="T9" fmla="*/ 141 h 205"/>
                  <a:gd name="T10" fmla="*/ 8 w 37"/>
                  <a:gd name="T11" fmla="*/ 100 h 205"/>
                  <a:gd name="T12" fmla="*/ 16 w 37"/>
                  <a:gd name="T13" fmla="*/ 61 h 205"/>
                  <a:gd name="T14" fmla="*/ 26 w 37"/>
                  <a:gd name="T15" fmla="*/ 29 h 205"/>
                  <a:gd name="T16" fmla="*/ 34 w 37"/>
                  <a:gd name="T17" fmla="*/ 8 h 205"/>
                  <a:gd name="T18" fmla="*/ 36 w 37"/>
                  <a:gd name="T19" fmla="*/ 2 h 205"/>
                  <a:gd name="T20" fmla="*/ 37 w 37"/>
                  <a:gd name="T21" fmla="*/ 0 h 205"/>
                  <a:gd name="T22" fmla="*/ 37 w 37"/>
                  <a:gd name="T23" fmla="*/ 2 h 205"/>
                  <a:gd name="T24" fmla="*/ 35 w 37"/>
                  <a:gd name="T25" fmla="*/ 8 h 205"/>
                  <a:gd name="T26" fmla="*/ 27 w 37"/>
                  <a:gd name="T27" fmla="*/ 29 h 205"/>
                  <a:gd name="T28" fmla="*/ 18 w 37"/>
                  <a:gd name="T29" fmla="*/ 61 h 205"/>
                  <a:gd name="T30" fmla="*/ 9 w 37"/>
                  <a:gd name="T31" fmla="*/ 101 h 205"/>
                  <a:gd name="T32" fmla="*/ 4 w 37"/>
                  <a:gd name="T33" fmla="*/ 141 h 205"/>
                  <a:gd name="T34" fmla="*/ 1 w 37"/>
                  <a:gd name="T35" fmla="*/ 174 h 205"/>
                  <a:gd name="T36" fmla="*/ 1 w 37"/>
                  <a:gd name="T37" fmla="*/ 197 h 205"/>
                  <a:gd name="T38" fmla="*/ 1 w 37"/>
                  <a:gd name="T39" fmla="*/ 203 h 205"/>
                  <a:gd name="T40" fmla="*/ 1 w 37"/>
                  <a:gd name="T41" fmla="*/ 205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7" h="205">
                    <a:moveTo>
                      <a:pt x="1" y="205"/>
                    </a:moveTo>
                    <a:cubicBezTo>
                      <a:pt x="1" y="205"/>
                      <a:pt x="1" y="204"/>
                      <a:pt x="1" y="203"/>
                    </a:cubicBezTo>
                    <a:cubicBezTo>
                      <a:pt x="0" y="201"/>
                      <a:pt x="0" y="199"/>
                      <a:pt x="0" y="197"/>
                    </a:cubicBezTo>
                    <a:cubicBezTo>
                      <a:pt x="0" y="191"/>
                      <a:pt x="0" y="184"/>
                      <a:pt x="0" y="174"/>
                    </a:cubicBezTo>
                    <a:cubicBezTo>
                      <a:pt x="0" y="165"/>
                      <a:pt x="1" y="153"/>
                      <a:pt x="2" y="141"/>
                    </a:cubicBezTo>
                    <a:cubicBezTo>
                      <a:pt x="3" y="128"/>
                      <a:pt x="5" y="115"/>
                      <a:pt x="8" y="100"/>
                    </a:cubicBezTo>
                    <a:cubicBezTo>
                      <a:pt x="10" y="86"/>
                      <a:pt x="13" y="73"/>
                      <a:pt x="16" y="61"/>
                    </a:cubicBezTo>
                    <a:cubicBezTo>
                      <a:pt x="20" y="49"/>
                      <a:pt x="23" y="38"/>
                      <a:pt x="26" y="29"/>
                    </a:cubicBezTo>
                    <a:cubicBezTo>
                      <a:pt x="29" y="20"/>
                      <a:pt x="32" y="13"/>
                      <a:pt x="34" y="8"/>
                    </a:cubicBezTo>
                    <a:cubicBezTo>
                      <a:pt x="35" y="5"/>
                      <a:pt x="36" y="4"/>
                      <a:pt x="36" y="2"/>
                    </a:cubicBezTo>
                    <a:cubicBezTo>
                      <a:pt x="37" y="1"/>
                      <a:pt x="37" y="0"/>
                      <a:pt x="37" y="0"/>
                    </a:cubicBezTo>
                    <a:cubicBezTo>
                      <a:pt x="37" y="0"/>
                      <a:pt x="37" y="1"/>
                      <a:pt x="37" y="2"/>
                    </a:cubicBezTo>
                    <a:cubicBezTo>
                      <a:pt x="36" y="4"/>
                      <a:pt x="35" y="6"/>
                      <a:pt x="35" y="8"/>
                    </a:cubicBezTo>
                    <a:cubicBezTo>
                      <a:pt x="33" y="13"/>
                      <a:pt x="30" y="20"/>
                      <a:pt x="27" y="29"/>
                    </a:cubicBezTo>
                    <a:cubicBezTo>
                      <a:pt x="24" y="38"/>
                      <a:pt x="21" y="49"/>
                      <a:pt x="18" y="61"/>
                    </a:cubicBezTo>
                    <a:cubicBezTo>
                      <a:pt x="15" y="73"/>
                      <a:pt x="12" y="87"/>
                      <a:pt x="9" y="101"/>
                    </a:cubicBezTo>
                    <a:cubicBezTo>
                      <a:pt x="7" y="115"/>
                      <a:pt x="5" y="129"/>
                      <a:pt x="4" y="141"/>
                    </a:cubicBezTo>
                    <a:cubicBezTo>
                      <a:pt x="3" y="154"/>
                      <a:pt x="2" y="165"/>
                      <a:pt x="1" y="174"/>
                    </a:cubicBezTo>
                    <a:cubicBezTo>
                      <a:pt x="1" y="184"/>
                      <a:pt x="1" y="191"/>
                      <a:pt x="1" y="197"/>
                    </a:cubicBezTo>
                    <a:cubicBezTo>
                      <a:pt x="1" y="199"/>
                      <a:pt x="1" y="201"/>
                      <a:pt x="1" y="203"/>
                    </a:cubicBezTo>
                    <a:cubicBezTo>
                      <a:pt x="1" y="204"/>
                      <a:pt x="1" y="205"/>
                      <a:pt x="1" y="20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2" name="任意多边形: 形状 1441">
                <a:extLst>
                  <a:ext uri="{FF2B5EF4-FFF2-40B4-BE49-F238E27FC236}">
                    <a16:creationId xmlns:a16="http://schemas.microsoft.com/office/drawing/2014/main" id="{4394F66E-2865-4C3F-A1A9-FCFC30BCA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7138" y="4259263"/>
                <a:ext cx="107950" cy="93663"/>
              </a:xfrm>
              <a:custGeom>
                <a:avLst/>
                <a:gdLst>
                  <a:gd name="T0" fmla="*/ 47 w 47"/>
                  <a:gd name="T1" fmla="*/ 0 h 41"/>
                  <a:gd name="T2" fmla="*/ 41 w 47"/>
                  <a:gd name="T3" fmla="*/ 7 h 41"/>
                  <a:gd name="T4" fmla="*/ 25 w 47"/>
                  <a:gd name="T5" fmla="*/ 22 h 41"/>
                  <a:gd name="T6" fmla="*/ 7 w 47"/>
                  <a:gd name="T7" fmla="*/ 36 h 41"/>
                  <a:gd name="T8" fmla="*/ 0 w 47"/>
                  <a:gd name="T9" fmla="*/ 41 h 41"/>
                  <a:gd name="T10" fmla="*/ 7 w 47"/>
                  <a:gd name="T11" fmla="*/ 35 h 41"/>
                  <a:gd name="T12" fmla="*/ 23 w 47"/>
                  <a:gd name="T13" fmla="*/ 20 h 41"/>
                  <a:gd name="T14" fmla="*/ 40 w 47"/>
                  <a:gd name="T15" fmla="*/ 6 h 41"/>
                  <a:gd name="T16" fmla="*/ 47 w 47"/>
                  <a:gd name="T17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41">
                    <a:moveTo>
                      <a:pt x="47" y="0"/>
                    </a:moveTo>
                    <a:cubicBezTo>
                      <a:pt x="47" y="0"/>
                      <a:pt x="45" y="3"/>
                      <a:pt x="41" y="7"/>
                    </a:cubicBezTo>
                    <a:cubicBezTo>
                      <a:pt x="37" y="11"/>
                      <a:pt x="31" y="16"/>
                      <a:pt x="25" y="22"/>
                    </a:cubicBezTo>
                    <a:cubicBezTo>
                      <a:pt x="18" y="28"/>
                      <a:pt x="12" y="32"/>
                      <a:pt x="7" y="36"/>
                    </a:cubicBezTo>
                    <a:cubicBezTo>
                      <a:pt x="3" y="39"/>
                      <a:pt x="0" y="41"/>
                      <a:pt x="0" y="41"/>
                    </a:cubicBezTo>
                    <a:cubicBezTo>
                      <a:pt x="0" y="41"/>
                      <a:pt x="2" y="39"/>
                      <a:pt x="7" y="35"/>
                    </a:cubicBezTo>
                    <a:cubicBezTo>
                      <a:pt x="11" y="31"/>
                      <a:pt x="17" y="26"/>
                      <a:pt x="23" y="20"/>
                    </a:cubicBezTo>
                    <a:cubicBezTo>
                      <a:pt x="29" y="15"/>
                      <a:pt x="35" y="10"/>
                      <a:pt x="40" y="6"/>
                    </a:cubicBezTo>
                    <a:cubicBezTo>
                      <a:pt x="44" y="2"/>
                      <a:pt x="47" y="0"/>
                      <a:pt x="4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3" name="任意多边形: 形状 1442">
                <a:extLst>
                  <a:ext uri="{FF2B5EF4-FFF2-40B4-BE49-F238E27FC236}">
                    <a16:creationId xmlns:a16="http://schemas.microsoft.com/office/drawing/2014/main" id="{F5A80B2C-DEA0-4E30-BEE8-920ED4C810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6200" y="4205288"/>
                <a:ext cx="100013" cy="146050"/>
              </a:xfrm>
              <a:custGeom>
                <a:avLst/>
                <a:gdLst>
                  <a:gd name="T0" fmla="*/ 44 w 44"/>
                  <a:gd name="T1" fmla="*/ 64 h 64"/>
                  <a:gd name="T2" fmla="*/ 37 w 44"/>
                  <a:gd name="T3" fmla="*/ 54 h 64"/>
                  <a:gd name="T4" fmla="*/ 22 w 44"/>
                  <a:gd name="T5" fmla="*/ 32 h 64"/>
                  <a:gd name="T6" fmla="*/ 6 w 44"/>
                  <a:gd name="T7" fmla="*/ 10 h 64"/>
                  <a:gd name="T8" fmla="*/ 0 w 44"/>
                  <a:gd name="T9" fmla="*/ 0 h 64"/>
                  <a:gd name="T10" fmla="*/ 8 w 44"/>
                  <a:gd name="T11" fmla="*/ 9 h 64"/>
                  <a:gd name="T12" fmla="*/ 24 w 44"/>
                  <a:gd name="T13" fmla="*/ 31 h 64"/>
                  <a:gd name="T14" fmla="*/ 39 w 44"/>
                  <a:gd name="T15" fmla="*/ 54 h 64"/>
                  <a:gd name="T16" fmla="*/ 44 w 44"/>
                  <a:gd name="T1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64">
                    <a:moveTo>
                      <a:pt x="44" y="64"/>
                    </a:moveTo>
                    <a:cubicBezTo>
                      <a:pt x="44" y="64"/>
                      <a:pt x="41" y="60"/>
                      <a:pt x="37" y="54"/>
                    </a:cubicBezTo>
                    <a:cubicBezTo>
                      <a:pt x="33" y="48"/>
                      <a:pt x="28" y="40"/>
                      <a:pt x="22" y="32"/>
                    </a:cubicBezTo>
                    <a:cubicBezTo>
                      <a:pt x="16" y="24"/>
                      <a:pt x="11" y="16"/>
                      <a:pt x="6" y="10"/>
                    </a:cubicBezTo>
                    <a:cubicBezTo>
                      <a:pt x="2" y="4"/>
                      <a:pt x="0" y="1"/>
                      <a:pt x="0" y="0"/>
                    </a:cubicBezTo>
                    <a:cubicBezTo>
                      <a:pt x="0" y="0"/>
                      <a:pt x="3" y="4"/>
                      <a:pt x="8" y="9"/>
                    </a:cubicBezTo>
                    <a:cubicBezTo>
                      <a:pt x="12" y="14"/>
                      <a:pt x="18" y="22"/>
                      <a:pt x="24" y="31"/>
                    </a:cubicBezTo>
                    <a:cubicBezTo>
                      <a:pt x="30" y="40"/>
                      <a:pt x="35" y="48"/>
                      <a:pt x="39" y="54"/>
                    </a:cubicBezTo>
                    <a:cubicBezTo>
                      <a:pt x="42" y="60"/>
                      <a:pt x="44" y="63"/>
                      <a:pt x="44" y="6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4" name="任意多边形: 形状 1443">
                <a:extLst>
                  <a:ext uri="{FF2B5EF4-FFF2-40B4-BE49-F238E27FC236}">
                    <a16:creationId xmlns:a16="http://schemas.microsoft.com/office/drawing/2014/main" id="{61FA4F8D-A0E0-48F7-8EA7-F8E6575D80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13" y="4065588"/>
                <a:ext cx="171450" cy="109538"/>
              </a:xfrm>
              <a:custGeom>
                <a:avLst/>
                <a:gdLst>
                  <a:gd name="T0" fmla="*/ 74 w 75"/>
                  <a:gd name="T1" fmla="*/ 0 h 48"/>
                  <a:gd name="T2" fmla="*/ 38 w 75"/>
                  <a:gd name="T3" fmla="*/ 25 h 48"/>
                  <a:gd name="T4" fmla="*/ 0 w 75"/>
                  <a:gd name="T5" fmla="*/ 48 h 48"/>
                  <a:gd name="T6" fmla="*/ 37 w 75"/>
                  <a:gd name="T7" fmla="*/ 23 h 48"/>
                  <a:gd name="T8" fmla="*/ 74 w 75"/>
                  <a:gd name="T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48">
                    <a:moveTo>
                      <a:pt x="74" y="0"/>
                    </a:moveTo>
                    <a:cubicBezTo>
                      <a:pt x="75" y="0"/>
                      <a:pt x="58" y="11"/>
                      <a:pt x="38" y="25"/>
                    </a:cubicBezTo>
                    <a:cubicBezTo>
                      <a:pt x="17" y="38"/>
                      <a:pt x="1" y="48"/>
                      <a:pt x="0" y="48"/>
                    </a:cubicBezTo>
                    <a:cubicBezTo>
                      <a:pt x="0" y="47"/>
                      <a:pt x="16" y="36"/>
                      <a:pt x="37" y="23"/>
                    </a:cubicBezTo>
                    <a:cubicBezTo>
                      <a:pt x="57" y="10"/>
                      <a:pt x="74" y="0"/>
                      <a:pt x="7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5" name="任意多边形: 形状 1444">
                <a:extLst>
                  <a:ext uri="{FF2B5EF4-FFF2-40B4-BE49-F238E27FC236}">
                    <a16:creationId xmlns:a16="http://schemas.microsoft.com/office/drawing/2014/main" id="{070D4010-2597-4A29-8B55-112B409FDB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2713" y="4070351"/>
                <a:ext cx="111125" cy="109538"/>
              </a:xfrm>
              <a:custGeom>
                <a:avLst/>
                <a:gdLst>
                  <a:gd name="T0" fmla="*/ 48 w 49"/>
                  <a:gd name="T1" fmla="*/ 48 h 48"/>
                  <a:gd name="T2" fmla="*/ 24 w 49"/>
                  <a:gd name="T3" fmla="*/ 25 h 48"/>
                  <a:gd name="T4" fmla="*/ 0 w 49"/>
                  <a:gd name="T5" fmla="*/ 1 h 48"/>
                  <a:gd name="T6" fmla="*/ 25 w 49"/>
                  <a:gd name="T7" fmla="*/ 24 h 48"/>
                  <a:gd name="T8" fmla="*/ 48 w 49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8">
                    <a:moveTo>
                      <a:pt x="48" y="48"/>
                    </a:moveTo>
                    <a:cubicBezTo>
                      <a:pt x="48" y="48"/>
                      <a:pt x="37" y="38"/>
                      <a:pt x="24" y="25"/>
                    </a:cubicBezTo>
                    <a:cubicBezTo>
                      <a:pt x="10" y="12"/>
                      <a:pt x="0" y="1"/>
                      <a:pt x="0" y="1"/>
                    </a:cubicBezTo>
                    <a:cubicBezTo>
                      <a:pt x="1" y="0"/>
                      <a:pt x="12" y="11"/>
                      <a:pt x="25" y="24"/>
                    </a:cubicBezTo>
                    <a:cubicBezTo>
                      <a:pt x="38" y="37"/>
                      <a:pt x="49" y="47"/>
                      <a:pt x="48" y="4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6" name="任意多边形: 形状 1445">
                <a:extLst>
                  <a:ext uri="{FF2B5EF4-FFF2-40B4-BE49-F238E27FC236}">
                    <a16:creationId xmlns:a16="http://schemas.microsoft.com/office/drawing/2014/main" id="{2E664F8D-E98F-4B7C-B104-FE52AAFA58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9238" y="3935413"/>
                <a:ext cx="471488" cy="241300"/>
              </a:xfrm>
              <a:custGeom>
                <a:avLst/>
                <a:gdLst>
                  <a:gd name="T0" fmla="*/ 0 w 206"/>
                  <a:gd name="T1" fmla="*/ 106 h 106"/>
                  <a:gd name="T2" fmla="*/ 14 w 206"/>
                  <a:gd name="T3" fmla="*/ 105 h 106"/>
                  <a:gd name="T4" fmla="*/ 42 w 206"/>
                  <a:gd name="T5" fmla="*/ 96 h 106"/>
                  <a:gd name="T6" fmla="*/ 55 w 206"/>
                  <a:gd name="T7" fmla="*/ 89 h 106"/>
                  <a:gd name="T8" fmla="*/ 111 w 206"/>
                  <a:gd name="T9" fmla="*/ 83 h 106"/>
                  <a:gd name="T10" fmla="*/ 199 w 206"/>
                  <a:gd name="T11" fmla="*/ 60 h 106"/>
                  <a:gd name="T12" fmla="*/ 203 w 206"/>
                  <a:gd name="T13" fmla="*/ 57 h 106"/>
                  <a:gd name="T14" fmla="*/ 196 w 206"/>
                  <a:gd name="T15" fmla="*/ 44 h 106"/>
                  <a:gd name="T16" fmla="*/ 121 w 206"/>
                  <a:gd name="T17" fmla="*/ 7 h 106"/>
                  <a:gd name="T18" fmla="*/ 41 w 206"/>
                  <a:gd name="T19" fmla="*/ 17 h 106"/>
                  <a:gd name="T20" fmla="*/ 0 w 206"/>
                  <a:gd name="T21" fmla="*/ 10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6" h="106">
                    <a:moveTo>
                      <a:pt x="0" y="106"/>
                    </a:moveTo>
                    <a:cubicBezTo>
                      <a:pt x="14" y="105"/>
                      <a:pt x="14" y="105"/>
                      <a:pt x="14" y="105"/>
                    </a:cubicBezTo>
                    <a:cubicBezTo>
                      <a:pt x="24" y="104"/>
                      <a:pt x="34" y="101"/>
                      <a:pt x="42" y="96"/>
                    </a:cubicBezTo>
                    <a:cubicBezTo>
                      <a:pt x="47" y="93"/>
                      <a:pt x="51" y="91"/>
                      <a:pt x="55" y="89"/>
                    </a:cubicBezTo>
                    <a:cubicBezTo>
                      <a:pt x="73" y="82"/>
                      <a:pt x="92" y="84"/>
                      <a:pt x="111" y="83"/>
                    </a:cubicBezTo>
                    <a:cubicBezTo>
                      <a:pt x="141" y="81"/>
                      <a:pt x="171" y="73"/>
                      <a:pt x="199" y="60"/>
                    </a:cubicBezTo>
                    <a:cubicBezTo>
                      <a:pt x="200" y="59"/>
                      <a:pt x="202" y="58"/>
                      <a:pt x="203" y="57"/>
                    </a:cubicBezTo>
                    <a:cubicBezTo>
                      <a:pt x="206" y="51"/>
                      <a:pt x="200" y="47"/>
                      <a:pt x="196" y="44"/>
                    </a:cubicBezTo>
                    <a:cubicBezTo>
                      <a:pt x="172" y="29"/>
                      <a:pt x="148" y="15"/>
                      <a:pt x="121" y="7"/>
                    </a:cubicBezTo>
                    <a:cubicBezTo>
                      <a:pt x="94" y="0"/>
                      <a:pt x="64" y="1"/>
                      <a:pt x="41" y="17"/>
                    </a:cubicBezTo>
                    <a:cubicBezTo>
                      <a:pt x="14" y="36"/>
                      <a:pt x="4" y="73"/>
                      <a:pt x="0" y="106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7" name="任意多边形: 形状 1446">
                <a:extLst>
                  <a:ext uri="{FF2B5EF4-FFF2-40B4-BE49-F238E27FC236}">
                    <a16:creationId xmlns:a16="http://schemas.microsoft.com/office/drawing/2014/main" id="{1FF77005-9859-4E76-A2E1-2551B0CA32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9238" y="3968751"/>
                <a:ext cx="465138" cy="207963"/>
              </a:xfrm>
              <a:custGeom>
                <a:avLst/>
                <a:gdLst>
                  <a:gd name="T0" fmla="*/ 203 w 203"/>
                  <a:gd name="T1" fmla="*/ 40 h 91"/>
                  <a:gd name="T2" fmla="*/ 201 w 203"/>
                  <a:gd name="T3" fmla="*/ 39 h 91"/>
                  <a:gd name="T4" fmla="*/ 194 w 203"/>
                  <a:gd name="T5" fmla="*/ 35 h 91"/>
                  <a:gd name="T6" fmla="*/ 169 w 203"/>
                  <a:gd name="T7" fmla="*/ 23 h 91"/>
                  <a:gd name="T8" fmla="*/ 131 w 203"/>
                  <a:gd name="T9" fmla="*/ 8 h 91"/>
                  <a:gd name="T10" fmla="*/ 82 w 203"/>
                  <a:gd name="T11" fmla="*/ 4 h 91"/>
                  <a:gd name="T12" fmla="*/ 37 w 203"/>
                  <a:gd name="T13" fmla="*/ 23 h 91"/>
                  <a:gd name="T14" fmla="*/ 14 w 203"/>
                  <a:gd name="T15" fmla="*/ 56 h 91"/>
                  <a:gd name="T16" fmla="*/ 4 w 203"/>
                  <a:gd name="T17" fmla="*/ 82 h 91"/>
                  <a:gd name="T18" fmla="*/ 1 w 203"/>
                  <a:gd name="T19" fmla="*/ 89 h 91"/>
                  <a:gd name="T20" fmla="*/ 0 w 203"/>
                  <a:gd name="T21" fmla="*/ 91 h 91"/>
                  <a:gd name="T22" fmla="*/ 1 w 203"/>
                  <a:gd name="T23" fmla="*/ 89 h 91"/>
                  <a:gd name="T24" fmla="*/ 3 w 203"/>
                  <a:gd name="T25" fmla="*/ 82 h 91"/>
                  <a:gd name="T26" fmla="*/ 13 w 203"/>
                  <a:gd name="T27" fmla="*/ 56 h 91"/>
                  <a:gd name="T28" fmla="*/ 36 w 203"/>
                  <a:gd name="T29" fmla="*/ 22 h 91"/>
                  <a:gd name="T30" fmla="*/ 82 w 203"/>
                  <a:gd name="T31" fmla="*/ 2 h 91"/>
                  <a:gd name="T32" fmla="*/ 132 w 203"/>
                  <a:gd name="T33" fmla="*/ 6 h 91"/>
                  <a:gd name="T34" fmla="*/ 170 w 203"/>
                  <a:gd name="T35" fmla="*/ 22 h 91"/>
                  <a:gd name="T36" fmla="*/ 194 w 203"/>
                  <a:gd name="T37" fmla="*/ 35 h 91"/>
                  <a:gd name="T38" fmla="*/ 201 w 203"/>
                  <a:gd name="T39" fmla="*/ 38 h 91"/>
                  <a:gd name="T40" fmla="*/ 203 w 203"/>
                  <a:gd name="T41" fmla="*/ 4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3" h="91">
                    <a:moveTo>
                      <a:pt x="203" y="40"/>
                    </a:moveTo>
                    <a:cubicBezTo>
                      <a:pt x="203" y="40"/>
                      <a:pt x="202" y="40"/>
                      <a:pt x="201" y="39"/>
                    </a:cubicBezTo>
                    <a:cubicBezTo>
                      <a:pt x="199" y="38"/>
                      <a:pt x="197" y="37"/>
                      <a:pt x="194" y="35"/>
                    </a:cubicBezTo>
                    <a:cubicBezTo>
                      <a:pt x="188" y="32"/>
                      <a:pt x="180" y="28"/>
                      <a:pt x="169" y="23"/>
                    </a:cubicBezTo>
                    <a:cubicBezTo>
                      <a:pt x="159" y="18"/>
                      <a:pt x="146" y="12"/>
                      <a:pt x="131" y="8"/>
                    </a:cubicBezTo>
                    <a:cubicBezTo>
                      <a:pt x="117" y="4"/>
                      <a:pt x="100" y="2"/>
                      <a:pt x="82" y="4"/>
                    </a:cubicBezTo>
                    <a:cubicBezTo>
                      <a:pt x="65" y="6"/>
                      <a:pt x="49" y="13"/>
                      <a:pt x="37" y="23"/>
                    </a:cubicBezTo>
                    <a:cubicBezTo>
                      <a:pt x="26" y="34"/>
                      <a:pt x="19" y="46"/>
                      <a:pt x="14" y="56"/>
                    </a:cubicBezTo>
                    <a:cubicBezTo>
                      <a:pt x="9" y="67"/>
                      <a:pt x="6" y="76"/>
                      <a:pt x="4" y="82"/>
                    </a:cubicBezTo>
                    <a:cubicBezTo>
                      <a:pt x="3" y="85"/>
                      <a:pt x="2" y="87"/>
                      <a:pt x="1" y="89"/>
                    </a:cubicBezTo>
                    <a:cubicBezTo>
                      <a:pt x="1" y="90"/>
                      <a:pt x="0" y="91"/>
                      <a:pt x="0" y="91"/>
                    </a:cubicBezTo>
                    <a:cubicBezTo>
                      <a:pt x="0" y="91"/>
                      <a:pt x="0" y="90"/>
                      <a:pt x="1" y="89"/>
                    </a:cubicBezTo>
                    <a:cubicBezTo>
                      <a:pt x="1" y="87"/>
                      <a:pt x="2" y="85"/>
                      <a:pt x="3" y="82"/>
                    </a:cubicBezTo>
                    <a:cubicBezTo>
                      <a:pt x="5" y="75"/>
                      <a:pt x="8" y="66"/>
                      <a:pt x="13" y="56"/>
                    </a:cubicBezTo>
                    <a:cubicBezTo>
                      <a:pt x="18" y="45"/>
                      <a:pt x="24" y="33"/>
                      <a:pt x="36" y="22"/>
                    </a:cubicBezTo>
                    <a:cubicBezTo>
                      <a:pt x="48" y="12"/>
                      <a:pt x="64" y="5"/>
                      <a:pt x="82" y="2"/>
                    </a:cubicBezTo>
                    <a:cubicBezTo>
                      <a:pt x="100" y="0"/>
                      <a:pt x="117" y="2"/>
                      <a:pt x="132" y="6"/>
                    </a:cubicBezTo>
                    <a:cubicBezTo>
                      <a:pt x="147" y="11"/>
                      <a:pt x="160" y="16"/>
                      <a:pt x="170" y="22"/>
                    </a:cubicBezTo>
                    <a:cubicBezTo>
                      <a:pt x="180" y="27"/>
                      <a:pt x="189" y="31"/>
                      <a:pt x="194" y="35"/>
                    </a:cubicBezTo>
                    <a:cubicBezTo>
                      <a:pt x="197" y="36"/>
                      <a:pt x="199" y="37"/>
                      <a:pt x="201" y="38"/>
                    </a:cubicBezTo>
                    <a:cubicBezTo>
                      <a:pt x="202" y="39"/>
                      <a:pt x="203" y="40"/>
                      <a:pt x="203" y="4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8" name="任意多边形: 形状 1447">
                <a:extLst>
                  <a:ext uri="{FF2B5EF4-FFF2-40B4-BE49-F238E27FC236}">
                    <a16:creationId xmlns:a16="http://schemas.microsoft.com/office/drawing/2014/main" id="{A5CA777B-7C24-4576-B859-6482940D9D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0850" y="3976688"/>
                <a:ext cx="187325" cy="125413"/>
              </a:xfrm>
              <a:custGeom>
                <a:avLst/>
                <a:gdLst>
                  <a:gd name="T0" fmla="*/ 81 w 82"/>
                  <a:gd name="T1" fmla="*/ 55 h 55"/>
                  <a:gd name="T2" fmla="*/ 40 w 82"/>
                  <a:gd name="T3" fmla="*/ 28 h 55"/>
                  <a:gd name="T4" fmla="*/ 0 w 82"/>
                  <a:gd name="T5" fmla="*/ 0 h 55"/>
                  <a:gd name="T6" fmla="*/ 41 w 82"/>
                  <a:gd name="T7" fmla="*/ 27 h 55"/>
                  <a:gd name="T8" fmla="*/ 81 w 82"/>
                  <a:gd name="T9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55">
                    <a:moveTo>
                      <a:pt x="81" y="55"/>
                    </a:moveTo>
                    <a:cubicBezTo>
                      <a:pt x="81" y="55"/>
                      <a:pt x="63" y="44"/>
                      <a:pt x="40" y="28"/>
                    </a:cubicBezTo>
                    <a:cubicBezTo>
                      <a:pt x="18" y="13"/>
                      <a:pt x="0" y="1"/>
                      <a:pt x="0" y="0"/>
                    </a:cubicBezTo>
                    <a:cubicBezTo>
                      <a:pt x="1" y="0"/>
                      <a:pt x="19" y="12"/>
                      <a:pt x="41" y="27"/>
                    </a:cubicBezTo>
                    <a:cubicBezTo>
                      <a:pt x="64" y="42"/>
                      <a:pt x="82" y="55"/>
                      <a:pt x="81" y="5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9" name="任意多边形: 形状 1448">
                <a:extLst>
                  <a:ext uri="{FF2B5EF4-FFF2-40B4-BE49-F238E27FC236}">
                    <a16:creationId xmlns:a16="http://schemas.microsoft.com/office/drawing/2014/main" id="{343D184F-8970-4AD7-BC71-2D49E300F1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0225" y="3971926"/>
                <a:ext cx="66675" cy="9525"/>
              </a:xfrm>
              <a:custGeom>
                <a:avLst/>
                <a:gdLst>
                  <a:gd name="T0" fmla="*/ 29 w 29"/>
                  <a:gd name="T1" fmla="*/ 1 h 4"/>
                  <a:gd name="T2" fmla="*/ 14 w 29"/>
                  <a:gd name="T3" fmla="*/ 4 h 4"/>
                  <a:gd name="T4" fmla="*/ 0 w 29"/>
                  <a:gd name="T5" fmla="*/ 3 h 4"/>
                  <a:gd name="T6" fmla="*/ 14 w 29"/>
                  <a:gd name="T7" fmla="*/ 2 h 4"/>
                  <a:gd name="T8" fmla="*/ 29 w 29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">
                    <a:moveTo>
                      <a:pt x="29" y="1"/>
                    </a:moveTo>
                    <a:cubicBezTo>
                      <a:pt x="29" y="1"/>
                      <a:pt x="22" y="3"/>
                      <a:pt x="14" y="4"/>
                    </a:cubicBezTo>
                    <a:cubicBezTo>
                      <a:pt x="6" y="4"/>
                      <a:pt x="0" y="4"/>
                      <a:pt x="0" y="3"/>
                    </a:cubicBezTo>
                    <a:cubicBezTo>
                      <a:pt x="0" y="3"/>
                      <a:pt x="6" y="2"/>
                      <a:pt x="14" y="2"/>
                    </a:cubicBezTo>
                    <a:cubicBezTo>
                      <a:pt x="22" y="1"/>
                      <a:pt x="29" y="0"/>
                      <a:pt x="29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0" name="任意多边形: 形状 1449">
                <a:extLst>
                  <a:ext uri="{FF2B5EF4-FFF2-40B4-BE49-F238E27FC236}">
                    <a16:creationId xmlns:a16="http://schemas.microsoft.com/office/drawing/2014/main" id="{6D23C54A-F913-495D-9E2B-64C34745DE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4650" y="3940176"/>
                <a:ext cx="34925" cy="52388"/>
              </a:xfrm>
              <a:custGeom>
                <a:avLst/>
                <a:gdLst>
                  <a:gd name="T0" fmla="*/ 14 w 15"/>
                  <a:gd name="T1" fmla="*/ 0 h 23"/>
                  <a:gd name="T2" fmla="*/ 8 w 15"/>
                  <a:gd name="T3" fmla="*/ 12 h 23"/>
                  <a:gd name="T4" fmla="*/ 1 w 15"/>
                  <a:gd name="T5" fmla="*/ 23 h 23"/>
                  <a:gd name="T6" fmla="*/ 7 w 15"/>
                  <a:gd name="T7" fmla="*/ 11 h 23"/>
                  <a:gd name="T8" fmla="*/ 14 w 15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3">
                    <a:moveTo>
                      <a:pt x="14" y="0"/>
                    </a:moveTo>
                    <a:cubicBezTo>
                      <a:pt x="15" y="0"/>
                      <a:pt x="12" y="6"/>
                      <a:pt x="8" y="12"/>
                    </a:cubicBezTo>
                    <a:cubicBezTo>
                      <a:pt x="5" y="18"/>
                      <a:pt x="1" y="23"/>
                      <a:pt x="1" y="23"/>
                    </a:cubicBezTo>
                    <a:cubicBezTo>
                      <a:pt x="0" y="23"/>
                      <a:pt x="3" y="17"/>
                      <a:pt x="7" y="11"/>
                    </a:cubicBezTo>
                    <a:cubicBezTo>
                      <a:pt x="11" y="5"/>
                      <a:pt x="14" y="0"/>
                      <a:pt x="1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1" name="任意多边形: 形状 1450">
                <a:extLst>
                  <a:ext uri="{FF2B5EF4-FFF2-40B4-BE49-F238E27FC236}">
                    <a16:creationId xmlns:a16="http://schemas.microsoft.com/office/drawing/2014/main" id="{B9230597-C00B-47A8-AF32-B356CE3204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7500" y="4035426"/>
                <a:ext cx="128588" cy="92075"/>
              </a:xfrm>
              <a:custGeom>
                <a:avLst/>
                <a:gdLst>
                  <a:gd name="T0" fmla="*/ 56 w 56"/>
                  <a:gd name="T1" fmla="*/ 40 h 40"/>
                  <a:gd name="T2" fmla="*/ 47 w 56"/>
                  <a:gd name="T3" fmla="*/ 35 h 40"/>
                  <a:gd name="T4" fmla="*/ 27 w 56"/>
                  <a:gd name="T5" fmla="*/ 22 h 40"/>
                  <a:gd name="T6" fmla="*/ 8 w 56"/>
                  <a:gd name="T7" fmla="*/ 7 h 40"/>
                  <a:gd name="T8" fmla="*/ 0 w 56"/>
                  <a:gd name="T9" fmla="*/ 0 h 40"/>
                  <a:gd name="T10" fmla="*/ 9 w 56"/>
                  <a:gd name="T11" fmla="*/ 6 h 40"/>
                  <a:gd name="T12" fmla="*/ 28 w 56"/>
                  <a:gd name="T13" fmla="*/ 20 h 40"/>
                  <a:gd name="T14" fmla="*/ 48 w 56"/>
                  <a:gd name="T15" fmla="*/ 34 h 40"/>
                  <a:gd name="T16" fmla="*/ 56 w 56"/>
                  <a:gd name="T1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40">
                    <a:moveTo>
                      <a:pt x="56" y="40"/>
                    </a:moveTo>
                    <a:cubicBezTo>
                      <a:pt x="56" y="40"/>
                      <a:pt x="52" y="38"/>
                      <a:pt x="47" y="35"/>
                    </a:cubicBezTo>
                    <a:cubicBezTo>
                      <a:pt x="42" y="32"/>
                      <a:pt x="35" y="27"/>
                      <a:pt x="27" y="22"/>
                    </a:cubicBezTo>
                    <a:cubicBezTo>
                      <a:pt x="19" y="16"/>
                      <a:pt x="13" y="11"/>
                      <a:pt x="8" y="7"/>
                    </a:cubicBezTo>
                    <a:cubicBezTo>
                      <a:pt x="3" y="3"/>
                      <a:pt x="0" y="1"/>
                      <a:pt x="0" y="0"/>
                    </a:cubicBezTo>
                    <a:cubicBezTo>
                      <a:pt x="0" y="0"/>
                      <a:pt x="3" y="2"/>
                      <a:pt x="9" y="6"/>
                    </a:cubicBezTo>
                    <a:cubicBezTo>
                      <a:pt x="14" y="10"/>
                      <a:pt x="21" y="15"/>
                      <a:pt x="28" y="20"/>
                    </a:cubicBezTo>
                    <a:cubicBezTo>
                      <a:pt x="36" y="26"/>
                      <a:pt x="43" y="30"/>
                      <a:pt x="48" y="34"/>
                    </a:cubicBezTo>
                    <a:cubicBezTo>
                      <a:pt x="53" y="37"/>
                      <a:pt x="56" y="40"/>
                      <a:pt x="56" y="4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2" name="任意多边形: 形状 1451">
                <a:extLst>
                  <a:ext uri="{FF2B5EF4-FFF2-40B4-BE49-F238E27FC236}">
                    <a16:creationId xmlns:a16="http://schemas.microsoft.com/office/drawing/2014/main" id="{F38B5430-F4EB-41CE-BF7F-132C6A3AC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7488" y="4294188"/>
                <a:ext cx="347663" cy="400050"/>
              </a:xfrm>
              <a:custGeom>
                <a:avLst/>
                <a:gdLst>
                  <a:gd name="T0" fmla="*/ 35 w 152"/>
                  <a:gd name="T1" fmla="*/ 8 h 175"/>
                  <a:gd name="T2" fmla="*/ 3 w 152"/>
                  <a:gd name="T3" fmla="*/ 31 h 175"/>
                  <a:gd name="T4" fmla="*/ 11 w 152"/>
                  <a:gd name="T5" fmla="*/ 71 h 175"/>
                  <a:gd name="T6" fmla="*/ 66 w 152"/>
                  <a:gd name="T7" fmla="*/ 144 h 175"/>
                  <a:gd name="T8" fmla="*/ 151 w 152"/>
                  <a:gd name="T9" fmla="*/ 175 h 175"/>
                  <a:gd name="T10" fmla="*/ 149 w 152"/>
                  <a:gd name="T11" fmla="*/ 94 h 175"/>
                  <a:gd name="T12" fmla="*/ 119 w 152"/>
                  <a:gd name="T13" fmla="*/ 32 h 175"/>
                  <a:gd name="T14" fmla="*/ 56 w 152"/>
                  <a:gd name="T15" fmla="*/ 3 h 175"/>
                  <a:gd name="T16" fmla="*/ 35 w 152"/>
                  <a:gd name="T17" fmla="*/ 8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75">
                    <a:moveTo>
                      <a:pt x="35" y="8"/>
                    </a:moveTo>
                    <a:cubicBezTo>
                      <a:pt x="21" y="5"/>
                      <a:pt x="5" y="18"/>
                      <a:pt x="3" y="31"/>
                    </a:cubicBezTo>
                    <a:cubicBezTo>
                      <a:pt x="0" y="45"/>
                      <a:pt x="5" y="59"/>
                      <a:pt x="11" y="71"/>
                    </a:cubicBezTo>
                    <a:cubicBezTo>
                      <a:pt x="24" y="99"/>
                      <a:pt x="42" y="124"/>
                      <a:pt x="66" y="144"/>
                    </a:cubicBezTo>
                    <a:cubicBezTo>
                      <a:pt x="90" y="163"/>
                      <a:pt x="120" y="175"/>
                      <a:pt x="151" y="175"/>
                    </a:cubicBezTo>
                    <a:cubicBezTo>
                      <a:pt x="145" y="148"/>
                      <a:pt x="152" y="121"/>
                      <a:pt x="149" y="94"/>
                    </a:cubicBezTo>
                    <a:cubicBezTo>
                      <a:pt x="146" y="71"/>
                      <a:pt x="135" y="49"/>
                      <a:pt x="119" y="32"/>
                    </a:cubicBezTo>
                    <a:cubicBezTo>
                      <a:pt x="102" y="16"/>
                      <a:pt x="80" y="5"/>
                      <a:pt x="56" y="3"/>
                    </a:cubicBezTo>
                    <a:cubicBezTo>
                      <a:pt x="48" y="2"/>
                      <a:pt x="38" y="0"/>
                      <a:pt x="35" y="8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3" name="任意多边形: 形状 1452">
                <a:extLst>
                  <a:ext uri="{FF2B5EF4-FFF2-40B4-BE49-F238E27FC236}">
                    <a16:creationId xmlns:a16="http://schemas.microsoft.com/office/drawing/2014/main" id="{E4FDC472-15F0-4D86-9FBC-E4F5062583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6863" y="4311651"/>
                <a:ext cx="266700" cy="382588"/>
              </a:xfrm>
              <a:custGeom>
                <a:avLst/>
                <a:gdLst>
                  <a:gd name="T0" fmla="*/ 116 w 116"/>
                  <a:gd name="T1" fmla="*/ 167 h 167"/>
                  <a:gd name="T2" fmla="*/ 114 w 116"/>
                  <a:gd name="T3" fmla="*/ 166 h 167"/>
                  <a:gd name="T4" fmla="*/ 109 w 116"/>
                  <a:gd name="T5" fmla="*/ 162 h 167"/>
                  <a:gd name="T6" fmla="*/ 96 w 116"/>
                  <a:gd name="T7" fmla="*/ 145 h 167"/>
                  <a:gd name="T8" fmla="*/ 89 w 116"/>
                  <a:gd name="T9" fmla="*/ 131 h 167"/>
                  <a:gd name="T10" fmla="*/ 81 w 116"/>
                  <a:gd name="T11" fmla="*/ 115 h 167"/>
                  <a:gd name="T12" fmla="*/ 73 w 116"/>
                  <a:gd name="T13" fmla="*/ 98 h 167"/>
                  <a:gd name="T14" fmla="*/ 60 w 116"/>
                  <a:gd name="T15" fmla="*/ 82 h 167"/>
                  <a:gd name="T16" fmla="*/ 33 w 116"/>
                  <a:gd name="T17" fmla="*/ 53 h 167"/>
                  <a:gd name="T18" fmla="*/ 12 w 116"/>
                  <a:gd name="T19" fmla="*/ 28 h 167"/>
                  <a:gd name="T20" fmla="*/ 2 w 116"/>
                  <a:gd name="T21" fmla="*/ 8 h 167"/>
                  <a:gd name="T22" fmla="*/ 0 w 116"/>
                  <a:gd name="T23" fmla="*/ 2 h 167"/>
                  <a:gd name="T24" fmla="*/ 0 w 116"/>
                  <a:gd name="T25" fmla="*/ 0 h 167"/>
                  <a:gd name="T26" fmla="*/ 2 w 116"/>
                  <a:gd name="T27" fmla="*/ 8 h 167"/>
                  <a:gd name="T28" fmla="*/ 13 w 116"/>
                  <a:gd name="T29" fmla="*/ 27 h 167"/>
                  <a:gd name="T30" fmla="*/ 34 w 116"/>
                  <a:gd name="T31" fmla="*/ 52 h 167"/>
                  <a:gd name="T32" fmla="*/ 62 w 116"/>
                  <a:gd name="T33" fmla="*/ 80 h 167"/>
                  <a:gd name="T34" fmla="*/ 74 w 116"/>
                  <a:gd name="T35" fmla="*/ 97 h 167"/>
                  <a:gd name="T36" fmla="*/ 83 w 116"/>
                  <a:gd name="T37" fmla="*/ 115 h 167"/>
                  <a:gd name="T38" fmla="*/ 90 w 116"/>
                  <a:gd name="T39" fmla="*/ 130 h 167"/>
                  <a:gd name="T40" fmla="*/ 97 w 116"/>
                  <a:gd name="T41" fmla="*/ 144 h 167"/>
                  <a:gd name="T42" fmla="*/ 109 w 116"/>
                  <a:gd name="T43" fmla="*/ 162 h 167"/>
                  <a:gd name="T44" fmla="*/ 116 w 116"/>
                  <a:gd name="T45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6" h="167">
                    <a:moveTo>
                      <a:pt x="116" y="167"/>
                    </a:moveTo>
                    <a:cubicBezTo>
                      <a:pt x="116" y="167"/>
                      <a:pt x="115" y="166"/>
                      <a:pt x="114" y="166"/>
                    </a:cubicBezTo>
                    <a:cubicBezTo>
                      <a:pt x="113" y="165"/>
                      <a:pt x="111" y="164"/>
                      <a:pt x="109" y="162"/>
                    </a:cubicBezTo>
                    <a:cubicBezTo>
                      <a:pt x="105" y="159"/>
                      <a:pt x="100" y="153"/>
                      <a:pt x="96" y="145"/>
                    </a:cubicBezTo>
                    <a:cubicBezTo>
                      <a:pt x="93" y="141"/>
                      <a:pt x="91" y="136"/>
                      <a:pt x="89" y="131"/>
                    </a:cubicBezTo>
                    <a:cubicBezTo>
                      <a:pt x="86" y="126"/>
                      <a:pt x="84" y="121"/>
                      <a:pt x="81" y="115"/>
                    </a:cubicBezTo>
                    <a:cubicBezTo>
                      <a:pt x="79" y="110"/>
                      <a:pt x="76" y="104"/>
                      <a:pt x="73" y="98"/>
                    </a:cubicBezTo>
                    <a:cubicBezTo>
                      <a:pt x="69" y="93"/>
                      <a:pt x="65" y="87"/>
                      <a:pt x="60" y="82"/>
                    </a:cubicBezTo>
                    <a:cubicBezTo>
                      <a:pt x="51" y="71"/>
                      <a:pt x="42" y="62"/>
                      <a:pt x="33" y="53"/>
                    </a:cubicBezTo>
                    <a:cubicBezTo>
                      <a:pt x="24" y="44"/>
                      <a:pt x="17" y="35"/>
                      <a:pt x="12" y="28"/>
                    </a:cubicBezTo>
                    <a:cubicBezTo>
                      <a:pt x="7" y="20"/>
                      <a:pt x="4" y="13"/>
                      <a:pt x="2" y="8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1" y="3"/>
                      <a:pt x="2" y="8"/>
                    </a:cubicBezTo>
                    <a:cubicBezTo>
                      <a:pt x="4" y="13"/>
                      <a:pt x="8" y="19"/>
                      <a:pt x="13" y="27"/>
                    </a:cubicBezTo>
                    <a:cubicBezTo>
                      <a:pt x="18" y="34"/>
                      <a:pt x="26" y="43"/>
                      <a:pt x="34" y="52"/>
                    </a:cubicBezTo>
                    <a:cubicBezTo>
                      <a:pt x="43" y="60"/>
                      <a:pt x="53" y="70"/>
                      <a:pt x="62" y="80"/>
                    </a:cubicBezTo>
                    <a:cubicBezTo>
                      <a:pt x="67" y="86"/>
                      <a:pt x="71" y="92"/>
                      <a:pt x="74" y="97"/>
                    </a:cubicBezTo>
                    <a:cubicBezTo>
                      <a:pt x="78" y="103"/>
                      <a:pt x="81" y="109"/>
                      <a:pt x="83" y="115"/>
                    </a:cubicBezTo>
                    <a:cubicBezTo>
                      <a:pt x="86" y="120"/>
                      <a:pt x="88" y="125"/>
                      <a:pt x="90" y="130"/>
                    </a:cubicBezTo>
                    <a:cubicBezTo>
                      <a:pt x="92" y="135"/>
                      <a:pt x="95" y="140"/>
                      <a:pt x="97" y="144"/>
                    </a:cubicBezTo>
                    <a:cubicBezTo>
                      <a:pt x="101" y="152"/>
                      <a:pt x="105" y="159"/>
                      <a:pt x="109" y="162"/>
                    </a:cubicBezTo>
                    <a:cubicBezTo>
                      <a:pt x="113" y="165"/>
                      <a:pt x="116" y="166"/>
                      <a:pt x="116" y="16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4" name="任意多边形: 形状 1453">
                <a:extLst>
                  <a:ext uri="{FF2B5EF4-FFF2-40B4-BE49-F238E27FC236}">
                    <a16:creationId xmlns:a16="http://schemas.microsoft.com/office/drawing/2014/main" id="{8EF9568E-004C-400D-B03C-66CD2448B6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3225" y="4506913"/>
                <a:ext cx="38100" cy="136525"/>
              </a:xfrm>
              <a:custGeom>
                <a:avLst/>
                <a:gdLst>
                  <a:gd name="T0" fmla="*/ 1 w 17"/>
                  <a:gd name="T1" fmla="*/ 60 h 60"/>
                  <a:gd name="T2" fmla="*/ 2 w 17"/>
                  <a:gd name="T3" fmla="*/ 51 h 60"/>
                  <a:gd name="T4" fmla="*/ 7 w 17"/>
                  <a:gd name="T5" fmla="*/ 30 h 60"/>
                  <a:gd name="T6" fmla="*/ 14 w 17"/>
                  <a:gd name="T7" fmla="*/ 9 h 60"/>
                  <a:gd name="T8" fmla="*/ 17 w 17"/>
                  <a:gd name="T9" fmla="*/ 0 h 60"/>
                  <a:gd name="T10" fmla="*/ 15 w 17"/>
                  <a:gd name="T11" fmla="*/ 9 h 60"/>
                  <a:gd name="T12" fmla="*/ 9 w 17"/>
                  <a:gd name="T13" fmla="*/ 30 h 60"/>
                  <a:gd name="T14" fmla="*/ 3 w 17"/>
                  <a:gd name="T15" fmla="*/ 51 h 60"/>
                  <a:gd name="T16" fmla="*/ 1 w 17"/>
                  <a:gd name="T1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60">
                    <a:moveTo>
                      <a:pt x="1" y="60"/>
                    </a:moveTo>
                    <a:cubicBezTo>
                      <a:pt x="0" y="60"/>
                      <a:pt x="1" y="56"/>
                      <a:pt x="2" y="51"/>
                    </a:cubicBezTo>
                    <a:cubicBezTo>
                      <a:pt x="3" y="45"/>
                      <a:pt x="4" y="38"/>
                      <a:pt x="7" y="30"/>
                    </a:cubicBezTo>
                    <a:cubicBezTo>
                      <a:pt x="9" y="21"/>
                      <a:pt x="12" y="14"/>
                      <a:pt x="14" y="9"/>
                    </a:cubicBezTo>
                    <a:cubicBezTo>
                      <a:pt x="16" y="3"/>
                      <a:pt x="17" y="0"/>
                      <a:pt x="17" y="0"/>
                    </a:cubicBezTo>
                    <a:cubicBezTo>
                      <a:pt x="17" y="0"/>
                      <a:pt x="16" y="4"/>
                      <a:pt x="15" y="9"/>
                    </a:cubicBezTo>
                    <a:cubicBezTo>
                      <a:pt x="13" y="14"/>
                      <a:pt x="11" y="22"/>
                      <a:pt x="9" y="30"/>
                    </a:cubicBezTo>
                    <a:cubicBezTo>
                      <a:pt x="6" y="38"/>
                      <a:pt x="4" y="46"/>
                      <a:pt x="3" y="51"/>
                    </a:cubicBezTo>
                    <a:cubicBezTo>
                      <a:pt x="2" y="57"/>
                      <a:pt x="1" y="60"/>
                      <a:pt x="1" y="6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5" name="任意多边形: 形状 1454">
                <a:extLst>
                  <a:ext uri="{FF2B5EF4-FFF2-40B4-BE49-F238E27FC236}">
                    <a16:creationId xmlns:a16="http://schemas.microsoft.com/office/drawing/2014/main" id="{B0C49A0C-16CA-47D0-834D-D2F8E47876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9575" y="4462463"/>
                <a:ext cx="146050" cy="34925"/>
              </a:xfrm>
              <a:custGeom>
                <a:avLst/>
                <a:gdLst>
                  <a:gd name="T0" fmla="*/ 64 w 64"/>
                  <a:gd name="T1" fmla="*/ 14 h 15"/>
                  <a:gd name="T2" fmla="*/ 55 w 64"/>
                  <a:gd name="T3" fmla="*/ 12 h 15"/>
                  <a:gd name="T4" fmla="*/ 32 w 64"/>
                  <a:gd name="T5" fmla="*/ 7 h 15"/>
                  <a:gd name="T6" fmla="*/ 9 w 64"/>
                  <a:gd name="T7" fmla="*/ 2 h 15"/>
                  <a:gd name="T8" fmla="*/ 0 w 64"/>
                  <a:gd name="T9" fmla="*/ 0 h 15"/>
                  <a:gd name="T10" fmla="*/ 10 w 64"/>
                  <a:gd name="T11" fmla="*/ 1 h 15"/>
                  <a:gd name="T12" fmla="*/ 33 w 64"/>
                  <a:gd name="T13" fmla="*/ 5 h 15"/>
                  <a:gd name="T14" fmla="*/ 55 w 64"/>
                  <a:gd name="T15" fmla="*/ 11 h 15"/>
                  <a:gd name="T16" fmla="*/ 64 w 64"/>
                  <a:gd name="T17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4" h="15">
                    <a:moveTo>
                      <a:pt x="64" y="14"/>
                    </a:moveTo>
                    <a:cubicBezTo>
                      <a:pt x="64" y="15"/>
                      <a:pt x="60" y="14"/>
                      <a:pt x="55" y="12"/>
                    </a:cubicBezTo>
                    <a:cubicBezTo>
                      <a:pt x="49" y="11"/>
                      <a:pt x="41" y="9"/>
                      <a:pt x="32" y="7"/>
                    </a:cubicBezTo>
                    <a:cubicBezTo>
                      <a:pt x="23" y="5"/>
                      <a:pt x="15" y="3"/>
                      <a:pt x="9" y="2"/>
                    </a:cubicBezTo>
                    <a:cubicBezTo>
                      <a:pt x="3" y="1"/>
                      <a:pt x="0" y="0"/>
                      <a:pt x="0" y="0"/>
                    </a:cubicBezTo>
                    <a:cubicBezTo>
                      <a:pt x="0" y="0"/>
                      <a:pt x="4" y="0"/>
                      <a:pt x="10" y="1"/>
                    </a:cubicBezTo>
                    <a:cubicBezTo>
                      <a:pt x="15" y="1"/>
                      <a:pt x="24" y="3"/>
                      <a:pt x="33" y="5"/>
                    </a:cubicBezTo>
                    <a:cubicBezTo>
                      <a:pt x="41" y="7"/>
                      <a:pt x="49" y="9"/>
                      <a:pt x="55" y="11"/>
                    </a:cubicBezTo>
                    <a:cubicBezTo>
                      <a:pt x="61" y="13"/>
                      <a:pt x="64" y="14"/>
                      <a:pt x="64" y="1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6" name="任意多边形: 形状 1455">
                <a:extLst>
                  <a:ext uri="{FF2B5EF4-FFF2-40B4-BE49-F238E27FC236}">
                    <a16:creationId xmlns:a16="http://schemas.microsoft.com/office/drawing/2014/main" id="{C61EDBE7-2C79-4AA2-B373-F66E056681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0513" y="4381501"/>
                <a:ext cx="41275" cy="157163"/>
              </a:xfrm>
              <a:custGeom>
                <a:avLst/>
                <a:gdLst>
                  <a:gd name="T0" fmla="*/ 0 w 18"/>
                  <a:gd name="T1" fmla="*/ 69 h 69"/>
                  <a:gd name="T2" fmla="*/ 1 w 18"/>
                  <a:gd name="T3" fmla="*/ 59 h 69"/>
                  <a:gd name="T4" fmla="*/ 7 w 18"/>
                  <a:gd name="T5" fmla="*/ 34 h 69"/>
                  <a:gd name="T6" fmla="*/ 14 w 18"/>
                  <a:gd name="T7" fmla="*/ 10 h 69"/>
                  <a:gd name="T8" fmla="*/ 18 w 18"/>
                  <a:gd name="T9" fmla="*/ 0 h 69"/>
                  <a:gd name="T10" fmla="*/ 15 w 18"/>
                  <a:gd name="T11" fmla="*/ 10 h 69"/>
                  <a:gd name="T12" fmla="*/ 9 w 18"/>
                  <a:gd name="T13" fmla="*/ 34 h 69"/>
                  <a:gd name="T14" fmla="*/ 3 w 18"/>
                  <a:gd name="T15" fmla="*/ 59 h 69"/>
                  <a:gd name="T16" fmla="*/ 0 w 18"/>
                  <a:gd name="T17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69">
                    <a:moveTo>
                      <a:pt x="0" y="69"/>
                    </a:moveTo>
                    <a:cubicBezTo>
                      <a:pt x="0" y="69"/>
                      <a:pt x="0" y="65"/>
                      <a:pt x="1" y="59"/>
                    </a:cubicBezTo>
                    <a:cubicBezTo>
                      <a:pt x="3" y="52"/>
                      <a:pt x="4" y="44"/>
                      <a:pt x="7" y="34"/>
                    </a:cubicBezTo>
                    <a:cubicBezTo>
                      <a:pt x="9" y="24"/>
                      <a:pt x="12" y="16"/>
                      <a:pt x="14" y="10"/>
                    </a:cubicBezTo>
                    <a:cubicBezTo>
                      <a:pt x="16" y="3"/>
                      <a:pt x="18" y="0"/>
                      <a:pt x="18" y="0"/>
                    </a:cubicBezTo>
                    <a:cubicBezTo>
                      <a:pt x="18" y="0"/>
                      <a:pt x="17" y="4"/>
                      <a:pt x="15" y="10"/>
                    </a:cubicBezTo>
                    <a:cubicBezTo>
                      <a:pt x="14" y="16"/>
                      <a:pt x="11" y="25"/>
                      <a:pt x="9" y="34"/>
                    </a:cubicBezTo>
                    <a:cubicBezTo>
                      <a:pt x="6" y="44"/>
                      <a:pt x="4" y="53"/>
                      <a:pt x="3" y="59"/>
                    </a:cubicBezTo>
                    <a:cubicBezTo>
                      <a:pt x="1" y="65"/>
                      <a:pt x="0" y="69"/>
                      <a:pt x="0" y="6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7" name="任意多边形: 形状 1456">
                <a:extLst>
                  <a:ext uri="{FF2B5EF4-FFF2-40B4-BE49-F238E27FC236}">
                    <a16:creationId xmlns:a16="http://schemas.microsoft.com/office/drawing/2014/main" id="{9A756B75-A6DB-484A-AA72-6306FA7267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5913" y="4348163"/>
                <a:ext cx="169863" cy="20638"/>
              </a:xfrm>
              <a:custGeom>
                <a:avLst/>
                <a:gdLst>
                  <a:gd name="T0" fmla="*/ 74 w 74"/>
                  <a:gd name="T1" fmla="*/ 8 h 9"/>
                  <a:gd name="T2" fmla="*/ 37 w 74"/>
                  <a:gd name="T3" fmla="*/ 5 h 9"/>
                  <a:gd name="T4" fmla="*/ 0 w 74"/>
                  <a:gd name="T5" fmla="*/ 0 h 9"/>
                  <a:gd name="T6" fmla="*/ 37 w 74"/>
                  <a:gd name="T7" fmla="*/ 3 h 9"/>
                  <a:gd name="T8" fmla="*/ 74 w 74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9">
                    <a:moveTo>
                      <a:pt x="74" y="8"/>
                    </a:moveTo>
                    <a:cubicBezTo>
                      <a:pt x="74" y="9"/>
                      <a:pt x="58" y="7"/>
                      <a:pt x="37" y="5"/>
                    </a:cubicBezTo>
                    <a:cubicBezTo>
                      <a:pt x="17" y="3"/>
                      <a:pt x="0" y="1"/>
                      <a:pt x="0" y="0"/>
                    </a:cubicBezTo>
                    <a:cubicBezTo>
                      <a:pt x="0" y="0"/>
                      <a:pt x="17" y="1"/>
                      <a:pt x="37" y="3"/>
                    </a:cubicBezTo>
                    <a:cubicBezTo>
                      <a:pt x="58" y="6"/>
                      <a:pt x="74" y="8"/>
                      <a:pt x="74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8" name="椭圆 1457">
                <a:extLst>
                  <a:ext uri="{FF2B5EF4-FFF2-40B4-BE49-F238E27FC236}">
                    <a16:creationId xmlns:a16="http://schemas.microsoft.com/office/drawing/2014/main" id="{E39E0676-2969-40A7-9363-8D0586D366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8713" y="4829176"/>
                <a:ext cx="598488" cy="4763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9" name="椭圆 1458">
                <a:extLst>
                  <a:ext uri="{FF2B5EF4-FFF2-40B4-BE49-F238E27FC236}">
                    <a16:creationId xmlns:a16="http://schemas.microsoft.com/office/drawing/2014/main" id="{29C16BD3-A10F-44F1-A6B1-6082781DE1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71900" y="5000626"/>
                <a:ext cx="401638" cy="4763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0" name="椭圆 1459">
                <a:extLst>
                  <a:ext uri="{FF2B5EF4-FFF2-40B4-BE49-F238E27FC236}">
                    <a16:creationId xmlns:a16="http://schemas.microsoft.com/office/drawing/2014/main" id="{37A63492-3854-4697-877B-7E4BBF0905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73488" y="5026026"/>
                <a:ext cx="404813" cy="3175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1" name="椭圆 1460">
                <a:extLst>
                  <a:ext uri="{FF2B5EF4-FFF2-40B4-BE49-F238E27FC236}">
                    <a16:creationId xmlns:a16="http://schemas.microsoft.com/office/drawing/2014/main" id="{23B9885D-46AC-4067-B99E-600E5746F2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0788" y="4979988"/>
                <a:ext cx="417513" cy="4763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943101"/>
            <a:ext cx="5167086" cy="2083472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711299"/>
            <a:ext cx="516708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2" y="4415028"/>
            <a:ext cx="516708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73100" y="3578351"/>
            <a:ext cx="5873174" cy="1211996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chemeClr val="accent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新型冠状病毒</a:t>
            </a:r>
            <a:br>
              <a:rPr lang="zh-CN" altLang="en-US" dirty="0">
                <a:solidFill>
                  <a:schemeClr val="accent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dirty="0">
                <a:solidFill>
                  <a:schemeClr val="accent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个人及居家防护知识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73100" y="5286104"/>
            <a:ext cx="5873174" cy="296271"/>
          </a:xfrm>
        </p:spPr>
        <p:txBody>
          <a:bodyPr/>
          <a:lstStyle/>
          <a:p>
            <a:r>
              <a:rPr lang="en-US" altLang="zh-CN">
                <a:cs typeface="+mn-ea"/>
                <a:sym typeface="+mn-lt"/>
              </a:rPr>
              <a:t>Speaker name and title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673100" y="5582375"/>
            <a:ext cx="5873174" cy="296271"/>
          </a:xfrm>
        </p:spPr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  <p:grpSp>
        <p:nvGrpSpPr>
          <p:cNvPr id="325" name="组合 324">
            <a:extLst>
              <a:ext uri="{FF2B5EF4-FFF2-40B4-BE49-F238E27FC236}">
                <a16:creationId xmlns:a16="http://schemas.microsoft.com/office/drawing/2014/main" id="{4DEFD673-D626-4EE6-A501-1DB9CA32617C}"/>
              </a:ext>
            </a:extLst>
          </p:cNvPr>
          <p:cNvGrpSpPr/>
          <p:nvPr/>
        </p:nvGrpSpPr>
        <p:grpSpPr>
          <a:xfrm>
            <a:off x="669924" y="1479921"/>
            <a:ext cx="4181073" cy="2405481"/>
            <a:chOff x="669924" y="1556121"/>
            <a:chExt cx="4181073" cy="2405481"/>
          </a:xfrm>
        </p:grpSpPr>
        <p:grpSp>
          <p:nvGrpSpPr>
            <p:cNvPr id="304" name="组合 303">
              <a:extLst>
                <a:ext uri="{FF2B5EF4-FFF2-40B4-BE49-F238E27FC236}">
                  <a16:creationId xmlns:a16="http://schemas.microsoft.com/office/drawing/2014/main" id="{A4A7805B-F8E5-4C55-A68C-BCF3C2956028}"/>
                </a:ext>
              </a:extLst>
            </p:cNvPr>
            <p:cNvGrpSpPr/>
            <p:nvPr/>
          </p:nvGrpSpPr>
          <p:grpSpPr>
            <a:xfrm>
              <a:off x="669924" y="1556121"/>
              <a:ext cx="4181073" cy="1323440"/>
              <a:chOff x="2516723" y="-1261078"/>
              <a:chExt cx="4001552" cy="1266616"/>
            </a:xfrm>
          </p:grpSpPr>
          <p:sp>
            <p:nvSpPr>
              <p:cNvPr id="296" name="矩形 295">
                <a:extLst>
                  <a:ext uri="{FF2B5EF4-FFF2-40B4-BE49-F238E27FC236}">
                    <a16:creationId xmlns:a16="http://schemas.microsoft.com/office/drawing/2014/main" id="{DBE900EC-E22E-4BA0-AF3B-828355CC92A6}"/>
                  </a:ext>
                </a:extLst>
              </p:cNvPr>
              <p:cNvSpPr/>
              <p:nvPr/>
            </p:nvSpPr>
            <p:spPr>
              <a:xfrm>
                <a:off x="2516723" y="-1261078"/>
                <a:ext cx="1194251" cy="12666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cs typeface="+mn-ea"/>
                    <a:sym typeface="+mn-lt"/>
                  </a:rPr>
                  <a:t>远</a:t>
                </a:r>
              </a:p>
            </p:txBody>
          </p:sp>
          <p:sp>
            <p:nvSpPr>
              <p:cNvPr id="297" name="矩形 296">
                <a:extLst>
                  <a:ext uri="{FF2B5EF4-FFF2-40B4-BE49-F238E27FC236}">
                    <a16:creationId xmlns:a16="http://schemas.microsoft.com/office/drawing/2014/main" id="{CAC1966E-14C3-4724-A662-2DC6E6DAEEC6}"/>
                  </a:ext>
                </a:extLst>
              </p:cNvPr>
              <p:cNvSpPr/>
              <p:nvPr/>
            </p:nvSpPr>
            <p:spPr>
              <a:xfrm>
                <a:off x="3452492" y="-1261078"/>
                <a:ext cx="1194251" cy="12666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cs typeface="+mn-ea"/>
                    <a:sym typeface="+mn-lt"/>
                  </a:rPr>
                  <a:t>程</a:t>
                </a:r>
              </a:p>
            </p:txBody>
          </p:sp>
          <p:sp>
            <p:nvSpPr>
              <p:cNvPr id="298" name="矩形 297">
                <a:extLst>
                  <a:ext uri="{FF2B5EF4-FFF2-40B4-BE49-F238E27FC236}">
                    <a16:creationId xmlns:a16="http://schemas.microsoft.com/office/drawing/2014/main" id="{908FF487-4252-4B72-89BB-5FA02E122A5E}"/>
                  </a:ext>
                </a:extLst>
              </p:cNvPr>
              <p:cNvSpPr/>
              <p:nvPr/>
            </p:nvSpPr>
            <p:spPr>
              <a:xfrm>
                <a:off x="4388259" y="-1261078"/>
                <a:ext cx="1194251" cy="12666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cs typeface="+mn-ea"/>
                    <a:sym typeface="+mn-lt"/>
                  </a:rPr>
                  <a:t>办</a:t>
                </a:r>
              </a:p>
            </p:txBody>
          </p:sp>
          <p:sp>
            <p:nvSpPr>
              <p:cNvPr id="303" name="矩形 302">
                <a:extLst>
                  <a:ext uri="{FF2B5EF4-FFF2-40B4-BE49-F238E27FC236}">
                    <a16:creationId xmlns:a16="http://schemas.microsoft.com/office/drawing/2014/main" id="{98488C71-7EEE-472A-A231-E3DF720E49A8}"/>
                  </a:ext>
                </a:extLst>
              </p:cNvPr>
              <p:cNvSpPr/>
              <p:nvPr/>
            </p:nvSpPr>
            <p:spPr>
              <a:xfrm>
                <a:off x="5324024" y="-1261078"/>
                <a:ext cx="1194251" cy="12666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cs typeface="+mn-ea"/>
                    <a:sym typeface="+mn-lt"/>
                  </a:rPr>
                  <a:t>公</a:t>
                </a:r>
              </a:p>
            </p:txBody>
          </p:sp>
        </p:grpSp>
        <p:grpSp>
          <p:nvGrpSpPr>
            <p:cNvPr id="305" name="组合 304">
              <a:extLst>
                <a:ext uri="{FF2B5EF4-FFF2-40B4-BE49-F238E27FC236}">
                  <a16:creationId xmlns:a16="http://schemas.microsoft.com/office/drawing/2014/main" id="{EEFCA359-26EC-49E0-AB42-AE7D11912B49}"/>
                </a:ext>
              </a:extLst>
            </p:cNvPr>
            <p:cNvGrpSpPr/>
            <p:nvPr/>
          </p:nvGrpSpPr>
          <p:grpSpPr>
            <a:xfrm>
              <a:off x="669924" y="2638161"/>
              <a:ext cx="4181072" cy="1323441"/>
              <a:chOff x="2516723" y="-1261078"/>
              <a:chExt cx="4001552" cy="1266617"/>
            </a:xfrm>
          </p:grpSpPr>
          <p:sp>
            <p:nvSpPr>
              <p:cNvPr id="306" name="矩形 305">
                <a:extLst>
                  <a:ext uri="{FF2B5EF4-FFF2-40B4-BE49-F238E27FC236}">
                    <a16:creationId xmlns:a16="http://schemas.microsoft.com/office/drawing/2014/main" id="{4E4B33E4-6E76-40BB-BA6E-76542D36F08B}"/>
                  </a:ext>
                </a:extLst>
              </p:cNvPr>
              <p:cNvSpPr/>
              <p:nvPr/>
            </p:nvSpPr>
            <p:spPr>
              <a:xfrm>
                <a:off x="2516723" y="-1261078"/>
                <a:ext cx="1194251" cy="12666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cs typeface="+mn-ea"/>
                    <a:sym typeface="+mn-lt"/>
                  </a:rPr>
                  <a:t>避</a:t>
                </a:r>
              </a:p>
            </p:txBody>
          </p:sp>
          <p:sp>
            <p:nvSpPr>
              <p:cNvPr id="307" name="矩形 306">
                <a:extLst>
                  <a:ext uri="{FF2B5EF4-FFF2-40B4-BE49-F238E27FC236}">
                    <a16:creationId xmlns:a16="http://schemas.microsoft.com/office/drawing/2014/main" id="{53604463-079A-4FB9-AA45-88D1717076F8}"/>
                  </a:ext>
                </a:extLst>
              </p:cNvPr>
              <p:cNvSpPr/>
              <p:nvPr/>
            </p:nvSpPr>
            <p:spPr>
              <a:xfrm>
                <a:off x="3452493" y="-1261077"/>
                <a:ext cx="1194251" cy="12666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cs typeface="+mn-ea"/>
                    <a:sym typeface="+mn-lt"/>
                  </a:rPr>
                  <a:t>免</a:t>
                </a:r>
              </a:p>
            </p:txBody>
          </p:sp>
          <p:sp>
            <p:nvSpPr>
              <p:cNvPr id="308" name="矩形 307">
                <a:extLst>
                  <a:ext uri="{FF2B5EF4-FFF2-40B4-BE49-F238E27FC236}">
                    <a16:creationId xmlns:a16="http://schemas.microsoft.com/office/drawing/2014/main" id="{5B3785C8-D897-430E-9928-C925FB179935}"/>
                  </a:ext>
                </a:extLst>
              </p:cNvPr>
              <p:cNvSpPr/>
              <p:nvPr/>
            </p:nvSpPr>
            <p:spPr>
              <a:xfrm>
                <a:off x="4388258" y="-1261077"/>
                <a:ext cx="1194251" cy="126661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cs typeface="+mn-ea"/>
                    <a:sym typeface="+mn-lt"/>
                  </a:rPr>
                  <a:t>聚</a:t>
                </a:r>
              </a:p>
            </p:txBody>
          </p:sp>
          <p:sp>
            <p:nvSpPr>
              <p:cNvPr id="309" name="矩形 308">
                <a:extLst>
                  <a:ext uri="{FF2B5EF4-FFF2-40B4-BE49-F238E27FC236}">
                    <a16:creationId xmlns:a16="http://schemas.microsoft.com/office/drawing/2014/main" id="{6F9D281B-E49E-40B3-A9CD-2E6014EF6993}"/>
                  </a:ext>
                </a:extLst>
              </p:cNvPr>
              <p:cNvSpPr/>
              <p:nvPr/>
            </p:nvSpPr>
            <p:spPr>
              <a:xfrm>
                <a:off x="5324024" y="-1261077"/>
                <a:ext cx="1194251" cy="126661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cs typeface="+mn-ea"/>
                    <a:sym typeface="+mn-lt"/>
                  </a:rPr>
                  <a:t>集</a:t>
                </a:r>
              </a:p>
            </p:txBody>
          </p:sp>
        </p:grp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3B94782D-110B-49BD-AD07-18DB96C1D81D}"/>
              </a:ext>
            </a:extLst>
          </p:cNvPr>
          <p:cNvGrpSpPr/>
          <p:nvPr/>
        </p:nvGrpSpPr>
        <p:grpSpPr>
          <a:xfrm>
            <a:off x="9233300" y="984865"/>
            <a:ext cx="2288776" cy="717106"/>
            <a:chOff x="5123032" y="2373367"/>
            <a:chExt cx="2801768" cy="877833"/>
          </a:xfrm>
        </p:grpSpPr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8B96465F-F6B2-4AAD-9CB4-4E7E97340EC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23032" y="2373367"/>
              <a:ext cx="604667" cy="779836"/>
            </a:xfrm>
            <a:custGeom>
              <a:avLst/>
              <a:gdLst>
                <a:gd name="T0" fmla="*/ 1658 w 3066"/>
                <a:gd name="T1" fmla="*/ 1409 h 3960"/>
                <a:gd name="T2" fmla="*/ 2200 w 3066"/>
                <a:gd name="T3" fmla="*/ 1482 h 3960"/>
                <a:gd name="T4" fmla="*/ 2799 w 3066"/>
                <a:gd name="T5" fmla="*/ 1713 h 3960"/>
                <a:gd name="T6" fmla="*/ 2451 w 3066"/>
                <a:gd name="T7" fmla="*/ 2548 h 3960"/>
                <a:gd name="T8" fmla="*/ 2162 w 3066"/>
                <a:gd name="T9" fmla="*/ 2681 h 3960"/>
                <a:gd name="T10" fmla="*/ 2295 w 3066"/>
                <a:gd name="T11" fmla="*/ 3960 h 3960"/>
                <a:gd name="T12" fmla="*/ 2429 w 3066"/>
                <a:gd name="T13" fmla="*/ 2815 h 3960"/>
                <a:gd name="T14" fmla="*/ 3066 w 3066"/>
                <a:gd name="T15" fmla="*/ 2200 h 3960"/>
                <a:gd name="T16" fmla="*/ 2715 w 3066"/>
                <a:gd name="T17" fmla="*/ 212 h 3960"/>
                <a:gd name="T18" fmla="*/ 2407 w 3066"/>
                <a:gd name="T19" fmla="*/ 229 h 3960"/>
                <a:gd name="T20" fmla="*/ 1876 w 3066"/>
                <a:gd name="T21" fmla="*/ 0 h 3960"/>
                <a:gd name="T22" fmla="*/ 1441 w 3066"/>
                <a:gd name="T23" fmla="*/ 0 h 3960"/>
                <a:gd name="T24" fmla="*/ 1021 w 3066"/>
                <a:gd name="T25" fmla="*/ 76 h 3960"/>
                <a:gd name="T26" fmla="*/ 602 w 3066"/>
                <a:gd name="T27" fmla="*/ 0 h 3960"/>
                <a:gd name="T28" fmla="*/ 251 w 3066"/>
                <a:gd name="T29" fmla="*/ 1076 h 3960"/>
                <a:gd name="T30" fmla="*/ 0 w 3066"/>
                <a:gd name="T31" fmla="*/ 1614 h 3960"/>
                <a:gd name="T32" fmla="*/ 244 w 3066"/>
                <a:gd name="T33" fmla="*/ 2182 h 3960"/>
                <a:gd name="T34" fmla="*/ 888 w 3066"/>
                <a:gd name="T35" fmla="*/ 3827 h 3960"/>
                <a:gd name="T36" fmla="*/ 1155 w 3066"/>
                <a:gd name="T37" fmla="*/ 3827 h 3960"/>
                <a:gd name="T38" fmla="*/ 1021 w 3066"/>
                <a:gd name="T39" fmla="*/ 2548 h 3960"/>
                <a:gd name="T40" fmla="*/ 504 w 3066"/>
                <a:gd name="T41" fmla="*/ 2124 h 3960"/>
                <a:gd name="T42" fmla="*/ 1089 w 3066"/>
                <a:gd name="T43" fmla="*/ 1965 h 3960"/>
                <a:gd name="T44" fmla="*/ 1525 w 3066"/>
                <a:gd name="T45" fmla="*/ 2044 h 3960"/>
                <a:gd name="T46" fmla="*/ 1658 w 3066"/>
                <a:gd name="T47" fmla="*/ 2602 h 3960"/>
                <a:gd name="T48" fmla="*/ 1792 w 3066"/>
                <a:gd name="T49" fmla="*/ 2044 h 3960"/>
                <a:gd name="T50" fmla="*/ 1541 w 3066"/>
                <a:gd name="T51" fmla="*/ 1494 h 3960"/>
                <a:gd name="T52" fmla="*/ 804 w 3066"/>
                <a:gd name="T53" fmla="*/ 267 h 3960"/>
                <a:gd name="T54" fmla="*/ 888 w 3066"/>
                <a:gd name="T55" fmla="*/ 1062 h 3960"/>
                <a:gd name="T56" fmla="*/ 518 w 3066"/>
                <a:gd name="T57" fmla="*/ 351 h 3960"/>
                <a:gd name="T58" fmla="*/ 1089 w 3066"/>
                <a:gd name="T59" fmla="*/ 1699 h 3960"/>
                <a:gd name="T60" fmla="*/ 267 w 3066"/>
                <a:gd name="T61" fmla="*/ 1614 h 3960"/>
                <a:gd name="T62" fmla="*/ 351 w 3066"/>
                <a:gd name="T63" fmla="*/ 1328 h 3960"/>
                <a:gd name="T64" fmla="*/ 1274 w 3066"/>
                <a:gd name="T65" fmla="*/ 1513 h 3960"/>
                <a:gd name="T66" fmla="*/ 1155 w 3066"/>
                <a:gd name="T67" fmla="*/ 1067 h 3960"/>
                <a:gd name="T68" fmla="*/ 1239 w 3066"/>
                <a:gd name="T69" fmla="*/ 267 h 3960"/>
                <a:gd name="T70" fmla="*/ 1525 w 3066"/>
                <a:gd name="T71" fmla="*/ 351 h 3960"/>
                <a:gd name="T72" fmla="*/ 1448 w 3066"/>
                <a:gd name="T73" fmla="*/ 1239 h 3960"/>
                <a:gd name="T74" fmla="*/ 1977 w 3066"/>
                <a:gd name="T75" fmla="*/ 1274 h 3960"/>
                <a:gd name="T76" fmla="*/ 1792 w 3066"/>
                <a:gd name="T77" fmla="*/ 351 h 3960"/>
                <a:gd name="T78" fmla="*/ 2078 w 3066"/>
                <a:gd name="T79" fmla="*/ 267 h 3960"/>
                <a:gd name="T80" fmla="*/ 2162 w 3066"/>
                <a:gd name="T81" fmla="*/ 1089 h 3960"/>
                <a:gd name="T82" fmla="*/ 2614 w 3066"/>
                <a:gd name="T83" fmla="*/ 1486 h 3960"/>
                <a:gd name="T84" fmla="*/ 2429 w 3066"/>
                <a:gd name="T85" fmla="*/ 563 h 3960"/>
                <a:gd name="T86" fmla="*/ 2715 w 3066"/>
                <a:gd name="T87" fmla="*/ 479 h 3960"/>
                <a:gd name="T88" fmla="*/ 2799 w 3066"/>
                <a:gd name="T89" fmla="*/ 1301 h 3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066" h="3960">
                  <a:moveTo>
                    <a:pt x="1541" y="1494"/>
                  </a:moveTo>
                  <a:cubicBezTo>
                    <a:pt x="1584" y="1472"/>
                    <a:pt x="1624" y="1443"/>
                    <a:pt x="1658" y="1409"/>
                  </a:cubicBezTo>
                  <a:cubicBezTo>
                    <a:pt x="1740" y="1490"/>
                    <a:pt x="1853" y="1541"/>
                    <a:pt x="1977" y="1541"/>
                  </a:cubicBezTo>
                  <a:cubicBezTo>
                    <a:pt x="2058" y="1541"/>
                    <a:pt x="2134" y="1519"/>
                    <a:pt x="2200" y="1482"/>
                  </a:cubicBezTo>
                  <a:cubicBezTo>
                    <a:pt x="2270" y="1641"/>
                    <a:pt x="2429" y="1753"/>
                    <a:pt x="2614" y="1753"/>
                  </a:cubicBezTo>
                  <a:cubicBezTo>
                    <a:pt x="2680" y="1753"/>
                    <a:pt x="2743" y="1739"/>
                    <a:pt x="2799" y="1713"/>
                  </a:cubicBezTo>
                  <a:lnTo>
                    <a:pt x="2799" y="2200"/>
                  </a:lnTo>
                  <a:cubicBezTo>
                    <a:pt x="2799" y="2392"/>
                    <a:pt x="2643" y="2548"/>
                    <a:pt x="2451" y="2548"/>
                  </a:cubicBezTo>
                  <a:lnTo>
                    <a:pt x="2295" y="2548"/>
                  </a:lnTo>
                  <a:cubicBezTo>
                    <a:pt x="2222" y="2548"/>
                    <a:pt x="2162" y="2608"/>
                    <a:pt x="2162" y="2681"/>
                  </a:cubicBezTo>
                  <a:lnTo>
                    <a:pt x="2162" y="3827"/>
                  </a:lnTo>
                  <a:cubicBezTo>
                    <a:pt x="2162" y="3900"/>
                    <a:pt x="2222" y="3960"/>
                    <a:pt x="2295" y="3960"/>
                  </a:cubicBezTo>
                  <a:cubicBezTo>
                    <a:pt x="2369" y="3960"/>
                    <a:pt x="2429" y="3900"/>
                    <a:pt x="2429" y="3827"/>
                  </a:cubicBezTo>
                  <a:lnTo>
                    <a:pt x="2429" y="2815"/>
                  </a:lnTo>
                  <a:lnTo>
                    <a:pt x="2451" y="2815"/>
                  </a:lnTo>
                  <a:cubicBezTo>
                    <a:pt x="2790" y="2815"/>
                    <a:pt x="3066" y="2539"/>
                    <a:pt x="3066" y="2200"/>
                  </a:cubicBezTo>
                  <a:lnTo>
                    <a:pt x="3066" y="563"/>
                  </a:lnTo>
                  <a:cubicBezTo>
                    <a:pt x="3066" y="370"/>
                    <a:pt x="2908" y="212"/>
                    <a:pt x="2715" y="212"/>
                  </a:cubicBezTo>
                  <a:lnTo>
                    <a:pt x="2513" y="212"/>
                  </a:lnTo>
                  <a:cubicBezTo>
                    <a:pt x="2476" y="212"/>
                    <a:pt x="2440" y="218"/>
                    <a:pt x="2407" y="229"/>
                  </a:cubicBezTo>
                  <a:cubicBezTo>
                    <a:pt x="2357" y="95"/>
                    <a:pt x="2228" y="0"/>
                    <a:pt x="2078" y="0"/>
                  </a:cubicBezTo>
                  <a:lnTo>
                    <a:pt x="1876" y="0"/>
                  </a:lnTo>
                  <a:cubicBezTo>
                    <a:pt x="1794" y="0"/>
                    <a:pt x="1718" y="28"/>
                    <a:pt x="1658" y="76"/>
                  </a:cubicBezTo>
                  <a:cubicBezTo>
                    <a:pt x="1599" y="28"/>
                    <a:pt x="1523" y="0"/>
                    <a:pt x="1441" y="0"/>
                  </a:cubicBezTo>
                  <a:lnTo>
                    <a:pt x="1239" y="0"/>
                  </a:lnTo>
                  <a:cubicBezTo>
                    <a:pt x="1157" y="0"/>
                    <a:pt x="1081" y="28"/>
                    <a:pt x="1021" y="76"/>
                  </a:cubicBezTo>
                  <a:cubicBezTo>
                    <a:pt x="962" y="28"/>
                    <a:pt x="886" y="0"/>
                    <a:pt x="804" y="0"/>
                  </a:cubicBezTo>
                  <a:lnTo>
                    <a:pt x="602" y="0"/>
                  </a:lnTo>
                  <a:cubicBezTo>
                    <a:pt x="409" y="0"/>
                    <a:pt x="251" y="157"/>
                    <a:pt x="251" y="351"/>
                  </a:cubicBezTo>
                  <a:lnTo>
                    <a:pt x="251" y="1076"/>
                  </a:lnTo>
                  <a:cubicBezTo>
                    <a:pt x="106" y="1119"/>
                    <a:pt x="0" y="1254"/>
                    <a:pt x="0" y="1413"/>
                  </a:cubicBezTo>
                  <a:lnTo>
                    <a:pt x="0" y="1614"/>
                  </a:lnTo>
                  <a:cubicBezTo>
                    <a:pt x="0" y="1748"/>
                    <a:pt x="76" y="1865"/>
                    <a:pt x="187" y="1924"/>
                  </a:cubicBezTo>
                  <a:cubicBezTo>
                    <a:pt x="187" y="1924"/>
                    <a:pt x="230" y="2118"/>
                    <a:pt x="244" y="2182"/>
                  </a:cubicBezTo>
                  <a:cubicBezTo>
                    <a:pt x="316" y="2506"/>
                    <a:pt x="573" y="2750"/>
                    <a:pt x="888" y="2803"/>
                  </a:cubicBezTo>
                  <a:lnTo>
                    <a:pt x="888" y="3827"/>
                  </a:lnTo>
                  <a:cubicBezTo>
                    <a:pt x="888" y="3900"/>
                    <a:pt x="948" y="3960"/>
                    <a:pt x="1021" y="3960"/>
                  </a:cubicBezTo>
                  <a:cubicBezTo>
                    <a:pt x="1095" y="3960"/>
                    <a:pt x="1155" y="3900"/>
                    <a:pt x="1155" y="3827"/>
                  </a:cubicBezTo>
                  <a:lnTo>
                    <a:pt x="1155" y="2681"/>
                  </a:lnTo>
                  <a:cubicBezTo>
                    <a:pt x="1155" y="2608"/>
                    <a:pt x="1095" y="2548"/>
                    <a:pt x="1021" y="2548"/>
                  </a:cubicBezTo>
                  <a:cubicBezTo>
                    <a:pt x="1015" y="2548"/>
                    <a:pt x="1008" y="2548"/>
                    <a:pt x="1002" y="2548"/>
                  </a:cubicBezTo>
                  <a:cubicBezTo>
                    <a:pt x="762" y="2539"/>
                    <a:pt x="557" y="2365"/>
                    <a:pt x="504" y="2124"/>
                  </a:cubicBezTo>
                  <a:cubicBezTo>
                    <a:pt x="495" y="2085"/>
                    <a:pt x="469" y="1965"/>
                    <a:pt x="469" y="1965"/>
                  </a:cubicBezTo>
                  <a:lnTo>
                    <a:pt x="1089" y="1965"/>
                  </a:lnTo>
                  <a:cubicBezTo>
                    <a:pt x="1220" y="1965"/>
                    <a:pt x="1337" y="1910"/>
                    <a:pt x="1420" y="1821"/>
                  </a:cubicBezTo>
                  <a:cubicBezTo>
                    <a:pt x="1484" y="1874"/>
                    <a:pt x="1525" y="1954"/>
                    <a:pt x="1525" y="2044"/>
                  </a:cubicBezTo>
                  <a:lnTo>
                    <a:pt x="1525" y="2469"/>
                  </a:lnTo>
                  <a:cubicBezTo>
                    <a:pt x="1525" y="2543"/>
                    <a:pt x="1585" y="2602"/>
                    <a:pt x="1658" y="2602"/>
                  </a:cubicBezTo>
                  <a:cubicBezTo>
                    <a:pt x="1732" y="2602"/>
                    <a:pt x="1792" y="2543"/>
                    <a:pt x="1792" y="2469"/>
                  </a:cubicBezTo>
                  <a:lnTo>
                    <a:pt x="1792" y="2044"/>
                  </a:lnTo>
                  <a:cubicBezTo>
                    <a:pt x="1792" y="1848"/>
                    <a:pt x="1690" y="1675"/>
                    <a:pt x="1536" y="1576"/>
                  </a:cubicBezTo>
                  <a:cubicBezTo>
                    <a:pt x="1539" y="1556"/>
                    <a:pt x="1541" y="1515"/>
                    <a:pt x="1541" y="1494"/>
                  </a:cubicBezTo>
                  <a:close/>
                  <a:moveTo>
                    <a:pt x="602" y="267"/>
                  </a:moveTo>
                  <a:lnTo>
                    <a:pt x="804" y="267"/>
                  </a:lnTo>
                  <a:cubicBezTo>
                    <a:pt x="850" y="267"/>
                    <a:pt x="888" y="304"/>
                    <a:pt x="888" y="351"/>
                  </a:cubicBezTo>
                  <a:lnTo>
                    <a:pt x="888" y="1062"/>
                  </a:lnTo>
                  <a:lnTo>
                    <a:pt x="518" y="1062"/>
                  </a:lnTo>
                  <a:lnTo>
                    <a:pt x="518" y="351"/>
                  </a:lnTo>
                  <a:cubicBezTo>
                    <a:pt x="518" y="304"/>
                    <a:pt x="556" y="267"/>
                    <a:pt x="602" y="267"/>
                  </a:cubicBezTo>
                  <a:close/>
                  <a:moveTo>
                    <a:pt x="1089" y="1699"/>
                  </a:moveTo>
                  <a:lnTo>
                    <a:pt x="351" y="1699"/>
                  </a:lnTo>
                  <a:cubicBezTo>
                    <a:pt x="305" y="1699"/>
                    <a:pt x="267" y="1661"/>
                    <a:pt x="267" y="1614"/>
                  </a:cubicBezTo>
                  <a:lnTo>
                    <a:pt x="267" y="1413"/>
                  </a:lnTo>
                  <a:cubicBezTo>
                    <a:pt x="267" y="1366"/>
                    <a:pt x="305" y="1328"/>
                    <a:pt x="351" y="1328"/>
                  </a:cubicBezTo>
                  <a:lnTo>
                    <a:pt x="1089" y="1328"/>
                  </a:lnTo>
                  <a:cubicBezTo>
                    <a:pt x="1191" y="1328"/>
                    <a:pt x="1274" y="1411"/>
                    <a:pt x="1274" y="1513"/>
                  </a:cubicBezTo>
                  <a:cubicBezTo>
                    <a:pt x="1274" y="1616"/>
                    <a:pt x="1191" y="1699"/>
                    <a:pt x="1089" y="1699"/>
                  </a:cubicBezTo>
                  <a:close/>
                  <a:moveTo>
                    <a:pt x="1155" y="1067"/>
                  </a:moveTo>
                  <a:lnTo>
                    <a:pt x="1155" y="351"/>
                  </a:lnTo>
                  <a:cubicBezTo>
                    <a:pt x="1155" y="304"/>
                    <a:pt x="1193" y="267"/>
                    <a:pt x="1239" y="267"/>
                  </a:cubicBezTo>
                  <a:lnTo>
                    <a:pt x="1441" y="267"/>
                  </a:lnTo>
                  <a:cubicBezTo>
                    <a:pt x="1487" y="267"/>
                    <a:pt x="1525" y="304"/>
                    <a:pt x="1525" y="351"/>
                  </a:cubicBezTo>
                  <a:lnTo>
                    <a:pt x="1525" y="1089"/>
                  </a:lnTo>
                  <a:cubicBezTo>
                    <a:pt x="1525" y="1151"/>
                    <a:pt x="1495" y="1206"/>
                    <a:pt x="1448" y="1239"/>
                  </a:cubicBezTo>
                  <a:cubicBezTo>
                    <a:pt x="1378" y="1148"/>
                    <a:pt x="1274" y="1084"/>
                    <a:pt x="1155" y="1067"/>
                  </a:cubicBezTo>
                  <a:close/>
                  <a:moveTo>
                    <a:pt x="1977" y="1274"/>
                  </a:moveTo>
                  <a:cubicBezTo>
                    <a:pt x="1875" y="1274"/>
                    <a:pt x="1792" y="1191"/>
                    <a:pt x="1792" y="1089"/>
                  </a:cubicBezTo>
                  <a:lnTo>
                    <a:pt x="1792" y="351"/>
                  </a:lnTo>
                  <a:cubicBezTo>
                    <a:pt x="1792" y="304"/>
                    <a:pt x="1830" y="267"/>
                    <a:pt x="1876" y="267"/>
                  </a:cubicBezTo>
                  <a:lnTo>
                    <a:pt x="2078" y="267"/>
                  </a:lnTo>
                  <a:cubicBezTo>
                    <a:pt x="2124" y="267"/>
                    <a:pt x="2162" y="304"/>
                    <a:pt x="2162" y="351"/>
                  </a:cubicBezTo>
                  <a:lnTo>
                    <a:pt x="2162" y="1089"/>
                  </a:lnTo>
                  <a:cubicBezTo>
                    <a:pt x="2162" y="1191"/>
                    <a:pt x="2079" y="1274"/>
                    <a:pt x="1977" y="1274"/>
                  </a:cubicBezTo>
                  <a:close/>
                  <a:moveTo>
                    <a:pt x="2614" y="1486"/>
                  </a:moveTo>
                  <a:cubicBezTo>
                    <a:pt x="2512" y="1486"/>
                    <a:pt x="2429" y="1403"/>
                    <a:pt x="2429" y="1301"/>
                  </a:cubicBezTo>
                  <a:lnTo>
                    <a:pt x="2429" y="563"/>
                  </a:lnTo>
                  <a:cubicBezTo>
                    <a:pt x="2429" y="517"/>
                    <a:pt x="2467" y="479"/>
                    <a:pt x="2513" y="479"/>
                  </a:cubicBezTo>
                  <a:lnTo>
                    <a:pt x="2715" y="479"/>
                  </a:lnTo>
                  <a:cubicBezTo>
                    <a:pt x="2761" y="479"/>
                    <a:pt x="2799" y="517"/>
                    <a:pt x="2799" y="563"/>
                  </a:cubicBezTo>
                  <a:lnTo>
                    <a:pt x="2799" y="1301"/>
                  </a:lnTo>
                  <a:cubicBezTo>
                    <a:pt x="2799" y="1403"/>
                    <a:pt x="2716" y="1486"/>
                    <a:pt x="2614" y="148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071DBD21-66F0-4B0A-9D0D-7FD6A332632E}"/>
                </a:ext>
              </a:extLst>
            </p:cNvPr>
            <p:cNvSpPr txBox="1"/>
            <p:nvPr/>
          </p:nvSpPr>
          <p:spPr>
            <a:xfrm>
              <a:off x="5799472" y="2755900"/>
              <a:ext cx="1960228" cy="3246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solidFill>
                    <a:schemeClr val="bg1"/>
                  </a:solidFill>
                  <a:cs typeface="+mn-ea"/>
                  <a:sym typeface="+mn-lt"/>
                </a:rPr>
                <a:t>抗击疫情专题</a:t>
              </a:r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50709E4-91EB-4F32-8D7B-C24B8C9F946D}"/>
                </a:ext>
              </a:extLst>
            </p:cNvPr>
            <p:cNvSpPr/>
            <p:nvPr/>
          </p:nvSpPr>
          <p:spPr>
            <a:xfrm>
              <a:off x="5219700" y="2603500"/>
              <a:ext cx="2705100" cy="647700"/>
            </a:xfrm>
            <a:custGeom>
              <a:avLst/>
              <a:gdLst>
                <a:gd name="connsiteX0" fmla="*/ 558800 w 2616200"/>
                <a:gd name="connsiteY0" fmla="*/ 0 h 647700"/>
                <a:gd name="connsiteX1" fmla="*/ 2616200 w 2616200"/>
                <a:gd name="connsiteY1" fmla="*/ 0 h 647700"/>
                <a:gd name="connsiteX2" fmla="*/ 2616200 w 2616200"/>
                <a:gd name="connsiteY2" fmla="*/ 647700 h 647700"/>
                <a:gd name="connsiteX3" fmla="*/ 0 w 2616200"/>
                <a:gd name="connsiteY3" fmla="*/ 64770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6200" h="647700">
                  <a:moveTo>
                    <a:pt x="558800" y="0"/>
                  </a:moveTo>
                  <a:lnTo>
                    <a:pt x="2616200" y="0"/>
                  </a:lnTo>
                  <a:lnTo>
                    <a:pt x="2616200" y="647700"/>
                  </a:lnTo>
                  <a:lnTo>
                    <a:pt x="0" y="647700"/>
                  </a:lnTo>
                </a:path>
              </a:pathLst>
            </a:cu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新型冠状病毒感染的肺炎流行期间的饮食卫生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0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73100" y="1504643"/>
            <a:ext cx="10845800" cy="4642157"/>
            <a:chOff x="673100" y="1504642"/>
            <a:chExt cx="10845803" cy="464215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>
              <a:off x="1489431" y="3450636"/>
              <a:ext cx="3817950" cy="29441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en-US" altLang="zh-CN" sz="1100" dirty="0">
                  <a:cs typeface="+mn-ea"/>
                  <a:sym typeface="+mn-lt"/>
                </a:rPr>
                <a:t>Copy paste fonts. Choose the only option to </a:t>
              </a:r>
              <a:r>
                <a:rPr lang="en-US" altLang="zh-CN" sz="1100">
                  <a:cs typeface="+mn-ea"/>
                  <a:sym typeface="+mn-lt"/>
                </a:rPr>
                <a:t>retain tex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…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7" name="任意多边形: 形状 6"/>
            <p:cNvSpPr/>
            <p:nvPr/>
          </p:nvSpPr>
          <p:spPr bwMode="auto">
            <a:xfrm>
              <a:off x="5307381" y="3291455"/>
              <a:ext cx="530225" cy="612775"/>
            </a:xfrm>
            <a:custGeom>
              <a:avLst/>
              <a:gdLst>
                <a:gd name="T0" fmla="*/ 167 w 334"/>
                <a:gd name="T1" fmla="*/ 0 h 386"/>
                <a:gd name="T2" fmla="*/ 334 w 334"/>
                <a:gd name="T3" fmla="*/ 83 h 386"/>
                <a:gd name="T4" fmla="*/ 334 w 334"/>
                <a:gd name="T5" fmla="*/ 303 h 386"/>
                <a:gd name="T6" fmla="*/ 167 w 334"/>
                <a:gd name="T7" fmla="*/ 386 h 386"/>
                <a:gd name="T8" fmla="*/ 0 w 334"/>
                <a:gd name="T9" fmla="*/ 303 h 386"/>
                <a:gd name="T10" fmla="*/ 0 w 334"/>
                <a:gd name="T11" fmla="*/ 83 h 386"/>
                <a:gd name="T12" fmla="*/ 167 w 334"/>
                <a:gd name="T1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86">
                  <a:moveTo>
                    <a:pt x="167" y="0"/>
                  </a:moveTo>
                  <a:lnTo>
                    <a:pt x="334" y="83"/>
                  </a:lnTo>
                  <a:lnTo>
                    <a:pt x="334" y="303"/>
                  </a:lnTo>
                  <a:lnTo>
                    <a:pt x="167" y="386"/>
                  </a:lnTo>
                  <a:lnTo>
                    <a:pt x="0" y="303"/>
                  </a:lnTo>
                  <a:lnTo>
                    <a:pt x="0" y="83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b="1" i="1" dirty="0">
                  <a:solidFill>
                    <a:schemeClr val="bg1"/>
                  </a:solidFill>
                  <a:cs typeface="+mn-ea"/>
                  <a:sym typeface="+mn-lt"/>
                </a:rPr>
                <a:t>1</a:t>
              </a:r>
              <a:endParaRPr lang="zh-CN" altLang="en-US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>
              <a:off x="1489431" y="4438254"/>
              <a:ext cx="3817950" cy="29441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en-US" altLang="zh-CN" sz="1100" dirty="0">
                  <a:cs typeface="+mn-ea"/>
                  <a:sym typeface="+mn-lt"/>
                </a:rPr>
                <a:t>Copy paste fonts. Choose the only option to </a:t>
              </a:r>
              <a:r>
                <a:rPr lang="en-US" altLang="zh-CN" sz="1100">
                  <a:cs typeface="+mn-ea"/>
                  <a:sym typeface="+mn-lt"/>
                </a:rPr>
                <a:t>retain tex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…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9" name="任意多边形: 形状 8"/>
            <p:cNvSpPr/>
            <p:nvPr/>
          </p:nvSpPr>
          <p:spPr bwMode="auto">
            <a:xfrm>
              <a:off x="5307381" y="4279073"/>
              <a:ext cx="530225" cy="612775"/>
            </a:xfrm>
            <a:custGeom>
              <a:avLst/>
              <a:gdLst>
                <a:gd name="T0" fmla="*/ 167 w 334"/>
                <a:gd name="T1" fmla="*/ 0 h 386"/>
                <a:gd name="T2" fmla="*/ 334 w 334"/>
                <a:gd name="T3" fmla="*/ 83 h 386"/>
                <a:gd name="T4" fmla="*/ 334 w 334"/>
                <a:gd name="T5" fmla="*/ 303 h 386"/>
                <a:gd name="T6" fmla="*/ 167 w 334"/>
                <a:gd name="T7" fmla="*/ 386 h 386"/>
                <a:gd name="T8" fmla="*/ 0 w 334"/>
                <a:gd name="T9" fmla="*/ 303 h 386"/>
                <a:gd name="T10" fmla="*/ 0 w 334"/>
                <a:gd name="T11" fmla="*/ 83 h 386"/>
                <a:gd name="T12" fmla="*/ 167 w 334"/>
                <a:gd name="T1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86">
                  <a:moveTo>
                    <a:pt x="167" y="0"/>
                  </a:moveTo>
                  <a:lnTo>
                    <a:pt x="334" y="83"/>
                  </a:lnTo>
                  <a:lnTo>
                    <a:pt x="334" y="303"/>
                  </a:lnTo>
                  <a:lnTo>
                    <a:pt x="167" y="386"/>
                  </a:lnTo>
                  <a:lnTo>
                    <a:pt x="0" y="303"/>
                  </a:lnTo>
                  <a:lnTo>
                    <a:pt x="0" y="83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b="1" i="1" dirty="0">
                  <a:solidFill>
                    <a:schemeClr val="bg1"/>
                  </a:solidFill>
                  <a:cs typeface="+mn-ea"/>
                  <a:sym typeface="+mn-lt"/>
                </a:rPr>
                <a:t>3</a:t>
              </a:r>
              <a:endParaRPr lang="zh-CN" altLang="en-US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>
              <a:off x="1489431" y="5425871"/>
              <a:ext cx="3817950" cy="29441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en-US" altLang="zh-CN" sz="1100" dirty="0">
                  <a:cs typeface="+mn-ea"/>
                  <a:sym typeface="+mn-lt"/>
                </a:rPr>
                <a:t>Copy paste fonts. Choose the only option to </a:t>
              </a:r>
              <a:r>
                <a:rPr lang="en-US" altLang="zh-CN" sz="1100">
                  <a:cs typeface="+mn-ea"/>
                  <a:sym typeface="+mn-lt"/>
                </a:rPr>
                <a:t>retain tex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…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1" name="任意多边形: 形状 10"/>
            <p:cNvSpPr/>
            <p:nvPr/>
          </p:nvSpPr>
          <p:spPr bwMode="auto">
            <a:xfrm>
              <a:off x="5307381" y="5266690"/>
              <a:ext cx="530225" cy="612775"/>
            </a:xfrm>
            <a:custGeom>
              <a:avLst/>
              <a:gdLst>
                <a:gd name="T0" fmla="*/ 167 w 334"/>
                <a:gd name="T1" fmla="*/ 0 h 386"/>
                <a:gd name="T2" fmla="*/ 334 w 334"/>
                <a:gd name="T3" fmla="*/ 83 h 386"/>
                <a:gd name="T4" fmla="*/ 334 w 334"/>
                <a:gd name="T5" fmla="*/ 303 h 386"/>
                <a:gd name="T6" fmla="*/ 167 w 334"/>
                <a:gd name="T7" fmla="*/ 386 h 386"/>
                <a:gd name="T8" fmla="*/ 0 w 334"/>
                <a:gd name="T9" fmla="*/ 303 h 386"/>
                <a:gd name="T10" fmla="*/ 0 w 334"/>
                <a:gd name="T11" fmla="*/ 83 h 386"/>
                <a:gd name="T12" fmla="*/ 167 w 334"/>
                <a:gd name="T1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86">
                  <a:moveTo>
                    <a:pt x="167" y="0"/>
                  </a:moveTo>
                  <a:lnTo>
                    <a:pt x="334" y="83"/>
                  </a:lnTo>
                  <a:lnTo>
                    <a:pt x="334" y="303"/>
                  </a:lnTo>
                  <a:lnTo>
                    <a:pt x="167" y="386"/>
                  </a:lnTo>
                  <a:lnTo>
                    <a:pt x="0" y="303"/>
                  </a:lnTo>
                  <a:lnTo>
                    <a:pt x="0" y="83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b="1" i="1" dirty="0">
                  <a:solidFill>
                    <a:schemeClr val="bg1"/>
                  </a:solidFill>
                  <a:cs typeface="+mn-ea"/>
                  <a:sym typeface="+mn-lt"/>
                </a:rPr>
                <a:t>5</a:t>
              </a:r>
              <a:endParaRPr lang="zh-CN" altLang="en-US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 flipH="1">
              <a:off x="6884619" y="3450636"/>
              <a:ext cx="3817950" cy="29441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100" dirty="0">
                  <a:cs typeface="+mn-ea"/>
                  <a:sym typeface="+mn-lt"/>
                </a:rPr>
                <a:t>Copy paste fonts. Choose the only option to </a:t>
              </a:r>
              <a:r>
                <a:rPr lang="en-US" altLang="zh-CN" sz="1100">
                  <a:cs typeface="+mn-ea"/>
                  <a:sym typeface="+mn-lt"/>
                </a:rPr>
                <a:t>retain tex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…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3" name="任意多边形: 形状 12"/>
            <p:cNvSpPr/>
            <p:nvPr/>
          </p:nvSpPr>
          <p:spPr bwMode="auto">
            <a:xfrm flipH="1">
              <a:off x="6354394" y="3291455"/>
              <a:ext cx="530225" cy="612775"/>
            </a:xfrm>
            <a:custGeom>
              <a:avLst/>
              <a:gdLst>
                <a:gd name="T0" fmla="*/ 167 w 334"/>
                <a:gd name="T1" fmla="*/ 0 h 386"/>
                <a:gd name="T2" fmla="*/ 334 w 334"/>
                <a:gd name="T3" fmla="*/ 83 h 386"/>
                <a:gd name="T4" fmla="*/ 334 w 334"/>
                <a:gd name="T5" fmla="*/ 303 h 386"/>
                <a:gd name="T6" fmla="*/ 167 w 334"/>
                <a:gd name="T7" fmla="*/ 386 h 386"/>
                <a:gd name="T8" fmla="*/ 0 w 334"/>
                <a:gd name="T9" fmla="*/ 303 h 386"/>
                <a:gd name="T10" fmla="*/ 0 w 334"/>
                <a:gd name="T11" fmla="*/ 83 h 386"/>
                <a:gd name="T12" fmla="*/ 167 w 334"/>
                <a:gd name="T1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86">
                  <a:moveTo>
                    <a:pt x="167" y="0"/>
                  </a:moveTo>
                  <a:lnTo>
                    <a:pt x="334" y="83"/>
                  </a:lnTo>
                  <a:lnTo>
                    <a:pt x="334" y="303"/>
                  </a:lnTo>
                  <a:lnTo>
                    <a:pt x="167" y="386"/>
                  </a:lnTo>
                  <a:lnTo>
                    <a:pt x="0" y="303"/>
                  </a:lnTo>
                  <a:lnTo>
                    <a:pt x="0" y="83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b="1" i="1" dirty="0">
                  <a:solidFill>
                    <a:schemeClr val="bg1"/>
                  </a:solidFill>
                  <a:cs typeface="+mn-ea"/>
                  <a:sym typeface="+mn-lt"/>
                </a:rPr>
                <a:t>2</a:t>
              </a:r>
              <a:endParaRPr lang="zh-CN" altLang="en-US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 flipH="1">
              <a:off x="6884619" y="4438254"/>
              <a:ext cx="3817950" cy="29441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100" dirty="0">
                  <a:cs typeface="+mn-ea"/>
                  <a:sym typeface="+mn-lt"/>
                </a:rPr>
                <a:t>Copy paste fonts. Choose the only option to </a:t>
              </a:r>
              <a:r>
                <a:rPr lang="en-US" altLang="zh-CN" sz="1100">
                  <a:cs typeface="+mn-ea"/>
                  <a:sym typeface="+mn-lt"/>
                </a:rPr>
                <a:t>retain tex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…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5" name="任意多边形: 形状 14"/>
            <p:cNvSpPr/>
            <p:nvPr/>
          </p:nvSpPr>
          <p:spPr bwMode="auto">
            <a:xfrm flipH="1">
              <a:off x="6354394" y="4279073"/>
              <a:ext cx="530225" cy="612775"/>
            </a:xfrm>
            <a:custGeom>
              <a:avLst/>
              <a:gdLst>
                <a:gd name="T0" fmla="*/ 167 w 334"/>
                <a:gd name="T1" fmla="*/ 0 h 386"/>
                <a:gd name="T2" fmla="*/ 334 w 334"/>
                <a:gd name="T3" fmla="*/ 83 h 386"/>
                <a:gd name="T4" fmla="*/ 334 w 334"/>
                <a:gd name="T5" fmla="*/ 303 h 386"/>
                <a:gd name="T6" fmla="*/ 167 w 334"/>
                <a:gd name="T7" fmla="*/ 386 h 386"/>
                <a:gd name="T8" fmla="*/ 0 w 334"/>
                <a:gd name="T9" fmla="*/ 303 h 386"/>
                <a:gd name="T10" fmla="*/ 0 w 334"/>
                <a:gd name="T11" fmla="*/ 83 h 386"/>
                <a:gd name="T12" fmla="*/ 167 w 334"/>
                <a:gd name="T1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86">
                  <a:moveTo>
                    <a:pt x="167" y="0"/>
                  </a:moveTo>
                  <a:lnTo>
                    <a:pt x="334" y="83"/>
                  </a:lnTo>
                  <a:lnTo>
                    <a:pt x="334" y="303"/>
                  </a:lnTo>
                  <a:lnTo>
                    <a:pt x="167" y="386"/>
                  </a:lnTo>
                  <a:lnTo>
                    <a:pt x="0" y="303"/>
                  </a:lnTo>
                  <a:lnTo>
                    <a:pt x="0" y="83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b="1" i="1" dirty="0">
                  <a:solidFill>
                    <a:schemeClr val="bg1"/>
                  </a:solidFill>
                  <a:cs typeface="+mn-ea"/>
                  <a:sym typeface="+mn-lt"/>
                </a:rPr>
                <a:t>4</a:t>
              </a:r>
              <a:endParaRPr lang="zh-CN" altLang="en-US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 flipH="1">
              <a:off x="6884619" y="5425871"/>
              <a:ext cx="3817950" cy="29441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100" dirty="0">
                  <a:cs typeface="+mn-ea"/>
                  <a:sym typeface="+mn-lt"/>
                </a:rPr>
                <a:t>Copy paste fonts. Choose the only option to </a:t>
              </a:r>
              <a:r>
                <a:rPr lang="en-US" altLang="zh-CN" sz="1100">
                  <a:cs typeface="+mn-ea"/>
                  <a:sym typeface="+mn-lt"/>
                </a:rPr>
                <a:t>retain tex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…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7" name="任意多边形: 形状 16"/>
            <p:cNvSpPr/>
            <p:nvPr/>
          </p:nvSpPr>
          <p:spPr bwMode="auto">
            <a:xfrm flipH="1">
              <a:off x="6354394" y="5266690"/>
              <a:ext cx="530225" cy="612775"/>
            </a:xfrm>
            <a:custGeom>
              <a:avLst/>
              <a:gdLst>
                <a:gd name="T0" fmla="*/ 167 w 334"/>
                <a:gd name="T1" fmla="*/ 0 h 386"/>
                <a:gd name="T2" fmla="*/ 334 w 334"/>
                <a:gd name="T3" fmla="*/ 83 h 386"/>
                <a:gd name="T4" fmla="*/ 334 w 334"/>
                <a:gd name="T5" fmla="*/ 303 h 386"/>
                <a:gd name="T6" fmla="*/ 167 w 334"/>
                <a:gd name="T7" fmla="*/ 386 h 386"/>
                <a:gd name="T8" fmla="*/ 0 w 334"/>
                <a:gd name="T9" fmla="*/ 303 h 386"/>
                <a:gd name="T10" fmla="*/ 0 w 334"/>
                <a:gd name="T11" fmla="*/ 83 h 386"/>
                <a:gd name="T12" fmla="*/ 167 w 334"/>
                <a:gd name="T1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86">
                  <a:moveTo>
                    <a:pt x="167" y="0"/>
                  </a:moveTo>
                  <a:lnTo>
                    <a:pt x="334" y="83"/>
                  </a:lnTo>
                  <a:lnTo>
                    <a:pt x="334" y="303"/>
                  </a:lnTo>
                  <a:lnTo>
                    <a:pt x="167" y="386"/>
                  </a:lnTo>
                  <a:lnTo>
                    <a:pt x="0" y="303"/>
                  </a:lnTo>
                  <a:lnTo>
                    <a:pt x="0" y="83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b="1" i="1" dirty="0">
                  <a:solidFill>
                    <a:schemeClr val="bg1"/>
                  </a:solidFill>
                  <a:cs typeface="+mn-ea"/>
                  <a:sym typeface="+mn-lt"/>
                </a:rPr>
                <a:t>6</a:t>
              </a:r>
              <a:endParaRPr lang="zh-CN" altLang="en-US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cxnSp>
          <p:nvCxnSpPr>
            <p:cNvPr id="18" name="直接连接符 17"/>
            <p:cNvCxnSpPr/>
            <p:nvPr/>
          </p:nvCxnSpPr>
          <p:spPr>
            <a:xfrm>
              <a:off x="6096000" y="3291455"/>
              <a:ext cx="0" cy="285534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" name="组合 18"/>
            <p:cNvGrpSpPr/>
            <p:nvPr/>
          </p:nvGrpSpPr>
          <p:grpSpPr>
            <a:xfrm>
              <a:off x="673100" y="1534808"/>
              <a:ext cx="3801361" cy="844552"/>
              <a:chOff x="1524000" y="3024888"/>
              <a:chExt cx="3637851" cy="808224"/>
            </a:xfrm>
            <a:solidFill>
              <a:schemeClr val="bg1">
                <a:lumMod val="75000"/>
              </a:schemeClr>
            </a:solidFill>
          </p:grpSpPr>
          <p:sp>
            <p:nvSpPr>
              <p:cNvPr id="25" name="流程图: 过程 24"/>
              <p:cNvSpPr/>
              <p:nvPr/>
            </p:nvSpPr>
            <p:spPr>
              <a:xfrm>
                <a:off x="1524000" y="3405952"/>
                <a:ext cx="2697480" cy="45719"/>
              </a:xfrm>
              <a:prstGeom prst="flowChartProcess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26" name="半闭框 25"/>
              <p:cNvSpPr/>
              <p:nvPr/>
            </p:nvSpPr>
            <p:spPr>
              <a:xfrm rot="18900000">
                <a:off x="4353627" y="3024888"/>
                <a:ext cx="808224" cy="808224"/>
              </a:xfrm>
              <a:prstGeom prst="halfFrame">
                <a:avLst>
                  <a:gd name="adj1" fmla="val 5656"/>
                  <a:gd name="adj2" fmla="val 5716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27" name="半闭框 26"/>
              <p:cNvSpPr/>
              <p:nvPr/>
            </p:nvSpPr>
            <p:spPr>
              <a:xfrm rot="18900000">
                <a:off x="4427094" y="3226944"/>
                <a:ext cx="404111" cy="404111"/>
              </a:xfrm>
              <a:prstGeom prst="halfFrame">
                <a:avLst>
                  <a:gd name="adj1" fmla="val 5656"/>
                  <a:gd name="adj2" fmla="val 5716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20" name="组合 19"/>
            <p:cNvGrpSpPr/>
            <p:nvPr/>
          </p:nvGrpSpPr>
          <p:grpSpPr>
            <a:xfrm>
              <a:off x="7717542" y="1534808"/>
              <a:ext cx="3801361" cy="844552"/>
              <a:chOff x="6267450" y="3024888"/>
              <a:chExt cx="3637851" cy="808224"/>
            </a:xfrm>
            <a:solidFill>
              <a:schemeClr val="bg1">
                <a:lumMod val="75000"/>
              </a:schemeClr>
            </a:solidFill>
          </p:grpSpPr>
          <p:sp>
            <p:nvSpPr>
              <p:cNvPr id="22" name="流程图: 过程 21"/>
              <p:cNvSpPr/>
              <p:nvPr/>
            </p:nvSpPr>
            <p:spPr>
              <a:xfrm flipH="1">
                <a:off x="7207821" y="3405952"/>
                <a:ext cx="2697480" cy="45719"/>
              </a:xfrm>
              <a:prstGeom prst="flowChartProcess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23" name="半闭框 22"/>
              <p:cNvSpPr/>
              <p:nvPr/>
            </p:nvSpPr>
            <p:spPr>
              <a:xfrm rot="2700000" flipH="1">
                <a:off x="6267450" y="3024888"/>
                <a:ext cx="808224" cy="808224"/>
              </a:xfrm>
              <a:prstGeom prst="halfFrame">
                <a:avLst>
                  <a:gd name="adj1" fmla="val 5656"/>
                  <a:gd name="adj2" fmla="val 5716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24" name="半闭框 23"/>
              <p:cNvSpPr/>
              <p:nvPr/>
            </p:nvSpPr>
            <p:spPr>
              <a:xfrm rot="2700000" flipH="1">
                <a:off x="6598096" y="3226944"/>
                <a:ext cx="404111" cy="404111"/>
              </a:xfrm>
              <a:prstGeom prst="halfFrame">
                <a:avLst>
                  <a:gd name="adj1" fmla="val 5656"/>
                  <a:gd name="adj2" fmla="val 5716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>
                  <a:cs typeface="+mn-ea"/>
                  <a:sym typeface="+mn-lt"/>
                </a:endParaRPr>
              </a:p>
            </p:txBody>
          </p:sp>
        </p:grp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64DC2847-DA63-4AF3-B015-B0D0DC7F9B4A}"/>
                </a:ext>
              </a:extLst>
            </p:cNvPr>
            <p:cNvSpPr txBox="1"/>
            <p:nvPr/>
          </p:nvSpPr>
          <p:spPr>
            <a:xfrm>
              <a:off x="4537168" y="1504642"/>
              <a:ext cx="3117665" cy="90486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buSzPct val="25000"/>
              </a:pPr>
              <a:r>
                <a:rPr lang="en-US" sz="2400" b="1" dirty="0">
                  <a:cs typeface="+mn-ea"/>
                  <a:sym typeface="+mn-lt"/>
                </a:rPr>
                <a:t>Unified fonts make</a:t>
              </a:r>
            </a:p>
            <a:p>
              <a:pPr>
                <a:buSzPct val="25000"/>
              </a:pPr>
              <a:r>
                <a:rPr lang="en-US" sz="2400" b="1" dirty="0">
                  <a:cs typeface="+mn-ea"/>
                  <a:sym typeface="+mn-lt"/>
                </a:rPr>
                <a:t>reading </a:t>
              </a:r>
              <a:r>
                <a:rPr lang="en-US" sz="2400" b="1">
                  <a:cs typeface="+mn-ea"/>
                  <a:sym typeface="+mn-lt"/>
                </a:rPr>
                <a:t>more fluen</a:t>
              </a:r>
              <a:r>
                <a:rPr lang="en-US" sz="100" b="1">
                  <a:cs typeface="+mn-ea"/>
                  <a:sym typeface="+mn-lt"/>
                </a:rPr>
                <a:t> </a:t>
              </a:r>
              <a:r>
                <a:rPr lang="en-US" sz="2400" b="1">
                  <a:cs typeface="+mn-ea"/>
                  <a:sym typeface="+mn-lt"/>
                </a:rPr>
                <a:t>t</a:t>
              </a:r>
              <a:r>
                <a:rPr lang="en-US" sz="2400" b="1" dirty="0">
                  <a:cs typeface="+mn-ea"/>
                  <a:sym typeface="+mn-lt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41919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新型冠状病毒感染的肺炎流行期间的饮食卫生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1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225550"/>
            <a:ext cx="10858500" cy="4813300"/>
            <a:chOff x="660400" y="1225550"/>
            <a:chExt cx="10858500" cy="4813300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7ADA4E23-3CAC-426F-B7E0-4C46931E5118}"/>
                </a:ext>
              </a:extLst>
            </p:cNvPr>
            <p:cNvGrpSpPr/>
            <p:nvPr/>
          </p:nvGrpSpPr>
          <p:grpSpPr>
            <a:xfrm>
              <a:off x="660400" y="2727362"/>
              <a:ext cx="4967099" cy="1741481"/>
              <a:chOff x="673101" y="2922464"/>
              <a:chExt cx="4177764" cy="1741481"/>
            </a:xfrm>
          </p:grpSpPr>
          <p:sp>
            <p:nvSpPr>
              <p:cNvPr id="34" name="文本框 33">
                <a:extLst>
                  <a:ext uri="{FF2B5EF4-FFF2-40B4-BE49-F238E27FC236}">
                    <a16:creationId xmlns:a16="http://schemas.microsoft.com/office/drawing/2014/main" id="{1D99C0E4-AEC2-4C3C-8A6D-70F417A1ED04}"/>
                  </a:ext>
                </a:extLst>
              </p:cNvPr>
              <p:cNvSpPr txBox="1"/>
              <p:nvPr/>
            </p:nvSpPr>
            <p:spPr>
              <a:xfrm>
                <a:off x="673103" y="2922464"/>
                <a:ext cx="4177762" cy="6993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buSzPct val="25000"/>
                </a:pPr>
                <a:r>
                  <a:rPr lang="en-US" sz="2000" b="1">
                    <a:cs typeface="+mn-ea"/>
                    <a:sym typeface="+mn-lt"/>
                  </a:rPr>
                  <a:t>Un</a:t>
                </a:r>
                <a:r>
                  <a:rPr lang="en-US" sz="100" b="1">
                    <a:cs typeface="+mn-ea"/>
                    <a:sym typeface="+mn-lt"/>
                  </a:rPr>
                  <a:t> </a:t>
                </a:r>
                <a:r>
                  <a:rPr lang="en-US" sz="2000" b="1">
                    <a:cs typeface="+mn-ea"/>
                    <a:sym typeface="+mn-lt"/>
                  </a:rPr>
                  <a:t>ified </a:t>
                </a:r>
                <a:r>
                  <a:rPr lang="en-US" sz="2000" b="1" dirty="0">
                    <a:cs typeface="+mn-ea"/>
                    <a:sym typeface="+mn-lt"/>
                  </a:rPr>
                  <a:t>fonts make reading more fluent.</a:t>
                </a:r>
              </a:p>
            </p:txBody>
          </p:sp>
          <p:sp>
            <p:nvSpPr>
              <p:cNvPr id="35" name="文本框 34">
                <a:extLst>
                  <a:ext uri="{FF2B5EF4-FFF2-40B4-BE49-F238E27FC236}">
                    <a16:creationId xmlns:a16="http://schemas.microsoft.com/office/drawing/2014/main" id="{050CB7EA-030C-49B9-8366-6B1546EDC5A6}"/>
                  </a:ext>
                </a:extLst>
              </p:cNvPr>
              <p:cNvSpPr txBox="1"/>
              <p:nvPr/>
            </p:nvSpPr>
            <p:spPr>
              <a:xfrm>
                <a:off x="673101" y="3621773"/>
                <a:ext cx="4177763" cy="10421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>
                    <a:cs typeface="+mn-ea"/>
                    <a:sym typeface="+mn-lt"/>
                  </a:rPr>
                  <a:t>Theme </a:t>
                </a:r>
                <a:r>
                  <a:rPr lang="en-US" sz="100">
                    <a:cs typeface="+mn-ea"/>
                    <a:sym typeface="+mn-lt"/>
                  </a:rPr>
                  <a:t> </a:t>
                </a:r>
                <a:r>
                  <a:rPr lang="en-US" sz="1200">
                    <a:cs typeface="+mn-ea"/>
                    <a:sym typeface="+mn-lt"/>
                  </a:rPr>
                  <a:t>color </a:t>
                </a:r>
                <a:r>
                  <a:rPr lang="en-US" sz="1200" dirty="0">
                    <a:cs typeface="+mn-ea"/>
                    <a:sym typeface="+mn-lt"/>
                  </a:rPr>
                  <a:t>makes PPT more convenient to change.</a:t>
                </a:r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>
                    <a:cs typeface="+mn-ea"/>
                    <a:sym typeface="+mn-lt"/>
                  </a:rPr>
                  <a:t>Adjust the spacing to adapt to Chinese typesetting, use the reference line in PPT.</a:t>
                </a:r>
              </a:p>
            </p:txBody>
          </p:sp>
        </p:grpSp>
        <p:grpSp>
          <p:nvGrpSpPr>
            <p:cNvPr id="7" name="组合 6"/>
            <p:cNvGrpSpPr/>
            <p:nvPr/>
          </p:nvGrpSpPr>
          <p:grpSpPr>
            <a:xfrm>
              <a:off x="6161197" y="1225550"/>
              <a:ext cx="5357703" cy="1520437"/>
              <a:chOff x="6161197" y="1225550"/>
              <a:chExt cx="5357703" cy="1520437"/>
            </a:xfrm>
          </p:grpSpPr>
          <p:sp>
            <p:nvSpPr>
              <p:cNvPr id="26" name="矩形 25"/>
              <p:cNvSpPr/>
              <p:nvPr/>
            </p:nvSpPr>
            <p:spPr>
              <a:xfrm>
                <a:off x="6852515" y="1403191"/>
                <a:ext cx="4666385" cy="116515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>
                  <a:cs typeface="+mn-ea"/>
                  <a:sym typeface="+mn-lt"/>
                </a:endParaRPr>
              </a:p>
            </p:txBody>
          </p:sp>
          <p:sp>
            <p:nvSpPr>
              <p:cNvPr id="27" name="任意多边形: 形状 26"/>
              <p:cNvSpPr/>
              <p:nvPr/>
            </p:nvSpPr>
            <p:spPr bwMode="auto">
              <a:xfrm flipH="1">
                <a:off x="6161197" y="1225550"/>
                <a:ext cx="691318" cy="1520437"/>
              </a:xfrm>
              <a:custGeom>
                <a:avLst/>
                <a:gdLst>
                  <a:gd name="T0" fmla="*/ 493 w 698"/>
                  <a:gd name="T1" fmla="*/ 204 h 1395"/>
                  <a:gd name="T2" fmla="*/ 0 w 698"/>
                  <a:gd name="T3" fmla="*/ 0 h 1395"/>
                  <a:gd name="T4" fmla="*/ 0 w 698"/>
                  <a:gd name="T5" fmla="*/ 86 h 1395"/>
                  <a:gd name="T6" fmla="*/ 432 w 698"/>
                  <a:gd name="T7" fmla="*/ 265 h 1395"/>
                  <a:gd name="T8" fmla="*/ 611 w 698"/>
                  <a:gd name="T9" fmla="*/ 697 h 1395"/>
                  <a:gd name="T10" fmla="*/ 432 w 698"/>
                  <a:gd name="T11" fmla="*/ 1130 h 1395"/>
                  <a:gd name="T12" fmla="*/ 0 w 698"/>
                  <a:gd name="T13" fmla="*/ 1309 h 1395"/>
                  <a:gd name="T14" fmla="*/ 0 w 698"/>
                  <a:gd name="T15" fmla="*/ 1395 h 1395"/>
                  <a:gd name="T16" fmla="*/ 493 w 698"/>
                  <a:gd name="T17" fmla="*/ 1191 h 1395"/>
                  <a:gd name="T18" fmla="*/ 698 w 698"/>
                  <a:gd name="T19" fmla="*/ 697 h 1395"/>
                  <a:gd name="T20" fmla="*/ 493 w 698"/>
                  <a:gd name="T21" fmla="*/ 204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8" h="1395">
                    <a:moveTo>
                      <a:pt x="493" y="204"/>
                    </a:moveTo>
                    <a:cubicBezTo>
                      <a:pt x="361" y="72"/>
                      <a:pt x="186" y="0"/>
                      <a:pt x="0" y="0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163" y="86"/>
                      <a:pt x="317" y="150"/>
                      <a:pt x="432" y="265"/>
                    </a:cubicBezTo>
                    <a:cubicBezTo>
                      <a:pt x="548" y="381"/>
                      <a:pt x="611" y="534"/>
                      <a:pt x="611" y="697"/>
                    </a:cubicBezTo>
                    <a:cubicBezTo>
                      <a:pt x="611" y="861"/>
                      <a:pt x="548" y="1014"/>
                      <a:pt x="432" y="1130"/>
                    </a:cubicBezTo>
                    <a:cubicBezTo>
                      <a:pt x="317" y="1245"/>
                      <a:pt x="163" y="1309"/>
                      <a:pt x="0" y="1309"/>
                    </a:cubicBezTo>
                    <a:cubicBezTo>
                      <a:pt x="0" y="1395"/>
                      <a:pt x="0" y="1395"/>
                      <a:pt x="0" y="1395"/>
                    </a:cubicBezTo>
                    <a:cubicBezTo>
                      <a:pt x="186" y="1395"/>
                      <a:pt x="361" y="1323"/>
                      <a:pt x="493" y="1191"/>
                    </a:cubicBezTo>
                    <a:cubicBezTo>
                      <a:pt x="625" y="1059"/>
                      <a:pt x="698" y="884"/>
                      <a:pt x="698" y="697"/>
                    </a:cubicBezTo>
                    <a:cubicBezTo>
                      <a:pt x="698" y="511"/>
                      <a:pt x="625" y="336"/>
                      <a:pt x="493" y="20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cs typeface="+mn-ea"/>
                  <a:sym typeface="+mn-lt"/>
                </a:endParaRPr>
              </a:p>
            </p:txBody>
          </p:sp>
          <p:sp>
            <p:nvSpPr>
              <p:cNvPr id="28" name="椭圆 27"/>
              <p:cNvSpPr/>
              <p:nvPr/>
            </p:nvSpPr>
            <p:spPr>
              <a:xfrm>
                <a:off x="6392742" y="1395475"/>
                <a:ext cx="1180587" cy="1180587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>
                  <a:cs typeface="+mn-ea"/>
                  <a:sym typeface="+mn-lt"/>
                </a:endParaRPr>
              </a:p>
            </p:txBody>
          </p:sp>
          <p:sp>
            <p:nvSpPr>
              <p:cNvPr id="29" name="椭圆 28"/>
              <p:cNvSpPr/>
              <p:nvPr/>
            </p:nvSpPr>
            <p:spPr>
              <a:xfrm>
                <a:off x="6579856" y="1582590"/>
                <a:ext cx="806357" cy="806357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>
                  <a:cs typeface="+mn-ea"/>
                  <a:sym typeface="+mn-lt"/>
                </a:endParaRPr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A2DF57C9-6F32-417C-AE51-7E5BC33292C9}"/>
                  </a:ext>
                </a:extLst>
              </p:cNvPr>
              <p:cNvSpPr/>
              <p:nvPr/>
            </p:nvSpPr>
            <p:spPr bwMode="auto">
              <a:xfrm>
                <a:off x="6753062" y="1799627"/>
                <a:ext cx="459942" cy="372282"/>
              </a:xfrm>
              <a:custGeom>
                <a:avLst/>
                <a:gdLst>
                  <a:gd name="connsiteX0" fmla="*/ 355420 w 607568"/>
                  <a:gd name="connsiteY0" fmla="*/ 250307 h 491771"/>
                  <a:gd name="connsiteX1" fmla="*/ 352312 w 607568"/>
                  <a:gd name="connsiteY1" fmla="*/ 251812 h 491771"/>
                  <a:gd name="connsiteX2" fmla="*/ 321042 w 607568"/>
                  <a:gd name="connsiteY2" fmla="*/ 289814 h 491771"/>
                  <a:gd name="connsiteX3" fmla="*/ 321513 w 607568"/>
                  <a:gd name="connsiteY3" fmla="*/ 295364 h 491771"/>
                  <a:gd name="connsiteX4" fmla="*/ 369736 w 607568"/>
                  <a:gd name="connsiteY4" fmla="*/ 338257 h 491771"/>
                  <a:gd name="connsiteX5" fmla="*/ 371997 w 607568"/>
                  <a:gd name="connsiteY5" fmla="*/ 339104 h 491771"/>
                  <a:gd name="connsiteX6" fmla="*/ 373127 w 607568"/>
                  <a:gd name="connsiteY6" fmla="*/ 338916 h 491771"/>
                  <a:gd name="connsiteX7" fmla="*/ 375293 w 607568"/>
                  <a:gd name="connsiteY7" fmla="*/ 336282 h 491771"/>
                  <a:gd name="connsiteX8" fmla="*/ 383676 w 607568"/>
                  <a:gd name="connsiteY8" fmla="*/ 279467 h 491771"/>
                  <a:gd name="connsiteX9" fmla="*/ 376424 w 607568"/>
                  <a:gd name="connsiteY9" fmla="*/ 263287 h 491771"/>
                  <a:gd name="connsiteX10" fmla="*/ 357681 w 607568"/>
                  <a:gd name="connsiteY10" fmla="*/ 250965 h 491771"/>
                  <a:gd name="connsiteX11" fmla="*/ 355420 w 607568"/>
                  <a:gd name="connsiteY11" fmla="*/ 250307 h 491771"/>
                  <a:gd name="connsiteX12" fmla="*/ 258879 w 607568"/>
                  <a:gd name="connsiteY12" fmla="*/ 250307 h 491771"/>
                  <a:gd name="connsiteX13" fmla="*/ 256712 w 607568"/>
                  <a:gd name="connsiteY13" fmla="*/ 250965 h 491771"/>
                  <a:gd name="connsiteX14" fmla="*/ 237969 w 607568"/>
                  <a:gd name="connsiteY14" fmla="*/ 263287 h 491771"/>
                  <a:gd name="connsiteX15" fmla="*/ 230717 w 607568"/>
                  <a:gd name="connsiteY15" fmla="*/ 279467 h 491771"/>
                  <a:gd name="connsiteX16" fmla="*/ 239100 w 607568"/>
                  <a:gd name="connsiteY16" fmla="*/ 336282 h 491771"/>
                  <a:gd name="connsiteX17" fmla="*/ 241266 w 607568"/>
                  <a:gd name="connsiteY17" fmla="*/ 338916 h 491771"/>
                  <a:gd name="connsiteX18" fmla="*/ 242396 w 607568"/>
                  <a:gd name="connsiteY18" fmla="*/ 339104 h 491771"/>
                  <a:gd name="connsiteX19" fmla="*/ 244657 w 607568"/>
                  <a:gd name="connsiteY19" fmla="*/ 338257 h 491771"/>
                  <a:gd name="connsiteX20" fmla="*/ 292880 w 607568"/>
                  <a:gd name="connsiteY20" fmla="*/ 295364 h 491771"/>
                  <a:gd name="connsiteX21" fmla="*/ 293351 w 607568"/>
                  <a:gd name="connsiteY21" fmla="*/ 289814 h 491771"/>
                  <a:gd name="connsiteX22" fmla="*/ 261987 w 607568"/>
                  <a:gd name="connsiteY22" fmla="*/ 251812 h 491771"/>
                  <a:gd name="connsiteX23" fmla="*/ 258879 w 607568"/>
                  <a:gd name="connsiteY23" fmla="*/ 250307 h 491771"/>
                  <a:gd name="connsiteX24" fmla="*/ 500465 w 607568"/>
                  <a:gd name="connsiteY24" fmla="*/ 66049 h 491771"/>
                  <a:gd name="connsiteX25" fmla="*/ 565743 w 607568"/>
                  <a:gd name="connsiteY25" fmla="*/ 130673 h 491771"/>
                  <a:gd name="connsiteX26" fmla="*/ 566120 w 607568"/>
                  <a:gd name="connsiteY26" fmla="*/ 130673 h 491771"/>
                  <a:gd name="connsiteX27" fmla="*/ 580250 w 607568"/>
                  <a:gd name="connsiteY27" fmla="*/ 160962 h 491771"/>
                  <a:gd name="connsiteX28" fmla="*/ 560939 w 607568"/>
                  <a:gd name="connsiteY28" fmla="*/ 182503 h 491771"/>
                  <a:gd name="connsiteX29" fmla="*/ 531927 w 607568"/>
                  <a:gd name="connsiteY29" fmla="*/ 223799 h 491771"/>
                  <a:gd name="connsiteX30" fmla="*/ 528253 w 607568"/>
                  <a:gd name="connsiteY30" fmla="*/ 234240 h 491771"/>
                  <a:gd name="connsiteX31" fmla="*/ 530797 w 607568"/>
                  <a:gd name="connsiteY31" fmla="*/ 246281 h 491771"/>
                  <a:gd name="connsiteX32" fmla="*/ 545868 w 607568"/>
                  <a:gd name="connsiteY32" fmla="*/ 261143 h 491771"/>
                  <a:gd name="connsiteX33" fmla="*/ 558961 w 607568"/>
                  <a:gd name="connsiteY33" fmla="*/ 263777 h 491771"/>
                  <a:gd name="connsiteX34" fmla="*/ 597299 w 607568"/>
                  <a:gd name="connsiteY34" fmla="*/ 301968 h 491771"/>
                  <a:gd name="connsiteX35" fmla="*/ 607002 w 607568"/>
                  <a:gd name="connsiteY35" fmla="*/ 350788 h 491771"/>
                  <a:gd name="connsiteX36" fmla="*/ 601256 w 607568"/>
                  <a:gd name="connsiteY36" fmla="*/ 373835 h 491771"/>
                  <a:gd name="connsiteX37" fmla="*/ 579685 w 607568"/>
                  <a:gd name="connsiteY37" fmla="*/ 384088 h 491771"/>
                  <a:gd name="connsiteX38" fmla="*/ 490386 w 607568"/>
                  <a:gd name="connsiteY38" fmla="*/ 384088 h 491771"/>
                  <a:gd name="connsiteX39" fmla="*/ 467685 w 607568"/>
                  <a:gd name="connsiteY39" fmla="*/ 310058 h 491771"/>
                  <a:gd name="connsiteX40" fmla="*/ 431702 w 607568"/>
                  <a:gd name="connsiteY40" fmla="*/ 267445 h 491771"/>
                  <a:gd name="connsiteX41" fmla="*/ 441969 w 607568"/>
                  <a:gd name="connsiteY41" fmla="*/ 263777 h 491771"/>
                  <a:gd name="connsiteX42" fmla="*/ 455157 w 607568"/>
                  <a:gd name="connsiteY42" fmla="*/ 261237 h 491771"/>
                  <a:gd name="connsiteX43" fmla="*/ 470228 w 607568"/>
                  <a:gd name="connsiteY43" fmla="*/ 246281 h 491771"/>
                  <a:gd name="connsiteX44" fmla="*/ 472677 w 607568"/>
                  <a:gd name="connsiteY44" fmla="*/ 234240 h 491771"/>
                  <a:gd name="connsiteX45" fmla="*/ 469098 w 607568"/>
                  <a:gd name="connsiteY45" fmla="*/ 223893 h 491771"/>
                  <a:gd name="connsiteX46" fmla="*/ 439991 w 607568"/>
                  <a:gd name="connsiteY46" fmla="*/ 182503 h 491771"/>
                  <a:gd name="connsiteX47" fmla="*/ 426144 w 607568"/>
                  <a:gd name="connsiteY47" fmla="*/ 172720 h 491771"/>
                  <a:gd name="connsiteX48" fmla="*/ 441404 w 607568"/>
                  <a:gd name="connsiteY48" fmla="*/ 143278 h 491771"/>
                  <a:gd name="connsiteX49" fmla="*/ 439708 w 607568"/>
                  <a:gd name="connsiteY49" fmla="*/ 107438 h 491771"/>
                  <a:gd name="connsiteX50" fmla="*/ 500465 w 607568"/>
                  <a:gd name="connsiteY50" fmla="*/ 66049 h 491771"/>
                  <a:gd name="connsiteX51" fmla="*/ 107100 w 607568"/>
                  <a:gd name="connsiteY51" fmla="*/ 66049 h 491771"/>
                  <a:gd name="connsiteX52" fmla="*/ 171341 w 607568"/>
                  <a:gd name="connsiteY52" fmla="*/ 123618 h 491771"/>
                  <a:gd name="connsiteX53" fmla="*/ 172849 w 607568"/>
                  <a:gd name="connsiteY53" fmla="*/ 143278 h 491771"/>
                  <a:gd name="connsiteX54" fmla="*/ 184246 w 607568"/>
                  <a:gd name="connsiteY54" fmla="*/ 168205 h 491771"/>
                  <a:gd name="connsiteX55" fmla="*/ 167574 w 607568"/>
                  <a:gd name="connsiteY55" fmla="*/ 182503 h 491771"/>
                  <a:gd name="connsiteX56" fmla="*/ 138468 w 607568"/>
                  <a:gd name="connsiteY56" fmla="*/ 223799 h 491771"/>
                  <a:gd name="connsiteX57" fmla="*/ 134794 w 607568"/>
                  <a:gd name="connsiteY57" fmla="*/ 234240 h 491771"/>
                  <a:gd name="connsiteX58" fmla="*/ 137337 w 607568"/>
                  <a:gd name="connsiteY58" fmla="*/ 246281 h 491771"/>
                  <a:gd name="connsiteX59" fmla="*/ 152408 w 607568"/>
                  <a:gd name="connsiteY59" fmla="*/ 261143 h 491771"/>
                  <a:gd name="connsiteX60" fmla="*/ 165596 w 607568"/>
                  <a:gd name="connsiteY60" fmla="*/ 263777 h 491771"/>
                  <a:gd name="connsiteX61" fmla="*/ 179442 w 607568"/>
                  <a:gd name="connsiteY61" fmla="*/ 268856 h 491771"/>
                  <a:gd name="connsiteX62" fmla="*/ 146662 w 607568"/>
                  <a:gd name="connsiteY62" fmla="*/ 310058 h 491771"/>
                  <a:gd name="connsiteX63" fmla="*/ 123867 w 607568"/>
                  <a:gd name="connsiteY63" fmla="*/ 384088 h 491771"/>
                  <a:gd name="connsiteX64" fmla="*/ 27883 w 607568"/>
                  <a:gd name="connsiteY64" fmla="*/ 384088 h 491771"/>
                  <a:gd name="connsiteX65" fmla="*/ 6312 w 607568"/>
                  <a:gd name="connsiteY65" fmla="*/ 373835 h 491771"/>
                  <a:gd name="connsiteX66" fmla="*/ 566 w 607568"/>
                  <a:gd name="connsiteY66" fmla="*/ 350788 h 491771"/>
                  <a:gd name="connsiteX67" fmla="*/ 10268 w 607568"/>
                  <a:gd name="connsiteY67" fmla="*/ 301968 h 491771"/>
                  <a:gd name="connsiteX68" fmla="*/ 48606 w 607568"/>
                  <a:gd name="connsiteY68" fmla="*/ 263777 h 491771"/>
                  <a:gd name="connsiteX69" fmla="*/ 61699 w 607568"/>
                  <a:gd name="connsiteY69" fmla="*/ 261237 h 491771"/>
                  <a:gd name="connsiteX70" fmla="*/ 76770 w 607568"/>
                  <a:gd name="connsiteY70" fmla="*/ 246281 h 491771"/>
                  <a:gd name="connsiteX71" fmla="*/ 79313 w 607568"/>
                  <a:gd name="connsiteY71" fmla="*/ 234240 h 491771"/>
                  <a:gd name="connsiteX72" fmla="*/ 75639 w 607568"/>
                  <a:gd name="connsiteY72" fmla="*/ 223893 h 491771"/>
                  <a:gd name="connsiteX73" fmla="*/ 46628 w 607568"/>
                  <a:gd name="connsiteY73" fmla="*/ 182503 h 491771"/>
                  <a:gd name="connsiteX74" fmla="*/ 27318 w 607568"/>
                  <a:gd name="connsiteY74" fmla="*/ 160962 h 491771"/>
                  <a:gd name="connsiteX75" fmla="*/ 41447 w 607568"/>
                  <a:gd name="connsiteY75" fmla="*/ 130673 h 491771"/>
                  <a:gd name="connsiteX76" fmla="*/ 41824 w 607568"/>
                  <a:gd name="connsiteY76" fmla="*/ 130673 h 491771"/>
                  <a:gd name="connsiteX77" fmla="*/ 107100 w 607568"/>
                  <a:gd name="connsiteY77" fmla="*/ 66049 h 491771"/>
                  <a:gd name="connsiteX78" fmla="*/ 298626 w 607568"/>
                  <a:gd name="connsiteY78" fmla="*/ 0 h 491771"/>
                  <a:gd name="connsiteX79" fmla="*/ 315956 w 607568"/>
                  <a:gd name="connsiteY79" fmla="*/ 0 h 491771"/>
                  <a:gd name="connsiteX80" fmla="*/ 401854 w 607568"/>
                  <a:gd name="connsiteY80" fmla="*/ 85787 h 491771"/>
                  <a:gd name="connsiteX81" fmla="*/ 401854 w 607568"/>
                  <a:gd name="connsiteY81" fmla="*/ 95476 h 491771"/>
                  <a:gd name="connsiteX82" fmla="*/ 421633 w 607568"/>
                  <a:gd name="connsiteY82" fmla="*/ 138840 h 491771"/>
                  <a:gd name="connsiteX83" fmla="*/ 417960 w 607568"/>
                  <a:gd name="connsiteY83" fmla="*/ 149281 h 491771"/>
                  <a:gd name="connsiteX84" fmla="*/ 417112 w 607568"/>
                  <a:gd name="connsiteY84" fmla="*/ 151068 h 491771"/>
                  <a:gd name="connsiteX85" fmla="*/ 411273 w 607568"/>
                  <a:gd name="connsiteY85" fmla="*/ 159534 h 491771"/>
                  <a:gd name="connsiteX86" fmla="*/ 410896 w 607568"/>
                  <a:gd name="connsiteY86" fmla="*/ 159910 h 491771"/>
                  <a:gd name="connsiteX87" fmla="*/ 394037 w 607568"/>
                  <a:gd name="connsiteY87" fmla="*/ 169787 h 491771"/>
                  <a:gd name="connsiteX88" fmla="*/ 384900 w 607568"/>
                  <a:gd name="connsiteY88" fmla="*/ 189541 h 491771"/>
                  <a:gd name="connsiteX89" fmla="*/ 384712 w 607568"/>
                  <a:gd name="connsiteY89" fmla="*/ 189823 h 491771"/>
                  <a:gd name="connsiteX90" fmla="*/ 373316 w 607568"/>
                  <a:gd name="connsiteY90" fmla="*/ 207131 h 491771"/>
                  <a:gd name="connsiteX91" fmla="*/ 372750 w 607568"/>
                  <a:gd name="connsiteY91" fmla="*/ 207789 h 491771"/>
                  <a:gd name="connsiteX92" fmla="*/ 359847 w 607568"/>
                  <a:gd name="connsiteY92" fmla="*/ 222275 h 491771"/>
                  <a:gd name="connsiteX93" fmla="*/ 359188 w 607568"/>
                  <a:gd name="connsiteY93" fmla="*/ 222934 h 491771"/>
                  <a:gd name="connsiteX94" fmla="*/ 345154 w 607568"/>
                  <a:gd name="connsiteY94" fmla="*/ 234598 h 491771"/>
                  <a:gd name="connsiteX95" fmla="*/ 345625 w 607568"/>
                  <a:gd name="connsiteY95" fmla="*/ 236855 h 491771"/>
                  <a:gd name="connsiteX96" fmla="*/ 348639 w 607568"/>
                  <a:gd name="connsiteY96" fmla="*/ 235538 h 491771"/>
                  <a:gd name="connsiteX97" fmla="*/ 355514 w 607568"/>
                  <a:gd name="connsiteY97" fmla="*/ 234033 h 491771"/>
                  <a:gd name="connsiteX98" fmla="*/ 366628 w 607568"/>
                  <a:gd name="connsiteY98" fmla="*/ 237326 h 491771"/>
                  <a:gd name="connsiteX99" fmla="*/ 385371 w 607568"/>
                  <a:gd name="connsiteY99" fmla="*/ 249648 h 491771"/>
                  <a:gd name="connsiteX100" fmla="*/ 399876 w 607568"/>
                  <a:gd name="connsiteY100" fmla="*/ 279373 h 491771"/>
                  <a:gd name="connsiteX101" fmla="*/ 430016 w 607568"/>
                  <a:gd name="connsiteY101" fmla="*/ 289814 h 491771"/>
                  <a:gd name="connsiteX102" fmla="*/ 448382 w 607568"/>
                  <a:gd name="connsiteY102" fmla="*/ 316058 h 491771"/>
                  <a:gd name="connsiteX103" fmla="*/ 481630 w 607568"/>
                  <a:gd name="connsiteY103" fmla="*/ 424515 h 491771"/>
                  <a:gd name="connsiteX104" fmla="*/ 483891 w 607568"/>
                  <a:gd name="connsiteY104" fmla="*/ 436461 h 491771"/>
                  <a:gd name="connsiteX105" fmla="*/ 473718 w 607568"/>
                  <a:gd name="connsiteY105" fmla="*/ 470700 h 491771"/>
                  <a:gd name="connsiteX106" fmla="*/ 443956 w 607568"/>
                  <a:gd name="connsiteY106" fmla="*/ 490360 h 491771"/>
                  <a:gd name="connsiteX107" fmla="*/ 431805 w 607568"/>
                  <a:gd name="connsiteY107" fmla="*/ 491771 h 491771"/>
                  <a:gd name="connsiteX108" fmla="*/ 325375 w 607568"/>
                  <a:gd name="connsiteY108" fmla="*/ 491771 h 491771"/>
                  <a:gd name="connsiteX109" fmla="*/ 337430 w 607568"/>
                  <a:gd name="connsiteY109" fmla="*/ 415296 h 491771"/>
                  <a:gd name="connsiteX110" fmla="*/ 334605 w 607568"/>
                  <a:gd name="connsiteY110" fmla="*/ 389052 h 491771"/>
                  <a:gd name="connsiteX111" fmla="*/ 323962 w 607568"/>
                  <a:gd name="connsiteY111" fmla="*/ 360927 h 491771"/>
                  <a:gd name="connsiteX112" fmla="*/ 337430 w 607568"/>
                  <a:gd name="connsiteY112" fmla="*/ 347476 h 491771"/>
                  <a:gd name="connsiteX113" fmla="*/ 307196 w 607568"/>
                  <a:gd name="connsiteY113" fmla="*/ 317281 h 491771"/>
                  <a:gd name="connsiteX114" fmla="*/ 276868 w 607568"/>
                  <a:gd name="connsiteY114" fmla="*/ 347476 h 491771"/>
                  <a:gd name="connsiteX115" fmla="*/ 290337 w 607568"/>
                  <a:gd name="connsiteY115" fmla="*/ 360927 h 491771"/>
                  <a:gd name="connsiteX116" fmla="*/ 279694 w 607568"/>
                  <a:gd name="connsiteY116" fmla="*/ 389052 h 491771"/>
                  <a:gd name="connsiteX117" fmla="*/ 276963 w 607568"/>
                  <a:gd name="connsiteY117" fmla="*/ 415296 h 491771"/>
                  <a:gd name="connsiteX118" fmla="*/ 288736 w 607568"/>
                  <a:gd name="connsiteY118" fmla="*/ 491771 h 491771"/>
                  <a:gd name="connsiteX119" fmla="*/ 182493 w 607568"/>
                  <a:gd name="connsiteY119" fmla="*/ 491771 h 491771"/>
                  <a:gd name="connsiteX120" fmla="*/ 170437 w 607568"/>
                  <a:gd name="connsiteY120" fmla="*/ 490360 h 491771"/>
                  <a:gd name="connsiteX121" fmla="*/ 140675 w 607568"/>
                  <a:gd name="connsiteY121" fmla="*/ 470700 h 491771"/>
                  <a:gd name="connsiteX122" fmla="*/ 132669 w 607568"/>
                  <a:gd name="connsiteY122" fmla="*/ 424515 h 491771"/>
                  <a:gd name="connsiteX123" fmla="*/ 166011 w 607568"/>
                  <a:gd name="connsiteY123" fmla="*/ 316058 h 491771"/>
                  <a:gd name="connsiteX124" fmla="*/ 184377 w 607568"/>
                  <a:gd name="connsiteY124" fmla="*/ 289814 h 491771"/>
                  <a:gd name="connsiteX125" fmla="*/ 214517 w 607568"/>
                  <a:gd name="connsiteY125" fmla="*/ 279373 h 491771"/>
                  <a:gd name="connsiteX126" fmla="*/ 214517 w 607568"/>
                  <a:gd name="connsiteY126" fmla="*/ 279279 h 491771"/>
                  <a:gd name="connsiteX127" fmla="*/ 229022 w 607568"/>
                  <a:gd name="connsiteY127" fmla="*/ 249648 h 491771"/>
                  <a:gd name="connsiteX128" fmla="*/ 247765 w 607568"/>
                  <a:gd name="connsiteY128" fmla="*/ 237326 h 491771"/>
                  <a:gd name="connsiteX129" fmla="*/ 258879 w 607568"/>
                  <a:gd name="connsiteY129" fmla="*/ 234033 h 491771"/>
                  <a:gd name="connsiteX130" fmla="*/ 265754 w 607568"/>
                  <a:gd name="connsiteY130" fmla="*/ 235538 h 491771"/>
                  <a:gd name="connsiteX131" fmla="*/ 268768 w 607568"/>
                  <a:gd name="connsiteY131" fmla="*/ 236855 h 491771"/>
                  <a:gd name="connsiteX132" fmla="*/ 269239 w 607568"/>
                  <a:gd name="connsiteY132" fmla="*/ 234598 h 491771"/>
                  <a:gd name="connsiteX133" fmla="*/ 255205 w 607568"/>
                  <a:gd name="connsiteY133" fmla="*/ 222934 h 491771"/>
                  <a:gd name="connsiteX134" fmla="*/ 254546 w 607568"/>
                  <a:gd name="connsiteY134" fmla="*/ 222275 h 491771"/>
                  <a:gd name="connsiteX135" fmla="*/ 241548 w 607568"/>
                  <a:gd name="connsiteY135" fmla="*/ 207789 h 491771"/>
                  <a:gd name="connsiteX136" fmla="*/ 241077 w 607568"/>
                  <a:gd name="connsiteY136" fmla="*/ 207225 h 491771"/>
                  <a:gd name="connsiteX137" fmla="*/ 229681 w 607568"/>
                  <a:gd name="connsiteY137" fmla="*/ 189823 h 491771"/>
                  <a:gd name="connsiteX138" fmla="*/ 229493 w 607568"/>
                  <a:gd name="connsiteY138" fmla="*/ 189635 h 491771"/>
                  <a:gd name="connsiteX139" fmla="*/ 220356 w 607568"/>
                  <a:gd name="connsiteY139" fmla="*/ 169787 h 491771"/>
                  <a:gd name="connsiteX140" fmla="*/ 203497 w 607568"/>
                  <a:gd name="connsiteY140" fmla="*/ 159910 h 491771"/>
                  <a:gd name="connsiteX141" fmla="*/ 203120 w 607568"/>
                  <a:gd name="connsiteY141" fmla="*/ 159534 h 491771"/>
                  <a:gd name="connsiteX142" fmla="*/ 197281 w 607568"/>
                  <a:gd name="connsiteY142" fmla="*/ 151068 h 491771"/>
                  <a:gd name="connsiteX143" fmla="*/ 196433 w 607568"/>
                  <a:gd name="connsiteY143" fmla="*/ 149281 h 491771"/>
                  <a:gd name="connsiteX144" fmla="*/ 192666 w 607568"/>
                  <a:gd name="connsiteY144" fmla="*/ 138840 h 491771"/>
                  <a:gd name="connsiteX145" fmla="*/ 212727 w 607568"/>
                  <a:gd name="connsiteY145" fmla="*/ 95476 h 491771"/>
                  <a:gd name="connsiteX146" fmla="*/ 212727 w 607568"/>
                  <a:gd name="connsiteY146" fmla="*/ 85787 h 491771"/>
                  <a:gd name="connsiteX147" fmla="*/ 298626 w 607568"/>
                  <a:gd name="connsiteY147" fmla="*/ 0 h 491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</a:cxnLst>
                <a:rect l="l" t="t" r="r" b="b"/>
                <a:pathLst>
                  <a:path w="607568" h="491771">
                    <a:moveTo>
                      <a:pt x="355420" y="250307"/>
                    </a:moveTo>
                    <a:cubicBezTo>
                      <a:pt x="354290" y="250307"/>
                      <a:pt x="353160" y="250871"/>
                      <a:pt x="352312" y="251812"/>
                    </a:cubicBezTo>
                    <a:lnTo>
                      <a:pt x="321042" y="289814"/>
                    </a:lnTo>
                    <a:cubicBezTo>
                      <a:pt x="319723" y="291507"/>
                      <a:pt x="319912" y="293953"/>
                      <a:pt x="321513" y="295364"/>
                    </a:cubicBezTo>
                    <a:lnTo>
                      <a:pt x="369736" y="338257"/>
                    </a:lnTo>
                    <a:cubicBezTo>
                      <a:pt x="370396" y="338822"/>
                      <a:pt x="371149" y="339104"/>
                      <a:pt x="371997" y="339104"/>
                    </a:cubicBezTo>
                    <a:cubicBezTo>
                      <a:pt x="372374" y="339104"/>
                      <a:pt x="372750" y="339010"/>
                      <a:pt x="373127" y="338916"/>
                    </a:cubicBezTo>
                    <a:cubicBezTo>
                      <a:pt x="374257" y="338539"/>
                      <a:pt x="375105" y="337505"/>
                      <a:pt x="375293" y="336282"/>
                    </a:cubicBezTo>
                    <a:lnTo>
                      <a:pt x="383676" y="279467"/>
                    </a:lnTo>
                    <a:cubicBezTo>
                      <a:pt x="384618" y="273164"/>
                      <a:pt x="381792" y="266768"/>
                      <a:pt x="376424" y="263287"/>
                    </a:cubicBezTo>
                    <a:lnTo>
                      <a:pt x="357681" y="250965"/>
                    </a:lnTo>
                    <a:cubicBezTo>
                      <a:pt x="357021" y="250495"/>
                      <a:pt x="356174" y="250307"/>
                      <a:pt x="355420" y="250307"/>
                    </a:cubicBezTo>
                    <a:close/>
                    <a:moveTo>
                      <a:pt x="258879" y="250307"/>
                    </a:moveTo>
                    <a:cubicBezTo>
                      <a:pt x="258125" y="250307"/>
                      <a:pt x="257372" y="250495"/>
                      <a:pt x="256712" y="250965"/>
                    </a:cubicBezTo>
                    <a:lnTo>
                      <a:pt x="237969" y="263287"/>
                    </a:lnTo>
                    <a:cubicBezTo>
                      <a:pt x="232601" y="266768"/>
                      <a:pt x="229775" y="273164"/>
                      <a:pt x="230717" y="279467"/>
                    </a:cubicBezTo>
                    <a:lnTo>
                      <a:pt x="239100" y="336282"/>
                    </a:lnTo>
                    <a:cubicBezTo>
                      <a:pt x="239288" y="337505"/>
                      <a:pt x="240136" y="338539"/>
                      <a:pt x="241266" y="338916"/>
                    </a:cubicBezTo>
                    <a:cubicBezTo>
                      <a:pt x="241643" y="339010"/>
                      <a:pt x="242019" y="339104"/>
                      <a:pt x="242396" y="339104"/>
                    </a:cubicBezTo>
                    <a:cubicBezTo>
                      <a:pt x="243244" y="339104"/>
                      <a:pt x="243997" y="338822"/>
                      <a:pt x="244657" y="338257"/>
                    </a:cubicBezTo>
                    <a:lnTo>
                      <a:pt x="292880" y="295364"/>
                    </a:lnTo>
                    <a:cubicBezTo>
                      <a:pt x="294481" y="293953"/>
                      <a:pt x="294670" y="291507"/>
                      <a:pt x="293351" y="289814"/>
                    </a:cubicBezTo>
                    <a:lnTo>
                      <a:pt x="261987" y="251812"/>
                    </a:lnTo>
                    <a:cubicBezTo>
                      <a:pt x="261233" y="250871"/>
                      <a:pt x="260103" y="250307"/>
                      <a:pt x="258879" y="250307"/>
                    </a:cubicBezTo>
                    <a:close/>
                    <a:moveTo>
                      <a:pt x="500465" y="66049"/>
                    </a:moveTo>
                    <a:cubicBezTo>
                      <a:pt x="548129" y="66049"/>
                      <a:pt x="562447" y="93516"/>
                      <a:pt x="565743" y="130673"/>
                    </a:cubicBezTo>
                    <a:cubicBezTo>
                      <a:pt x="565932" y="130673"/>
                      <a:pt x="566026" y="130673"/>
                      <a:pt x="566120" y="130673"/>
                    </a:cubicBezTo>
                    <a:cubicBezTo>
                      <a:pt x="577141" y="133118"/>
                      <a:pt x="583358" y="146664"/>
                      <a:pt x="580250" y="160962"/>
                    </a:cubicBezTo>
                    <a:cubicBezTo>
                      <a:pt x="577706" y="172532"/>
                      <a:pt x="569700" y="180904"/>
                      <a:pt x="560939" y="182503"/>
                    </a:cubicBezTo>
                    <a:cubicBezTo>
                      <a:pt x="554628" y="199529"/>
                      <a:pt x="543796" y="214016"/>
                      <a:pt x="531927" y="223799"/>
                    </a:cubicBezTo>
                    <a:cubicBezTo>
                      <a:pt x="528913" y="226338"/>
                      <a:pt x="527500" y="230383"/>
                      <a:pt x="528253" y="234240"/>
                    </a:cubicBezTo>
                    <a:lnTo>
                      <a:pt x="530797" y="246281"/>
                    </a:lnTo>
                    <a:cubicBezTo>
                      <a:pt x="532304" y="253806"/>
                      <a:pt x="538238" y="259732"/>
                      <a:pt x="545868" y="261143"/>
                    </a:cubicBezTo>
                    <a:lnTo>
                      <a:pt x="558961" y="263777"/>
                    </a:lnTo>
                    <a:cubicBezTo>
                      <a:pt x="578366" y="267634"/>
                      <a:pt x="593437" y="282684"/>
                      <a:pt x="597299" y="301968"/>
                    </a:cubicBezTo>
                    <a:lnTo>
                      <a:pt x="607002" y="350788"/>
                    </a:lnTo>
                    <a:cubicBezTo>
                      <a:pt x="608697" y="358972"/>
                      <a:pt x="606531" y="367438"/>
                      <a:pt x="601256" y="373835"/>
                    </a:cubicBezTo>
                    <a:cubicBezTo>
                      <a:pt x="595981" y="380325"/>
                      <a:pt x="588068" y="384088"/>
                      <a:pt x="579685" y="384088"/>
                    </a:cubicBezTo>
                    <a:lnTo>
                      <a:pt x="490386" y="384088"/>
                    </a:lnTo>
                    <a:lnTo>
                      <a:pt x="467685" y="310058"/>
                    </a:lnTo>
                    <a:cubicBezTo>
                      <a:pt x="461845" y="291150"/>
                      <a:pt x="448563" y="276194"/>
                      <a:pt x="431702" y="267445"/>
                    </a:cubicBezTo>
                    <a:cubicBezTo>
                      <a:pt x="434999" y="265940"/>
                      <a:pt x="438295" y="264529"/>
                      <a:pt x="441969" y="263777"/>
                    </a:cubicBezTo>
                    <a:lnTo>
                      <a:pt x="455157" y="261237"/>
                    </a:lnTo>
                    <a:cubicBezTo>
                      <a:pt x="462692" y="259732"/>
                      <a:pt x="468627" y="253806"/>
                      <a:pt x="470228" y="246281"/>
                    </a:cubicBezTo>
                    <a:lnTo>
                      <a:pt x="472677" y="234240"/>
                    </a:lnTo>
                    <a:cubicBezTo>
                      <a:pt x="473525" y="230383"/>
                      <a:pt x="472112" y="226338"/>
                      <a:pt x="469098" y="223893"/>
                    </a:cubicBezTo>
                    <a:cubicBezTo>
                      <a:pt x="457229" y="214016"/>
                      <a:pt x="446302" y="199529"/>
                      <a:pt x="439991" y="182503"/>
                    </a:cubicBezTo>
                    <a:cubicBezTo>
                      <a:pt x="434716" y="181563"/>
                      <a:pt x="429818" y="177894"/>
                      <a:pt x="426144" y="172720"/>
                    </a:cubicBezTo>
                    <a:cubicBezTo>
                      <a:pt x="433303" y="164725"/>
                      <a:pt x="438861" y="154754"/>
                      <a:pt x="441404" y="143278"/>
                    </a:cubicBezTo>
                    <a:cubicBezTo>
                      <a:pt x="444324" y="130485"/>
                      <a:pt x="443476" y="118068"/>
                      <a:pt x="439708" y="107438"/>
                    </a:cubicBezTo>
                    <a:cubicBezTo>
                      <a:pt x="447244" y="82699"/>
                      <a:pt x="464200" y="66049"/>
                      <a:pt x="500465" y="66049"/>
                    </a:cubicBezTo>
                    <a:close/>
                    <a:moveTo>
                      <a:pt x="107100" y="66049"/>
                    </a:moveTo>
                    <a:cubicBezTo>
                      <a:pt x="151561" y="66049"/>
                      <a:pt x="166820" y="90130"/>
                      <a:pt x="171341" y="123618"/>
                    </a:cubicBezTo>
                    <a:cubicBezTo>
                      <a:pt x="170965" y="129920"/>
                      <a:pt x="171436" y="136505"/>
                      <a:pt x="172849" y="143278"/>
                    </a:cubicBezTo>
                    <a:cubicBezTo>
                      <a:pt x="174921" y="152590"/>
                      <a:pt x="178971" y="161056"/>
                      <a:pt x="184246" y="168205"/>
                    </a:cubicBezTo>
                    <a:cubicBezTo>
                      <a:pt x="180573" y="175919"/>
                      <a:pt x="174356" y="181281"/>
                      <a:pt x="167574" y="182503"/>
                    </a:cubicBezTo>
                    <a:cubicBezTo>
                      <a:pt x="161263" y="199529"/>
                      <a:pt x="150336" y="214016"/>
                      <a:pt x="138468" y="223799"/>
                    </a:cubicBezTo>
                    <a:cubicBezTo>
                      <a:pt x="135453" y="226338"/>
                      <a:pt x="134040" y="230383"/>
                      <a:pt x="134794" y="234240"/>
                    </a:cubicBezTo>
                    <a:lnTo>
                      <a:pt x="137337" y="246281"/>
                    </a:lnTo>
                    <a:cubicBezTo>
                      <a:pt x="138939" y="253806"/>
                      <a:pt x="144873" y="259732"/>
                      <a:pt x="152408" y="261143"/>
                    </a:cubicBezTo>
                    <a:lnTo>
                      <a:pt x="165596" y="263777"/>
                    </a:lnTo>
                    <a:cubicBezTo>
                      <a:pt x="170494" y="264812"/>
                      <a:pt x="175203" y="266505"/>
                      <a:pt x="179442" y="268856"/>
                    </a:cubicBezTo>
                    <a:cubicBezTo>
                      <a:pt x="164088" y="277793"/>
                      <a:pt x="152126" y="292279"/>
                      <a:pt x="146662" y="310058"/>
                    </a:cubicBezTo>
                    <a:lnTo>
                      <a:pt x="123867" y="384088"/>
                    </a:lnTo>
                    <a:lnTo>
                      <a:pt x="27883" y="384088"/>
                    </a:lnTo>
                    <a:cubicBezTo>
                      <a:pt x="19499" y="384088"/>
                      <a:pt x="11587" y="380325"/>
                      <a:pt x="6312" y="373835"/>
                    </a:cubicBezTo>
                    <a:cubicBezTo>
                      <a:pt x="1037" y="367438"/>
                      <a:pt x="-1129" y="358972"/>
                      <a:pt x="566" y="350788"/>
                    </a:cubicBezTo>
                    <a:lnTo>
                      <a:pt x="10268" y="301968"/>
                    </a:lnTo>
                    <a:cubicBezTo>
                      <a:pt x="14130" y="282684"/>
                      <a:pt x="29202" y="267634"/>
                      <a:pt x="48606" y="263777"/>
                    </a:cubicBezTo>
                    <a:lnTo>
                      <a:pt x="61699" y="261237"/>
                    </a:lnTo>
                    <a:cubicBezTo>
                      <a:pt x="69328" y="259732"/>
                      <a:pt x="75263" y="253806"/>
                      <a:pt x="76770" y="246281"/>
                    </a:cubicBezTo>
                    <a:lnTo>
                      <a:pt x="79313" y="234240"/>
                    </a:lnTo>
                    <a:cubicBezTo>
                      <a:pt x="80067" y="230383"/>
                      <a:pt x="78654" y="226338"/>
                      <a:pt x="75639" y="223893"/>
                    </a:cubicBezTo>
                    <a:cubicBezTo>
                      <a:pt x="63771" y="214016"/>
                      <a:pt x="52939" y="199623"/>
                      <a:pt x="46628" y="182503"/>
                    </a:cubicBezTo>
                    <a:cubicBezTo>
                      <a:pt x="37867" y="180904"/>
                      <a:pt x="29861" y="172532"/>
                      <a:pt x="27318" y="160962"/>
                    </a:cubicBezTo>
                    <a:cubicBezTo>
                      <a:pt x="24115" y="146664"/>
                      <a:pt x="30426" y="133118"/>
                      <a:pt x="41447" y="130673"/>
                    </a:cubicBezTo>
                    <a:cubicBezTo>
                      <a:pt x="41541" y="130673"/>
                      <a:pt x="41729" y="130673"/>
                      <a:pt x="41824" y="130673"/>
                    </a:cubicBezTo>
                    <a:cubicBezTo>
                      <a:pt x="45403" y="93516"/>
                      <a:pt x="60192" y="66049"/>
                      <a:pt x="107100" y="66049"/>
                    </a:cubicBezTo>
                    <a:close/>
                    <a:moveTo>
                      <a:pt x="298626" y="0"/>
                    </a:moveTo>
                    <a:lnTo>
                      <a:pt x="315956" y="0"/>
                    </a:lnTo>
                    <a:cubicBezTo>
                      <a:pt x="363426" y="0"/>
                      <a:pt x="401854" y="38378"/>
                      <a:pt x="401854" y="85787"/>
                    </a:cubicBezTo>
                    <a:lnTo>
                      <a:pt x="401854" y="95476"/>
                    </a:lnTo>
                    <a:cubicBezTo>
                      <a:pt x="417301" y="99238"/>
                      <a:pt x="426154" y="118522"/>
                      <a:pt x="421633" y="138840"/>
                    </a:cubicBezTo>
                    <a:cubicBezTo>
                      <a:pt x="420880" y="142602"/>
                      <a:pt x="419467" y="146083"/>
                      <a:pt x="417960" y="149281"/>
                    </a:cubicBezTo>
                    <a:cubicBezTo>
                      <a:pt x="417677" y="149939"/>
                      <a:pt x="417395" y="150504"/>
                      <a:pt x="417112" y="151068"/>
                    </a:cubicBezTo>
                    <a:cubicBezTo>
                      <a:pt x="415417" y="154172"/>
                      <a:pt x="413533" y="157088"/>
                      <a:pt x="411273" y="159534"/>
                    </a:cubicBezTo>
                    <a:cubicBezTo>
                      <a:pt x="411179" y="159628"/>
                      <a:pt x="410990" y="159816"/>
                      <a:pt x="410896" y="159910"/>
                    </a:cubicBezTo>
                    <a:cubicBezTo>
                      <a:pt x="406092" y="165084"/>
                      <a:pt x="400159" y="168658"/>
                      <a:pt x="394037" y="169787"/>
                    </a:cubicBezTo>
                    <a:cubicBezTo>
                      <a:pt x="391494" y="176654"/>
                      <a:pt x="388385" y="183332"/>
                      <a:pt x="384900" y="189541"/>
                    </a:cubicBezTo>
                    <a:cubicBezTo>
                      <a:pt x="384806" y="189635"/>
                      <a:pt x="384806" y="189729"/>
                      <a:pt x="384712" y="189823"/>
                    </a:cubicBezTo>
                    <a:cubicBezTo>
                      <a:pt x="381227" y="196031"/>
                      <a:pt x="377460" y="201769"/>
                      <a:pt x="373316" y="207131"/>
                    </a:cubicBezTo>
                    <a:cubicBezTo>
                      <a:pt x="373127" y="207413"/>
                      <a:pt x="372939" y="207601"/>
                      <a:pt x="372750" y="207789"/>
                    </a:cubicBezTo>
                    <a:cubicBezTo>
                      <a:pt x="368700" y="213057"/>
                      <a:pt x="364368" y="217948"/>
                      <a:pt x="359847" y="222275"/>
                    </a:cubicBezTo>
                    <a:cubicBezTo>
                      <a:pt x="359658" y="222463"/>
                      <a:pt x="359376" y="222651"/>
                      <a:pt x="359188" y="222934"/>
                    </a:cubicBezTo>
                    <a:cubicBezTo>
                      <a:pt x="354667" y="227261"/>
                      <a:pt x="349957" y="231211"/>
                      <a:pt x="345154" y="234598"/>
                    </a:cubicBezTo>
                    <a:lnTo>
                      <a:pt x="345625" y="236855"/>
                    </a:lnTo>
                    <a:cubicBezTo>
                      <a:pt x="346567" y="236385"/>
                      <a:pt x="347603" y="235915"/>
                      <a:pt x="348639" y="235538"/>
                    </a:cubicBezTo>
                    <a:cubicBezTo>
                      <a:pt x="350899" y="234786"/>
                      <a:pt x="353065" y="234033"/>
                      <a:pt x="355514" y="234033"/>
                    </a:cubicBezTo>
                    <a:cubicBezTo>
                      <a:pt x="359470" y="234033"/>
                      <a:pt x="363238" y="235162"/>
                      <a:pt x="366628" y="237326"/>
                    </a:cubicBezTo>
                    <a:cubicBezTo>
                      <a:pt x="366628" y="237326"/>
                      <a:pt x="380756" y="246450"/>
                      <a:pt x="385371" y="249648"/>
                    </a:cubicBezTo>
                    <a:cubicBezTo>
                      <a:pt x="401854" y="261030"/>
                      <a:pt x="399876" y="279373"/>
                      <a:pt x="399876" y="279373"/>
                    </a:cubicBezTo>
                    <a:cubicBezTo>
                      <a:pt x="410990" y="279655"/>
                      <a:pt x="421822" y="283041"/>
                      <a:pt x="430016" y="289814"/>
                    </a:cubicBezTo>
                    <a:cubicBezTo>
                      <a:pt x="445180" y="302324"/>
                      <a:pt x="447535" y="313330"/>
                      <a:pt x="448382" y="316058"/>
                    </a:cubicBezTo>
                    <a:lnTo>
                      <a:pt x="481630" y="424515"/>
                    </a:lnTo>
                    <a:cubicBezTo>
                      <a:pt x="482855" y="428371"/>
                      <a:pt x="483608" y="432416"/>
                      <a:pt x="483891" y="436461"/>
                    </a:cubicBezTo>
                    <a:cubicBezTo>
                      <a:pt x="484644" y="448595"/>
                      <a:pt x="481159" y="460730"/>
                      <a:pt x="473718" y="470700"/>
                    </a:cubicBezTo>
                    <a:cubicBezTo>
                      <a:pt x="466372" y="480671"/>
                      <a:pt x="455823" y="487538"/>
                      <a:pt x="443956" y="490360"/>
                    </a:cubicBezTo>
                    <a:cubicBezTo>
                      <a:pt x="440000" y="491301"/>
                      <a:pt x="435950" y="491771"/>
                      <a:pt x="431805" y="491771"/>
                    </a:cubicBezTo>
                    <a:lnTo>
                      <a:pt x="325375" y="491771"/>
                    </a:lnTo>
                    <a:lnTo>
                      <a:pt x="337430" y="415296"/>
                    </a:lnTo>
                    <a:cubicBezTo>
                      <a:pt x="338749" y="406454"/>
                      <a:pt x="337807" y="397424"/>
                      <a:pt x="334605" y="389052"/>
                    </a:cubicBezTo>
                    <a:lnTo>
                      <a:pt x="323962" y="360927"/>
                    </a:lnTo>
                    <a:lnTo>
                      <a:pt x="337430" y="347476"/>
                    </a:lnTo>
                    <a:lnTo>
                      <a:pt x="307196" y="317281"/>
                    </a:lnTo>
                    <a:lnTo>
                      <a:pt x="276868" y="347476"/>
                    </a:lnTo>
                    <a:lnTo>
                      <a:pt x="290337" y="360927"/>
                    </a:lnTo>
                    <a:lnTo>
                      <a:pt x="279694" y="389052"/>
                    </a:lnTo>
                    <a:cubicBezTo>
                      <a:pt x="276586" y="397424"/>
                      <a:pt x="275644" y="406454"/>
                      <a:pt x="276963" y="415296"/>
                    </a:cubicBezTo>
                    <a:lnTo>
                      <a:pt x="288736" y="491771"/>
                    </a:lnTo>
                    <a:lnTo>
                      <a:pt x="182493" y="491771"/>
                    </a:lnTo>
                    <a:cubicBezTo>
                      <a:pt x="178443" y="491771"/>
                      <a:pt x="174299" y="491301"/>
                      <a:pt x="170437" y="490360"/>
                    </a:cubicBezTo>
                    <a:cubicBezTo>
                      <a:pt x="158570" y="487538"/>
                      <a:pt x="148021" y="480671"/>
                      <a:pt x="140675" y="470700"/>
                    </a:cubicBezTo>
                    <a:cubicBezTo>
                      <a:pt x="130785" y="457343"/>
                      <a:pt x="127865" y="440223"/>
                      <a:pt x="132669" y="424515"/>
                    </a:cubicBezTo>
                    <a:lnTo>
                      <a:pt x="166011" y="316058"/>
                    </a:lnTo>
                    <a:cubicBezTo>
                      <a:pt x="166858" y="313330"/>
                      <a:pt x="170908" y="300631"/>
                      <a:pt x="184377" y="289814"/>
                    </a:cubicBezTo>
                    <a:cubicBezTo>
                      <a:pt x="192666" y="283229"/>
                      <a:pt x="203403" y="279655"/>
                      <a:pt x="214517" y="279373"/>
                    </a:cubicBezTo>
                    <a:lnTo>
                      <a:pt x="214517" y="279279"/>
                    </a:lnTo>
                    <a:cubicBezTo>
                      <a:pt x="214140" y="273447"/>
                      <a:pt x="211880" y="260654"/>
                      <a:pt x="229022" y="249648"/>
                    </a:cubicBezTo>
                    <a:cubicBezTo>
                      <a:pt x="233731" y="246638"/>
                      <a:pt x="247765" y="237326"/>
                      <a:pt x="247765" y="237326"/>
                    </a:cubicBezTo>
                    <a:cubicBezTo>
                      <a:pt x="251061" y="235162"/>
                      <a:pt x="254923" y="234033"/>
                      <a:pt x="258879" y="234033"/>
                    </a:cubicBezTo>
                    <a:cubicBezTo>
                      <a:pt x="261328" y="234033"/>
                      <a:pt x="263494" y="234786"/>
                      <a:pt x="265754" y="235538"/>
                    </a:cubicBezTo>
                    <a:cubicBezTo>
                      <a:pt x="266790" y="236009"/>
                      <a:pt x="267826" y="236385"/>
                      <a:pt x="268768" y="236855"/>
                    </a:cubicBezTo>
                    <a:lnTo>
                      <a:pt x="269239" y="234598"/>
                    </a:lnTo>
                    <a:cubicBezTo>
                      <a:pt x="264436" y="231211"/>
                      <a:pt x="259726" y="227261"/>
                      <a:pt x="255205" y="222934"/>
                    </a:cubicBezTo>
                    <a:cubicBezTo>
                      <a:pt x="254923" y="222651"/>
                      <a:pt x="254735" y="222463"/>
                      <a:pt x="254546" y="222275"/>
                    </a:cubicBezTo>
                    <a:cubicBezTo>
                      <a:pt x="250025" y="217948"/>
                      <a:pt x="245693" y="213057"/>
                      <a:pt x="241548" y="207789"/>
                    </a:cubicBezTo>
                    <a:cubicBezTo>
                      <a:pt x="241454" y="207601"/>
                      <a:pt x="241266" y="207413"/>
                      <a:pt x="241077" y="207225"/>
                    </a:cubicBezTo>
                    <a:cubicBezTo>
                      <a:pt x="236933" y="201769"/>
                      <a:pt x="233072" y="196031"/>
                      <a:pt x="229681" y="189823"/>
                    </a:cubicBezTo>
                    <a:cubicBezTo>
                      <a:pt x="229587" y="189729"/>
                      <a:pt x="229587" y="189635"/>
                      <a:pt x="229493" y="189635"/>
                    </a:cubicBezTo>
                    <a:cubicBezTo>
                      <a:pt x="226008" y="183332"/>
                      <a:pt x="222899" y="176654"/>
                      <a:pt x="220356" y="169787"/>
                    </a:cubicBezTo>
                    <a:cubicBezTo>
                      <a:pt x="214140" y="168658"/>
                      <a:pt x="208301" y="165084"/>
                      <a:pt x="203497" y="159910"/>
                    </a:cubicBezTo>
                    <a:cubicBezTo>
                      <a:pt x="203309" y="159722"/>
                      <a:pt x="203214" y="159628"/>
                      <a:pt x="203120" y="159534"/>
                    </a:cubicBezTo>
                    <a:cubicBezTo>
                      <a:pt x="200860" y="157088"/>
                      <a:pt x="198976" y="154172"/>
                      <a:pt x="197281" y="151068"/>
                    </a:cubicBezTo>
                    <a:cubicBezTo>
                      <a:pt x="196998" y="150504"/>
                      <a:pt x="196716" y="149939"/>
                      <a:pt x="196433" y="149281"/>
                    </a:cubicBezTo>
                    <a:cubicBezTo>
                      <a:pt x="194832" y="146083"/>
                      <a:pt x="193513" y="142602"/>
                      <a:pt x="192666" y="138840"/>
                    </a:cubicBezTo>
                    <a:cubicBezTo>
                      <a:pt x="188145" y="118428"/>
                      <a:pt x="197092" y="99050"/>
                      <a:pt x="212727" y="95476"/>
                    </a:cubicBezTo>
                    <a:lnTo>
                      <a:pt x="212727" y="85787"/>
                    </a:lnTo>
                    <a:cubicBezTo>
                      <a:pt x="212727" y="38378"/>
                      <a:pt x="251155" y="0"/>
                      <a:pt x="29862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>
                  <a:cs typeface="+mn-ea"/>
                  <a:sym typeface="+mn-lt"/>
                </a:endParaRPr>
              </a:p>
            </p:txBody>
          </p:sp>
          <p:grpSp>
            <p:nvGrpSpPr>
              <p:cNvPr id="31" name="组合 30"/>
              <p:cNvGrpSpPr/>
              <p:nvPr/>
            </p:nvGrpSpPr>
            <p:grpSpPr>
              <a:xfrm>
                <a:off x="7559420" y="1457595"/>
                <a:ext cx="3959480" cy="1056347"/>
                <a:chOff x="7137145" y="1586574"/>
                <a:chExt cx="4381755" cy="1056347"/>
              </a:xfrm>
            </p:grpSpPr>
            <p:sp>
              <p:nvSpPr>
                <p:cNvPr id="32" name="矩形 31">
                  <a:extLst>
                    <a:ext uri="{FF2B5EF4-FFF2-40B4-BE49-F238E27FC236}">
                      <a16:creationId xmlns:a16="http://schemas.microsoft.com/office/drawing/2014/main" id="{A70B6A9C-E454-42A3-99EF-A99D0DADEFDC}"/>
                    </a:ext>
                  </a:extLst>
                </p:cNvPr>
                <p:cNvSpPr/>
                <p:nvPr/>
              </p:nvSpPr>
              <p:spPr bwMode="auto">
                <a:xfrm>
                  <a:off x="7137145" y="1999455"/>
                  <a:ext cx="4381755" cy="64346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>
                      <a:cs typeface="+mn-ea"/>
                      <a:sym typeface="+mn-lt"/>
                    </a:rPr>
                    <a:t>Supp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100">
                      <a:cs typeface="+mn-ea"/>
                      <a:sym typeface="+mn-lt"/>
                    </a:rPr>
                    <a:t>orting </a:t>
                  </a:r>
                  <a:r>
                    <a:rPr lang="en-US" altLang="zh-CN" sz="1100" dirty="0">
                      <a:cs typeface="+mn-ea"/>
                      <a:sym typeface="+mn-lt"/>
                    </a:rPr>
                    <a:t>text here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When you copy &amp; paste, choose "keep text only" option.</a:t>
                  </a:r>
                </a:p>
              </p:txBody>
            </p:sp>
            <p:sp>
              <p:nvSpPr>
                <p:cNvPr id="33" name="文本框 32">
                  <a:extLst>
                    <a:ext uri="{FF2B5EF4-FFF2-40B4-BE49-F238E27FC236}">
                      <a16:creationId xmlns:a16="http://schemas.microsoft.com/office/drawing/2014/main" id="{F261DDCC-7A12-4753-A96D-A66BF6D90F72}"/>
                    </a:ext>
                  </a:extLst>
                </p:cNvPr>
                <p:cNvSpPr txBox="1"/>
                <p:nvPr/>
              </p:nvSpPr>
              <p:spPr bwMode="auto">
                <a:xfrm>
                  <a:off x="7137145" y="1586574"/>
                  <a:ext cx="4381755" cy="41288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b="1">
                      <a:cs typeface="+mn-ea"/>
                      <a:sym typeface="+mn-lt"/>
                    </a:rPr>
                    <a:t>T</a:t>
                  </a:r>
                  <a:r>
                    <a:rPr lang="en-US" altLang="zh-CN" sz="100" b="1">
                      <a:cs typeface="+mn-ea"/>
                      <a:sym typeface="+mn-lt"/>
                    </a:rPr>
                    <a:t> </a:t>
                  </a:r>
                  <a:r>
                    <a:rPr lang="en-US" altLang="zh-CN" b="1">
                      <a:cs typeface="+mn-ea"/>
                      <a:sym typeface="+mn-lt"/>
                    </a:rPr>
                    <a:t>ext </a:t>
                  </a:r>
                  <a:r>
                    <a:rPr lang="en-US" altLang="zh-CN" b="1" dirty="0">
                      <a:cs typeface="+mn-ea"/>
                      <a:sym typeface="+mn-lt"/>
                    </a:rPr>
                    <a:t>here</a:t>
                  </a:r>
                </a:p>
              </p:txBody>
            </p:sp>
          </p:grpSp>
        </p:grpSp>
        <p:grpSp>
          <p:nvGrpSpPr>
            <p:cNvPr id="8" name="组合 7"/>
            <p:cNvGrpSpPr/>
            <p:nvPr/>
          </p:nvGrpSpPr>
          <p:grpSpPr>
            <a:xfrm>
              <a:off x="6161197" y="2837885"/>
              <a:ext cx="5357703" cy="1520437"/>
              <a:chOff x="6161197" y="2837885"/>
              <a:chExt cx="5357703" cy="1520437"/>
            </a:xfrm>
          </p:grpSpPr>
          <p:sp>
            <p:nvSpPr>
              <p:cNvPr id="18" name="矩形 17"/>
              <p:cNvSpPr/>
              <p:nvPr/>
            </p:nvSpPr>
            <p:spPr>
              <a:xfrm>
                <a:off x="6852515" y="3015526"/>
                <a:ext cx="4666385" cy="116515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>
                  <a:cs typeface="+mn-ea"/>
                  <a:sym typeface="+mn-lt"/>
                </a:endParaRPr>
              </a:p>
            </p:txBody>
          </p:sp>
          <p:sp>
            <p:nvSpPr>
              <p:cNvPr id="19" name="任意多边形: 形状 18"/>
              <p:cNvSpPr/>
              <p:nvPr/>
            </p:nvSpPr>
            <p:spPr bwMode="auto">
              <a:xfrm flipH="1">
                <a:off x="6161197" y="2837885"/>
                <a:ext cx="691318" cy="1520437"/>
              </a:xfrm>
              <a:custGeom>
                <a:avLst/>
                <a:gdLst>
                  <a:gd name="T0" fmla="*/ 493 w 698"/>
                  <a:gd name="T1" fmla="*/ 204 h 1395"/>
                  <a:gd name="T2" fmla="*/ 0 w 698"/>
                  <a:gd name="T3" fmla="*/ 0 h 1395"/>
                  <a:gd name="T4" fmla="*/ 0 w 698"/>
                  <a:gd name="T5" fmla="*/ 86 h 1395"/>
                  <a:gd name="T6" fmla="*/ 432 w 698"/>
                  <a:gd name="T7" fmla="*/ 265 h 1395"/>
                  <a:gd name="T8" fmla="*/ 611 w 698"/>
                  <a:gd name="T9" fmla="*/ 697 h 1395"/>
                  <a:gd name="T10" fmla="*/ 432 w 698"/>
                  <a:gd name="T11" fmla="*/ 1130 h 1395"/>
                  <a:gd name="T12" fmla="*/ 0 w 698"/>
                  <a:gd name="T13" fmla="*/ 1309 h 1395"/>
                  <a:gd name="T14" fmla="*/ 0 w 698"/>
                  <a:gd name="T15" fmla="*/ 1395 h 1395"/>
                  <a:gd name="T16" fmla="*/ 493 w 698"/>
                  <a:gd name="T17" fmla="*/ 1191 h 1395"/>
                  <a:gd name="T18" fmla="*/ 698 w 698"/>
                  <a:gd name="T19" fmla="*/ 697 h 1395"/>
                  <a:gd name="T20" fmla="*/ 493 w 698"/>
                  <a:gd name="T21" fmla="*/ 204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8" h="1395">
                    <a:moveTo>
                      <a:pt x="493" y="204"/>
                    </a:moveTo>
                    <a:cubicBezTo>
                      <a:pt x="361" y="72"/>
                      <a:pt x="186" y="0"/>
                      <a:pt x="0" y="0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163" y="86"/>
                      <a:pt x="317" y="150"/>
                      <a:pt x="432" y="265"/>
                    </a:cubicBezTo>
                    <a:cubicBezTo>
                      <a:pt x="548" y="381"/>
                      <a:pt x="611" y="534"/>
                      <a:pt x="611" y="697"/>
                    </a:cubicBezTo>
                    <a:cubicBezTo>
                      <a:pt x="611" y="861"/>
                      <a:pt x="548" y="1014"/>
                      <a:pt x="432" y="1130"/>
                    </a:cubicBezTo>
                    <a:cubicBezTo>
                      <a:pt x="317" y="1245"/>
                      <a:pt x="163" y="1309"/>
                      <a:pt x="0" y="1309"/>
                    </a:cubicBezTo>
                    <a:cubicBezTo>
                      <a:pt x="0" y="1395"/>
                      <a:pt x="0" y="1395"/>
                      <a:pt x="0" y="1395"/>
                    </a:cubicBezTo>
                    <a:cubicBezTo>
                      <a:pt x="186" y="1395"/>
                      <a:pt x="361" y="1323"/>
                      <a:pt x="493" y="1191"/>
                    </a:cubicBezTo>
                    <a:cubicBezTo>
                      <a:pt x="625" y="1059"/>
                      <a:pt x="698" y="884"/>
                      <a:pt x="698" y="697"/>
                    </a:cubicBezTo>
                    <a:cubicBezTo>
                      <a:pt x="698" y="511"/>
                      <a:pt x="625" y="336"/>
                      <a:pt x="493" y="20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cs typeface="+mn-ea"/>
                  <a:sym typeface="+mn-lt"/>
                </a:endParaRPr>
              </a:p>
            </p:txBody>
          </p:sp>
          <p:sp>
            <p:nvSpPr>
              <p:cNvPr id="20" name="椭圆 19"/>
              <p:cNvSpPr/>
              <p:nvPr/>
            </p:nvSpPr>
            <p:spPr>
              <a:xfrm>
                <a:off x="6392742" y="3007810"/>
                <a:ext cx="1180587" cy="11805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>
                  <a:cs typeface="+mn-ea"/>
                  <a:sym typeface="+mn-lt"/>
                </a:endParaRPr>
              </a:p>
            </p:txBody>
          </p:sp>
          <p:sp>
            <p:nvSpPr>
              <p:cNvPr id="21" name="椭圆 20"/>
              <p:cNvSpPr/>
              <p:nvPr/>
            </p:nvSpPr>
            <p:spPr>
              <a:xfrm>
                <a:off x="6579856" y="3194925"/>
                <a:ext cx="806357" cy="80635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>
                  <a:cs typeface="+mn-ea"/>
                  <a:sym typeface="+mn-lt"/>
                </a:endParaRPr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AEB8E933-440A-4D14-8E47-50467A42EDB0}"/>
                  </a:ext>
                </a:extLst>
              </p:cNvPr>
              <p:cNvSpPr/>
              <p:nvPr/>
            </p:nvSpPr>
            <p:spPr bwMode="auto">
              <a:xfrm>
                <a:off x="6788465" y="3410982"/>
                <a:ext cx="389138" cy="374242"/>
              </a:xfrm>
              <a:custGeom>
                <a:avLst/>
                <a:gdLst>
                  <a:gd name="connsiteX0" fmla="*/ 61288 w 609549"/>
                  <a:gd name="connsiteY0" fmla="*/ 383285 h 586216"/>
                  <a:gd name="connsiteX1" fmla="*/ 71162 w 609549"/>
                  <a:gd name="connsiteY1" fmla="*/ 387101 h 586216"/>
                  <a:gd name="connsiteX2" fmla="*/ 120018 w 609549"/>
                  <a:gd name="connsiteY2" fmla="*/ 435892 h 586216"/>
                  <a:gd name="connsiteX3" fmla="*/ 120018 w 609549"/>
                  <a:gd name="connsiteY3" fmla="*/ 454200 h 586216"/>
                  <a:gd name="connsiteX4" fmla="*/ 56639 w 609549"/>
                  <a:gd name="connsiteY4" fmla="*/ 517543 h 586216"/>
                  <a:gd name="connsiteX5" fmla="*/ 35592 w 609549"/>
                  <a:gd name="connsiteY5" fmla="*/ 513644 h 586216"/>
                  <a:gd name="connsiteX6" fmla="*/ 51877 w 609549"/>
                  <a:gd name="connsiteY6" fmla="*/ 388099 h 586216"/>
                  <a:gd name="connsiteX7" fmla="*/ 61288 w 609549"/>
                  <a:gd name="connsiteY7" fmla="*/ 383285 h 586216"/>
                  <a:gd name="connsiteX8" fmla="*/ 235245 w 609549"/>
                  <a:gd name="connsiteY8" fmla="*/ 302810 h 586216"/>
                  <a:gd name="connsiteX9" fmla="*/ 306042 w 609549"/>
                  <a:gd name="connsiteY9" fmla="*/ 373466 h 586216"/>
                  <a:gd name="connsiteX10" fmla="*/ 258717 w 609549"/>
                  <a:gd name="connsiteY10" fmla="*/ 420680 h 586216"/>
                  <a:gd name="connsiteX11" fmla="*/ 230246 w 609549"/>
                  <a:gd name="connsiteY11" fmla="*/ 550152 h 586216"/>
                  <a:gd name="connsiteX12" fmla="*/ 92223 w 609549"/>
                  <a:gd name="connsiteY12" fmla="*/ 575305 h 586216"/>
                  <a:gd name="connsiteX13" fmla="*/ 88748 w 609549"/>
                  <a:gd name="connsiteY13" fmla="*/ 556143 h 586216"/>
                  <a:gd name="connsiteX14" fmla="*/ 165115 w 609549"/>
                  <a:gd name="connsiteY14" fmla="*/ 479877 h 586216"/>
                  <a:gd name="connsiteX15" fmla="*/ 165115 w 609549"/>
                  <a:gd name="connsiteY15" fmla="*/ 446308 h 586216"/>
                  <a:gd name="connsiteX16" fmla="*/ 88700 w 609549"/>
                  <a:gd name="connsiteY16" fmla="*/ 369995 h 586216"/>
                  <a:gd name="connsiteX17" fmla="*/ 92128 w 609549"/>
                  <a:gd name="connsiteY17" fmla="*/ 350976 h 586216"/>
                  <a:gd name="connsiteX18" fmla="*/ 189111 w 609549"/>
                  <a:gd name="connsiteY18" fmla="*/ 348884 h 586216"/>
                  <a:gd name="connsiteX19" fmla="*/ 257958 w 609549"/>
                  <a:gd name="connsiteY19" fmla="*/ 161679 h 586216"/>
                  <a:gd name="connsiteX20" fmla="*/ 317251 w 609549"/>
                  <a:gd name="connsiteY20" fmla="*/ 220879 h 586216"/>
                  <a:gd name="connsiteX21" fmla="*/ 388070 w 609549"/>
                  <a:gd name="connsiteY21" fmla="*/ 291586 h 586216"/>
                  <a:gd name="connsiteX22" fmla="*/ 604906 w 609549"/>
                  <a:gd name="connsiteY22" fmla="*/ 508130 h 586216"/>
                  <a:gd name="connsiteX23" fmla="*/ 604906 w 609549"/>
                  <a:gd name="connsiteY23" fmla="*/ 530526 h 586216"/>
                  <a:gd name="connsiteX24" fmla="*/ 556567 w 609549"/>
                  <a:gd name="connsiteY24" fmla="*/ 578789 h 586216"/>
                  <a:gd name="connsiteX25" fmla="*/ 545327 w 609549"/>
                  <a:gd name="connsiteY25" fmla="*/ 583449 h 586216"/>
                  <a:gd name="connsiteX26" fmla="*/ 534135 w 609549"/>
                  <a:gd name="connsiteY26" fmla="*/ 578789 h 586216"/>
                  <a:gd name="connsiteX27" fmla="*/ 317251 w 609549"/>
                  <a:gd name="connsiteY27" fmla="*/ 362293 h 586216"/>
                  <a:gd name="connsiteX28" fmla="*/ 246481 w 609549"/>
                  <a:gd name="connsiteY28" fmla="*/ 291586 h 586216"/>
                  <a:gd name="connsiteX29" fmla="*/ 187140 w 609549"/>
                  <a:gd name="connsiteY29" fmla="*/ 232339 h 586216"/>
                  <a:gd name="connsiteX30" fmla="*/ 58606 w 609549"/>
                  <a:gd name="connsiteY30" fmla="*/ 160814 h 586216"/>
                  <a:gd name="connsiteX31" fmla="*/ 126401 w 609549"/>
                  <a:gd name="connsiteY31" fmla="*/ 228498 h 586216"/>
                  <a:gd name="connsiteX32" fmla="*/ 111975 w 609549"/>
                  <a:gd name="connsiteY32" fmla="*/ 242899 h 586216"/>
                  <a:gd name="connsiteX33" fmla="*/ 119307 w 609549"/>
                  <a:gd name="connsiteY33" fmla="*/ 250219 h 586216"/>
                  <a:gd name="connsiteX34" fmla="*/ 119307 w 609549"/>
                  <a:gd name="connsiteY34" fmla="*/ 277692 h 586216"/>
                  <a:gd name="connsiteX35" fmla="*/ 115641 w 609549"/>
                  <a:gd name="connsiteY35" fmla="*/ 281352 h 586216"/>
                  <a:gd name="connsiteX36" fmla="*/ 88123 w 609549"/>
                  <a:gd name="connsiteY36" fmla="*/ 281352 h 586216"/>
                  <a:gd name="connsiteX37" fmla="*/ 5712 w 609549"/>
                  <a:gd name="connsiteY37" fmla="*/ 199029 h 586216"/>
                  <a:gd name="connsiteX38" fmla="*/ 5712 w 609549"/>
                  <a:gd name="connsiteY38" fmla="*/ 171604 h 586216"/>
                  <a:gd name="connsiteX39" fmla="*/ 9378 w 609549"/>
                  <a:gd name="connsiteY39" fmla="*/ 167944 h 586216"/>
                  <a:gd name="connsiteX40" fmla="*/ 36849 w 609549"/>
                  <a:gd name="connsiteY40" fmla="*/ 167944 h 586216"/>
                  <a:gd name="connsiteX41" fmla="*/ 44180 w 609549"/>
                  <a:gd name="connsiteY41" fmla="*/ 175264 h 586216"/>
                  <a:gd name="connsiteX42" fmla="*/ 585775 w 609549"/>
                  <a:gd name="connsiteY42" fmla="*/ 66370 h 586216"/>
                  <a:gd name="connsiteX43" fmla="*/ 595263 w 609549"/>
                  <a:gd name="connsiteY43" fmla="*/ 73839 h 586216"/>
                  <a:gd name="connsiteX44" fmla="*/ 578978 w 609549"/>
                  <a:gd name="connsiteY44" fmla="*/ 199341 h 586216"/>
                  <a:gd name="connsiteX45" fmla="*/ 559693 w 609549"/>
                  <a:gd name="connsiteY45" fmla="*/ 200387 h 586216"/>
                  <a:gd name="connsiteX46" fmla="*/ 510789 w 609549"/>
                  <a:gd name="connsiteY46" fmla="*/ 151612 h 586216"/>
                  <a:gd name="connsiteX47" fmla="*/ 510789 w 609549"/>
                  <a:gd name="connsiteY47" fmla="*/ 133262 h 586216"/>
                  <a:gd name="connsiteX48" fmla="*/ 574216 w 609549"/>
                  <a:gd name="connsiteY48" fmla="*/ 69988 h 586216"/>
                  <a:gd name="connsiteX49" fmla="*/ 585775 w 609549"/>
                  <a:gd name="connsiteY49" fmla="*/ 66370 h 586216"/>
                  <a:gd name="connsiteX50" fmla="*/ 158702 w 609549"/>
                  <a:gd name="connsiteY50" fmla="*/ 26758 h 586216"/>
                  <a:gd name="connsiteX51" fmla="*/ 172463 w 609549"/>
                  <a:gd name="connsiteY51" fmla="*/ 32464 h 586216"/>
                  <a:gd name="connsiteX52" fmla="*/ 179701 w 609549"/>
                  <a:gd name="connsiteY52" fmla="*/ 39691 h 586216"/>
                  <a:gd name="connsiteX53" fmla="*/ 246935 w 609549"/>
                  <a:gd name="connsiteY53" fmla="*/ 106831 h 586216"/>
                  <a:gd name="connsiteX54" fmla="*/ 254886 w 609549"/>
                  <a:gd name="connsiteY54" fmla="*/ 114819 h 586216"/>
                  <a:gd name="connsiteX55" fmla="*/ 257600 w 609549"/>
                  <a:gd name="connsiteY55" fmla="*/ 138879 h 586216"/>
                  <a:gd name="connsiteX56" fmla="*/ 254886 w 609549"/>
                  <a:gd name="connsiteY56" fmla="*/ 142255 h 586216"/>
                  <a:gd name="connsiteX57" fmla="*/ 252315 w 609549"/>
                  <a:gd name="connsiteY57" fmla="*/ 144823 h 586216"/>
                  <a:gd name="connsiteX58" fmla="*/ 246696 w 609549"/>
                  <a:gd name="connsiteY58" fmla="*/ 150434 h 586216"/>
                  <a:gd name="connsiteX59" fmla="*/ 175892 w 609549"/>
                  <a:gd name="connsiteY59" fmla="*/ 221140 h 586216"/>
                  <a:gd name="connsiteX60" fmla="*/ 172463 w 609549"/>
                  <a:gd name="connsiteY60" fmla="*/ 224611 h 586216"/>
                  <a:gd name="connsiteX61" fmla="*/ 170130 w 609549"/>
                  <a:gd name="connsiteY61" fmla="*/ 226560 h 586216"/>
                  <a:gd name="connsiteX62" fmla="*/ 162274 w 609549"/>
                  <a:gd name="connsiteY62" fmla="*/ 229936 h 586216"/>
                  <a:gd name="connsiteX63" fmla="*/ 158702 w 609549"/>
                  <a:gd name="connsiteY63" fmla="*/ 230269 h 586216"/>
                  <a:gd name="connsiteX64" fmla="*/ 144942 w 609549"/>
                  <a:gd name="connsiteY64" fmla="*/ 224611 h 586216"/>
                  <a:gd name="connsiteX65" fmla="*/ 137609 w 609549"/>
                  <a:gd name="connsiteY65" fmla="*/ 217288 h 586216"/>
                  <a:gd name="connsiteX66" fmla="*/ 69804 w 609549"/>
                  <a:gd name="connsiteY66" fmla="*/ 149578 h 586216"/>
                  <a:gd name="connsiteX67" fmla="*/ 62519 w 609549"/>
                  <a:gd name="connsiteY67" fmla="*/ 142255 h 586216"/>
                  <a:gd name="connsiteX68" fmla="*/ 62519 w 609549"/>
                  <a:gd name="connsiteY68" fmla="*/ 114819 h 586216"/>
                  <a:gd name="connsiteX69" fmla="*/ 144942 w 609549"/>
                  <a:gd name="connsiteY69" fmla="*/ 32464 h 586216"/>
                  <a:gd name="connsiteX70" fmla="*/ 158702 w 609549"/>
                  <a:gd name="connsiteY70" fmla="*/ 26758 h 586216"/>
                  <a:gd name="connsiteX71" fmla="*/ 254809 w 609549"/>
                  <a:gd name="connsiteY71" fmla="*/ 6542 h 586216"/>
                  <a:gd name="connsiteX72" fmla="*/ 321015 w 609549"/>
                  <a:gd name="connsiteY72" fmla="*/ 29913 h 586216"/>
                  <a:gd name="connsiteX73" fmla="*/ 260017 w 609549"/>
                  <a:gd name="connsiteY73" fmla="*/ 97465 h 586216"/>
                  <a:gd name="connsiteX74" fmla="*/ 193067 w 609549"/>
                  <a:gd name="connsiteY74" fmla="*/ 30626 h 586216"/>
                  <a:gd name="connsiteX75" fmla="*/ 254809 w 609549"/>
                  <a:gd name="connsiteY75" fmla="*/ 6542 h 586216"/>
                  <a:gd name="connsiteX76" fmla="*/ 503105 w 609549"/>
                  <a:gd name="connsiteY76" fmla="*/ 953 h 586216"/>
                  <a:gd name="connsiteX77" fmla="*/ 538560 w 609549"/>
                  <a:gd name="connsiteY77" fmla="*/ 10911 h 586216"/>
                  <a:gd name="connsiteX78" fmla="*/ 542083 w 609549"/>
                  <a:gd name="connsiteY78" fmla="*/ 30073 h 586216"/>
                  <a:gd name="connsiteX79" fmla="*/ 465709 w 609549"/>
                  <a:gd name="connsiteY79" fmla="*/ 106341 h 586216"/>
                  <a:gd name="connsiteX80" fmla="*/ 465709 w 609549"/>
                  <a:gd name="connsiteY80" fmla="*/ 139911 h 586216"/>
                  <a:gd name="connsiteX81" fmla="*/ 542131 w 609549"/>
                  <a:gd name="connsiteY81" fmla="*/ 216227 h 586216"/>
                  <a:gd name="connsiteX82" fmla="*/ 538655 w 609549"/>
                  <a:gd name="connsiteY82" fmla="*/ 235246 h 586216"/>
                  <a:gd name="connsiteX83" fmla="*/ 442187 w 609549"/>
                  <a:gd name="connsiteY83" fmla="*/ 237528 h 586216"/>
                  <a:gd name="connsiteX84" fmla="*/ 399238 w 609549"/>
                  <a:gd name="connsiteY84" fmla="*/ 280370 h 586216"/>
                  <a:gd name="connsiteX85" fmla="*/ 328482 w 609549"/>
                  <a:gd name="connsiteY85" fmla="*/ 209712 h 586216"/>
                  <a:gd name="connsiteX86" fmla="*/ 372240 w 609549"/>
                  <a:gd name="connsiteY86" fmla="*/ 166015 h 586216"/>
                  <a:gd name="connsiteX87" fmla="*/ 400571 w 609549"/>
                  <a:gd name="connsiteY87" fmla="*/ 36064 h 586216"/>
                  <a:gd name="connsiteX88" fmla="*/ 503105 w 609549"/>
                  <a:gd name="connsiteY88" fmla="*/ 953 h 586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609549" h="586216">
                    <a:moveTo>
                      <a:pt x="61288" y="383285"/>
                    </a:moveTo>
                    <a:cubicBezTo>
                      <a:pt x="64829" y="383106"/>
                      <a:pt x="68448" y="384367"/>
                      <a:pt x="71162" y="387101"/>
                    </a:cubicBezTo>
                    <a:lnTo>
                      <a:pt x="120018" y="435892"/>
                    </a:lnTo>
                    <a:cubicBezTo>
                      <a:pt x="125113" y="440933"/>
                      <a:pt x="125113" y="449160"/>
                      <a:pt x="120018" y="454200"/>
                    </a:cubicBezTo>
                    <a:lnTo>
                      <a:pt x="56639" y="517543"/>
                    </a:lnTo>
                    <a:cubicBezTo>
                      <a:pt x="50211" y="523963"/>
                      <a:pt x="39211" y="522013"/>
                      <a:pt x="35592" y="513644"/>
                    </a:cubicBezTo>
                    <a:cubicBezTo>
                      <a:pt x="17783" y="472794"/>
                      <a:pt x="23211" y="424288"/>
                      <a:pt x="51877" y="388099"/>
                    </a:cubicBezTo>
                    <a:cubicBezTo>
                      <a:pt x="54282" y="385079"/>
                      <a:pt x="57746" y="383463"/>
                      <a:pt x="61288" y="383285"/>
                    </a:cubicBezTo>
                    <a:close/>
                    <a:moveTo>
                      <a:pt x="235245" y="302810"/>
                    </a:moveTo>
                    <a:lnTo>
                      <a:pt x="306042" y="373466"/>
                    </a:lnTo>
                    <a:lnTo>
                      <a:pt x="258717" y="420680"/>
                    </a:lnTo>
                    <a:cubicBezTo>
                      <a:pt x="274667" y="464329"/>
                      <a:pt x="265192" y="515300"/>
                      <a:pt x="230246" y="550152"/>
                    </a:cubicBezTo>
                    <a:cubicBezTo>
                      <a:pt x="192919" y="587430"/>
                      <a:pt x="137644" y="595798"/>
                      <a:pt x="92223" y="575305"/>
                    </a:cubicBezTo>
                    <a:cubicBezTo>
                      <a:pt x="84701" y="571882"/>
                      <a:pt x="82892" y="561992"/>
                      <a:pt x="88748" y="556143"/>
                    </a:cubicBezTo>
                    <a:lnTo>
                      <a:pt x="165115" y="479877"/>
                    </a:lnTo>
                    <a:cubicBezTo>
                      <a:pt x="174399" y="470605"/>
                      <a:pt x="174399" y="455580"/>
                      <a:pt x="165115" y="446308"/>
                    </a:cubicBezTo>
                    <a:lnTo>
                      <a:pt x="88700" y="369995"/>
                    </a:lnTo>
                    <a:cubicBezTo>
                      <a:pt x="82844" y="364194"/>
                      <a:pt x="84653" y="354399"/>
                      <a:pt x="92128" y="350976"/>
                    </a:cubicBezTo>
                    <a:cubicBezTo>
                      <a:pt x="122789" y="337092"/>
                      <a:pt x="157973" y="336379"/>
                      <a:pt x="189111" y="348884"/>
                    </a:cubicBezTo>
                    <a:close/>
                    <a:moveTo>
                      <a:pt x="257958" y="161679"/>
                    </a:moveTo>
                    <a:lnTo>
                      <a:pt x="317251" y="220879"/>
                    </a:lnTo>
                    <a:lnTo>
                      <a:pt x="388070" y="291586"/>
                    </a:lnTo>
                    <a:lnTo>
                      <a:pt x="604906" y="508130"/>
                    </a:lnTo>
                    <a:cubicBezTo>
                      <a:pt x="611097" y="514311"/>
                      <a:pt x="611097" y="524344"/>
                      <a:pt x="604906" y="530526"/>
                    </a:cubicBezTo>
                    <a:lnTo>
                      <a:pt x="556567" y="578789"/>
                    </a:lnTo>
                    <a:cubicBezTo>
                      <a:pt x="553471" y="581880"/>
                      <a:pt x="549423" y="583449"/>
                      <a:pt x="545327" y="583449"/>
                    </a:cubicBezTo>
                    <a:cubicBezTo>
                      <a:pt x="541279" y="583449"/>
                      <a:pt x="537231" y="581880"/>
                      <a:pt x="534135" y="578789"/>
                    </a:cubicBezTo>
                    <a:lnTo>
                      <a:pt x="317251" y="362293"/>
                    </a:lnTo>
                    <a:lnTo>
                      <a:pt x="246481" y="291586"/>
                    </a:lnTo>
                    <a:lnTo>
                      <a:pt x="187140" y="232339"/>
                    </a:lnTo>
                    <a:close/>
                    <a:moveTo>
                      <a:pt x="58606" y="160814"/>
                    </a:moveTo>
                    <a:lnTo>
                      <a:pt x="126401" y="228498"/>
                    </a:lnTo>
                    <a:lnTo>
                      <a:pt x="111975" y="242899"/>
                    </a:lnTo>
                    <a:lnTo>
                      <a:pt x="119307" y="250219"/>
                    </a:lnTo>
                    <a:cubicBezTo>
                      <a:pt x="126877" y="257824"/>
                      <a:pt x="126877" y="270087"/>
                      <a:pt x="119307" y="277692"/>
                    </a:cubicBezTo>
                    <a:lnTo>
                      <a:pt x="115641" y="281352"/>
                    </a:lnTo>
                    <a:cubicBezTo>
                      <a:pt x="108024" y="288909"/>
                      <a:pt x="95741" y="288909"/>
                      <a:pt x="88123" y="281352"/>
                    </a:cubicBezTo>
                    <a:lnTo>
                      <a:pt x="5712" y="199029"/>
                    </a:lnTo>
                    <a:cubicBezTo>
                      <a:pt x="-1905" y="191424"/>
                      <a:pt x="-1905" y="179161"/>
                      <a:pt x="5712" y="171604"/>
                    </a:cubicBezTo>
                    <a:lnTo>
                      <a:pt x="9378" y="167944"/>
                    </a:lnTo>
                    <a:cubicBezTo>
                      <a:pt x="16948" y="160339"/>
                      <a:pt x="29231" y="160339"/>
                      <a:pt x="36849" y="167944"/>
                    </a:cubicBezTo>
                    <a:lnTo>
                      <a:pt x="44180" y="175264"/>
                    </a:lnTo>
                    <a:close/>
                    <a:moveTo>
                      <a:pt x="585775" y="66370"/>
                    </a:moveTo>
                    <a:cubicBezTo>
                      <a:pt x="589775" y="67101"/>
                      <a:pt x="593430" y="69680"/>
                      <a:pt x="595263" y="73839"/>
                    </a:cubicBezTo>
                    <a:cubicBezTo>
                      <a:pt x="613072" y="114675"/>
                      <a:pt x="607644" y="163212"/>
                      <a:pt x="578978" y="199341"/>
                    </a:cubicBezTo>
                    <a:cubicBezTo>
                      <a:pt x="574168" y="205379"/>
                      <a:pt x="565121" y="205854"/>
                      <a:pt x="559693" y="200387"/>
                    </a:cubicBezTo>
                    <a:lnTo>
                      <a:pt x="510789" y="151612"/>
                    </a:lnTo>
                    <a:cubicBezTo>
                      <a:pt x="505742" y="146526"/>
                      <a:pt x="505742" y="138349"/>
                      <a:pt x="510789" y="133262"/>
                    </a:cubicBezTo>
                    <a:lnTo>
                      <a:pt x="574216" y="69988"/>
                    </a:lnTo>
                    <a:cubicBezTo>
                      <a:pt x="577430" y="66756"/>
                      <a:pt x="581775" y="65639"/>
                      <a:pt x="585775" y="66370"/>
                    </a:cubicBezTo>
                    <a:close/>
                    <a:moveTo>
                      <a:pt x="158702" y="26758"/>
                    </a:moveTo>
                    <a:cubicBezTo>
                      <a:pt x="163655" y="26758"/>
                      <a:pt x="168654" y="28660"/>
                      <a:pt x="172463" y="32464"/>
                    </a:cubicBezTo>
                    <a:lnTo>
                      <a:pt x="179701" y="39691"/>
                    </a:lnTo>
                    <a:lnTo>
                      <a:pt x="246935" y="106831"/>
                    </a:lnTo>
                    <a:lnTo>
                      <a:pt x="254886" y="114819"/>
                    </a:lnTo>
                    <a:cubicBezTo>
                      <a:pt x="261457" y="121334"/>
                      <a:pt x="262362" y="131414"/>
                      <a:pt x="257600" y="138879"/>
                    </a:cubicBezTo>
                    <a:cubicBezTo>
                      <a:pt x="256839" y="140068"/>
                      <a:pt x="255934" y="141209"/>
                      <a:pt x="254886" y="142255"/>
                    </a:cubicBezTo>
                    <a:lnTo>
                      <a:pt x="252315" y="144823"/>
                    </a:lnTo>
                    <a:lnTo>
                      <a:pt x="246696" y="150434"/>
                    </a:lnTo>
                    <a:lnTo>
                      <a:pt x="175892" y="221140"/>
                    </a:lnTo>
                    <a:lnTo>
                      <a:pt x="172463" y="224611"/>
                    </a:lnTo>
                    <a:cubicBezTo>
                      <a:pt x="171702" y="225324"/>
                      <a:pt x="170940" y="225990"/>
                      <a:pt x="170130" y="226560"/>
                    </a:cubicBezTo>
                    <a:cubicBezTo>
                      <a:pt x="167749" y="228319"/>
                      <a:pt x="165083" y="229413"/>
                      <a:pt x="162274" y="229936"/>
                    </a:cubicBezTo>
                    <a:cubicBezTo>
                      <a:pt x="161083" y="230174"/>
                      <a:pt x="159893" y="230269"/>
                      <a:pt x="158702" y="230269"/>
                    </a:cubicBezTo>
                    <a:cubicBezTo>
                      <a:pt x="153703" y="230269"/>
                      <a:pt x="148751" y="228367"/>
                      <a:pt x="144942" y="224611"/>
                    </a:cubicBezTo>
                    <a:lnTo>
                      <a:pt x="137609" y="217288"/>
                    </a:lnTo>
                    <a:lnTo>
                      <a:pt x="69804" y="149578"/>
                    </a:lnTo>
                    <a:lnTo>
                      <a:pt x="62519" y="142255"/>
                    </a:lnTo>
                    <a:cubicBezTo>
                      <a:pt x="54900" y="134647"/>
                      <a:pt x="54900" y="122380"/>
                      <a:pt x="62519" y="114819"/>
                    </a:cubicBezTo>
                    <a:lnTo>
                      <a:pt x="144942" y="32464"/>
                    </a:lnTo>
                    <a:cubicBezTo>
                      <a:pt x="148751" y="28660"/>
                      <a:pt x="153750" y="26758"/>
                      <a:pt x="158702" y="26758"/>
                    </a:cubicBezTo>
                    <a:close/>
                    <a:moveTo>
                      <a:pt x="254809" y="6542"/>
                    </a:moveTo>
                    <a:cubicBezTo>
                      <a:pt x="277279" y="4029"/>
                      <a:pt x="300492" y="9424"/>
                      <a:pt x="321015" y="29913"/>
                    </a:cubicBezTo>
                    <a:cubicBezTo>
                      <a:pt x="380347" y="89193"/>
                      <a:pt x="337205" y="46124"/>
                      <a:pt x="260017" y="97465"/>
                    </a:cubicBezTo>
                    <a:lnTo>
                      <a:pt x="193067" y="30626"/>
                    </a:lnTo>
                    <a:cubicBezTo>
                      <a:pt x="210614" y="19479"/>
                      <a:pt x="232340" y="9056"/>
                      <a:pt x="254809" y="6542"/>
                    </a:cubicBezTo>
                    <a:close/>
                    <a:moveTo>
                      <a:pt x="503105" y="953"/>
                    </a:moveTo>
                    <a:cubicBezTo>
                      <a:pt x="515252" y="2468"/>
                      <a:pt x="527216" y="5788"/>
                      <a:pt x="538560" y="10911"/>
                    </a:cubicBezTo>
                    <a:cubicBezTo>
                      <a:pt x="546131" y="14334"/>
                      <a:pt x="547940" y="24224"/>
                      <a:pt x="542083" y="30073"/>
                    </a:cubicBezTo>
                    <a:lnTo>
                      <a:pt x="465709" y="106341"/>
                    </a:lnTo>
                    <a:cubicBezTo>
                      <a:pt x="456424" y="115613"/>
                      <a:pt x="456424" y="130639"/>
                      <a:pt x="465709" y="139911"/>
                    </a:cubicBezTo>
                    <a:lnTo>
                      <a:pt x="542131" y="216227"/>
                    </a:lnTo>
                    <a:cubicBezTo>
                      <a:pt x="547940" y="222028"/>
                      <a:pt x="546178" y="231823"/>
                      <a:pt x="538655" y="235246"/>
                    </a:cubicBezTo>
                    <a:cubicBezTo>
                      <a:pt x="508181" y="249035"/>
                      <a:pt x="473184" y="249844"/>
                      <a:pt x="442187" y="237528"/>
                    </a:cubicBezTo>
                    <a:lnTo>
                      <a:pt x="399238" y="280370"/>
                    </a:lnTo>
                    <a:lnTo>
                      <a:pt x="328482" y="209712"/>
                    </a:lnTo>
                    <a:lnTo>
                      <a:pt x="372240" y="166015"/>
                    </a:lnTo>
                    <a:cubicBezTo>
                      <a:pt x="356051" y="122270"/>
                      <a:pt x="365527" y="71060"/>
                      <a:pt x="400571" y="36064"/>
                    </a:cubicBezTo>
                    <a:cubicBezTo>
                      <a:pt x="428569" y="8106"/>
                      <a:pt x="466664" y="-3592"/>
                      <a:pt x="503105" y="9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>
                  <a:cs typeface="+mn-ea"/>
                  <a:sym typeface="+mn-lt"/>
                </a:endParaRPr>
              </a:p>
            </p:txBody>
          </p:sp>
          <p:grpSp>
            <p:nvGrpSpPr>
              <p:cNvPr id="23" name="组合 22">
                <a:extLst>
                  <a:ext uri="{FF2B5EF4-FFF2-40B4-BE49-F238E27FC236}">
                    <a16:creationId xmlns:a16="http://schemas.microsoft.com/office/drawing/2014/main" id="{02BE77F2-616E-4D58-9B34-CD181C4F368C}"/>
                  </a:ext>
                </a:extLst>
              </p:cNvPr>
              <p:cNvGrpSpPr/>
              <p:nvPr/>
            </p:nvGrpSpPr>
            <p:grpSpPr>
              <a:xfrm>
                <a:off x="7559420" y="3069930"/>
                <a:ext cx="3959480" cy="1056347"/>
                <a:chOff x="1577477" y="2859469"/>
                <a:chExt cx="4035424" cy="1056347"/>
              </a:xfrm>
            </p:grpSpPr>
            <p:sp>
              <p:nvSpPr>
                <p:cNvPr id="24" name="矩形 23">
                  <a:extLst>
                    <a:ext uri="{FF2B5EF4-FFF2-40B4-BE49-F238E27FC236}">
                      <a16:creationId xmlns:a16="http://schemas.microsoft.com/office/drawing/2014/main" id="{994F9FB6-1752-496E-B5A4-656F7EFB958D}"/>
                    </a:ext>
                  </a:extLst>
                </p:cNvPr>
                <p:cNvSpPr/>
                <p:nvPr/>
              </p:nvSpPr>
              <p:spPr bwMode="auto">
                <a:xfrm>
                  <a:off x="1577477" y="3272350"/>
                  <a:ext cx="4035424" cy="64346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>
                      <a:solidFill>
                        <a:schemeClr val="bg1"/>
                      </a:solidFill>
                      <a:cs typeface="+mn-ea"/>
                      <a:sym typeface="+mn-lt"/>
                    </a:rPr>
                    <a:t>Supp</a:t>
                  </a:r>
                  <a:r>
                    <a:rPr lang="en-US" altLang="zh-CN" sz="100">
                      <a:solidFill>
                        <a:schemeClr val="bg1"/>
                      </a:solidFill>
                      <a:cs typeface="+mn-ea"/>
                      <a:sym typeface="+mn-lt"/>
                    </a:rPr>
                    <a:t> </a:t>
                  </a:r>
                  <a:r>
                    <a:rPr lang="en-US" altLang="zh-CN" sz="1100">
                      <a:solidFill>
                        <a:schemeClr val="bg1"/>
                      </a:solidFill>
                      <a:cs typeface="+mn-ea"/>
                      <a:sym typeface="+mn-lt"/>
                    </a:rPr>
                    <a:t>orting </a:t>
                  </a:r>
                  <a:r>
                    <a:rPr lang="en-US" altLang="zh-CN" sz="1100" dirty="0">
                      <a:solidFill>
                        <a:schemeClr val="bg1"/>
                      </a:solidFill>
                      <a:cs typeface="+mn-ea"/>
                      <a:sym typeface="+mn-lt"/>
                    </a:rPr>
                    <a:t>text here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solidFill>
                        <a:schemeClr val="bg1"/>
                      </a:solidFill>
                      <a:cs typeface="+mn-ea"/>
                      <a:sym typeface="+mn-lt"/>
                    </a:rPr>
                    <a:t>When you copy &amp; paste, choose "keep text only" option.</a:t>
                  </a:r>
                </a:p>
              </p:txBody>
            </p:sp>
            <p:sp>
              <p:nvSpPr>
                <p:cNvPr id="25" name="文本框 24">
                  <a:extLst>
                    <a:ext uri="{FF2B5EF4-FFF2-40B4-BE49-F238E27FC236}">
                      <a16:creationId xmlns:a16="http://schemas.microsoft.com/office/drawing/2014/main" id="{138C9BF3-E4D9-493B-AF68-5FDA23015541}"/>
                    </a:ext>
                  </a:extLst>
                </p:cNvPr>
                <p:cNvSpPr txBox="1"/>
                <p:nvPr/>
              </p:nvSpPr>
              <p:spPr bwMode="auto">
                <a:xfrm>
                  <a:off x="1577477" y="2859469"/>
                  <a:ext cx="4035424" cy="41288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eaLnBrk="1" hangingPunct="1">
                    <a:lnSpc>
                      <a:spcPct val="100000"/>
                    </a:lnSpc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8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T</a:t>
                  </a:r>
                  <a:r>
                    <a:rPr lang="en-US" altLang="zh-CN" sz="1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 </a:t>
                  </a:r>
                  <a:r>
                    <a:rPr lang="en-US" altLang="zh-CN" sz="18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ext </a:t>
                  </a:r>
                  <a:r>
                    <a:rPr lang="en-US" altLang="zh-CN" sz="1800" b="1" dirty="0">
                      <a:solidFill>
                        <a:schemeClr val="bg1"/>
                      </a:solidFill>
                      <a:cs typeface="+mn-ea"/>
                      <a:sym typeface="+mn-lt"/>
                    </a:rPr>
                    <a:t>here</a:t>
                  </a:r>
                </a:p>
              </p:txBody>
            </p:sp>
          </p:grpSp>
        </p:grpSp>
        <p:grpSp>
          <p:nvGrpSpPr>
            <p:cNvPr id="9" name="组合 8"/>
            <p:cNvGrpSpPr/>
            <p:nvPr/>
          </p:nvGrpSpPr>
          <p:grpSpPr>
            <a:xfrm>
              <a:off x="6161197" y="4518413"/>
              <a:ext cx="5357703" cy="1520437"/>
              <a:chOff x="6161197" y="4518413"/>
              <a:chExt cx="5357703" cy="1520437"/>
            </a:xfrm>
          </p:grpSpPr>
          <p:sp>
            <p:nvSpPr>
              <p:cNvPr id="10" name="矩形 9"/>
              <p:cNvSpPr/>
              <p:nvPr/>
            </p:nvSpPr>
            <p:spPr>
              <a:xfrm>
                <a:off x="6852515" y="4690527"/>
                <a:ext cx="4666385" cy="117620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>
                  <a:cs typeface="+mn-ea"/>
                  <a:sym typeface="+mn-lt"/>
                </a:endParaRPr>
              </a:p>
            </p:txBody>
          </p:sp>
          <p:sp>
            <p:nvSpPr>
              <p:cNvPr id="11" name="任意多边形: 形状 10"/>
              <p:cNvSpPr/>
              <p:nvPr/>
            </p:nvSpPr>
            <p:spPr bwMode="auto">
              <a:xfrm flipH="1">
                <a:off x="6161197" y="4518413"/>
                <a:ext cx="691318" cy="1520437"/>
              </a:xfrm>
              <a:custGeom>
                <a:avLst/>
                <a:gdLst>
                  <a:gd name="T0" fmla="*/ 493 w 698"/>
                  <a:gd name="T1" fmla="*/ 204 h 1395"/>
                  <a:gd name="T2" fmla="*/ 0 w 698"/>
                  <a:gd name="T3" fmla="*/ 0 h 1395"/>
                  <a:gd name="T4" fmla="*/ 0 w 698"/>
                  <a:gd name="T5" fmla="*/ 86 h 1395"/>
                  <a:gd name="T6" fmla="*/ 432 w 698"/>
                  <a:gd name="T7" fmla="*/ 265 h 1395"/>
                  <a:gd name="T8" fmla="*/ 611 w 698"/>
                  <a:gd name="T9" fmla="*/ 697 h 1395"/>
                  <a:gd name="T10" fmla="*/ 432 w 698"/>
                  <a:gd name="T11" fmla="*/ 1130 h 1395"/>
                  <a:gd name="T12" fmla="*/ 0 w 698"/>
                  <a:gd name="T13" fmla="*/ 1309 h 1395"/>
                  <a:gd name="T14" fmla="*/ 0 w 698"/>
                  <a:gd name="T15" fmla="*/ 1395 h 1395"/>
                  <a:gd name="T16" fmla="*/ 493 w 698"/>
                  <a:gd name="T17" fmla="*/ 1191 h 1395"/>
                  <a:gd name="T18" fmla="*/ 698 w 698"/>
                  <a:gd name="T19" fmla="*/ 697 h 1395"/>
                  <a:gd name="T20" fmla="*/ 493 w 698"/>
                  <a:gd name="T21" fmla="*/ 204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8" h="1395">
                    <a:moveTo>
                      <a:pt x="493" y="204"/>
                    </a:moveTo>
                    <a:cubicBezTo>
                      <a:pt x="361" y="72"/>
                      <a:pt x="186" y="0"/>
                      <a:pt x="0" y="0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163" y="86"/>
                      <a:pt x="317" y="150"/>
                      <a:pt x="432" y="265"/>
                    </a:cubicBezTo>
                    <a:cubicBezTo>
                      <a:pt x="548" y="381"/>
                      <a:pt x="611" y="534"/>
                      <a:pt x="611" y="697"/>
                    </a:cubicBezTo>
                    <a:cubicBezTo>
                      <a:pt x="611" y="861"/>
                      <a:pt x="548" y="1014"/>
                      <a:pt x="432" y="1130"/>
                    </a:cubicBezTo>
                    <a:cubicBezTo>
                      <a:pt x="317" y="1245"/>
                      <a:pt x="163" y="1309"/>
                      <a:pt x="0" y="1309"/>
                    </a:cubicBezTo>
                    <a:cubicBezTo>
                      <a:pt x="0" y="1395"/>
                      <a:pt x="0" y="1395"/>
                      <a:pt x="0" y="1395"/>
                    </a:cubicBezTo>
                    <a:cubicBezTo>
                      <a:pt x="186" y="1395"/>
                      <a:pt x="361" y="1323"/>
                      <a:pt x="493" y="1191"/>
                    </a:cubicBezTo>
                    <a:cubicBezTo>
                      <a:pt x="625" y="1059"/>
                      <a:pt x="698" y="884"/>
                      <a:pt x="698" y="697"/>
                    </a:cubicBezTo>
                    <a:cubicBezTo>
                      <a:pt x="698" y="511"/>
                      <a:pt x="625" y="336"/>
                      <a:pt x="493" y="20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>
                  <a:cs typeface="+mn-ea"/>
                  <a:sym typeface="+mn-lt"/>
                </a:endParaRPr>
              </a:p>
            </p:txBody>
          </p:sp>
          <p:sp>
            <p:nvSpPr>
              <p:cNvPr id="12" name="椭圆 11"/>
              <p:cNvSpPr/>
              <p:nvPr/>
            </p:nvSpPr>
            <p:spPr>
              <a:xfrm>
                <a:off x="6392742" y="4688338"/>
                <a:ext cx="1180587" cy="1180587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>
                  <a:cs typeface="+mn-ea"/>
                  <a:sym typeface="+mn-lt"/>
                </a:endParaRPr>
              </a:p>
            </p:txBody>
          </p:sp>
          <p:sp>
            <p:nvSpPr>
              <p:cNvPr id="13" name="椭圆 12"/>
              <p:cNvSpPr/>
              <p:nvPr/>
            </p:nvSpPr>
            <p:spPr>
              <a:xfrm>
                <a:off x="6579856" y="4875453"/>
                <a:ext cx="806357" cy="806357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>
                  <a:cs typeface="+mn-ea"/>
                  <a:sym typeface="+mn-lt"/>
                </a:endParaRPr>
              </a:p>
            </p:txBody>
          </p:sp>
          <p:sp>
            <p:nvSpPr>
              <p:cNvPr id="14" name="任意多边形: 形状 13">
                <a:extLst>
                  <a:ext uri="{FF2B5EF4-FFF2-40B4-BE49-F238E27FC236}">
                    <a16:creationId xmlns:a16="http://schemas.microsoft.com/office/drawing/2014/main" id="{B43B4A9F-0854-41B2-8EA0-9825E45E492B}"/>
                  </a:ext>
                </a:extLst>
              </p:cNvPr>
              <p:cNvSpPr/>
              <p:nvPr/>
            </p:nvSpPr>
            <p:spPr bwMode="auto">
              <a:xfrm>
                <a:off x="6769779" y="5073475"/>
                <a:ext cx="426508" cy="410312"/>
              </a:xfrm>
              <a:custGeom>
                <a:avLst/>
                <a:gdLst>
                  <a:gd name="connsiteX0" fmla="*/ 195114 w 608814"/>
                  <a:gd name="connsiteY0" fmla="*/ 351627 h 585693"/>
                  <a:gd name="connsiteX1" fmla="*/ 258290 w 608814"/>
                  <a:gd name="connsiteY1" fmla="*/ 351627 h 585693"/>
                  <a:gd name="connsiteX2" fmla="*/ 282731 w 608814"/>
                  <a:gd name="connsiteY2" fmla="*/ 376018 h 585693"/>
                  <a:gd name="connsiteX3" fmla="*/ 282731 w 608814"/>
                  <a:gd name="connsiteY3" fmla="*/ 561210 h 585693"/>
                  <a:gd name="connsiteX4" fmla="*/ 258290 w 608814"/>
                  <a:gd name="connsiteY4" fmla="*/ 585693 h 585693"/>
                  <a:gd name="connsiteX5" fmla="*/ 195114 w 608814"/>
                  <a:gd name="connsiteY5" fmla="*/ 585693 h 585693"/>
                  <a:gd name="connsiteX6" fmla="*/ 170673 w 608814"/>
                  <a:gd name="connsiteY6" fmla="*/ 561210 h 585693"/>
                  <a:gd name="connsiteX7" fmla="*/ 170673 w 608814"/>
                  <a:gd name="connsiteY7" fmla="*/ 376018 h 585693"/>
                  <a:gd name="connsiteX8" fmla="*/ 195114 w 608814"/>
                  <a:gd name="connsiteY8" fmla="*/ 351627 h 585693"/>
                  <a:gd name="connsiteX9" fmla="*/ 358100 w 608814"/>
                  <a:gd name="connsiteY9" fmla="*/ 249872 h 585693"/>
                  <a:gd name="connsiteX10" fmla="*/ 421316 w 608814"/>
                  <a:gd name="connsiteY10" fmla="*/ 249872 h 585693"/>
                  <a:gd name="connsiteX11" fmla="*/ 445737 w 608814"/>
                  <a:gd name="connsiteY11" fmla="*/ 274267 h 585693"/>
                  <a:gd name="connsiteX12" fmla="*/ 445737 w 608814"/>
                  <a:gd name="connsiteY12" fmla="*/ 561206 h 585693"/>
                  <a:gd name="connsiteX13" fmla="*/ 421316 w 608814"/>
                  <a:gd name="connsiteY13" fmla="*/ 585693 h 585693"/>
                  <a:gd name="connsiteX14" fmla="*/ 358100 w 608814"/>
                  <a:gd name="connsiteY14" fmla="*/ 585693 h 585693"/>
                  <a:gd name="connsiteX15" fmla="*/ 333679 w 608814"/>
                  <a:gd name="connsiteY15" fmla="*/ 561206 h 585693"/>
                  <a:gd name="connsiteX16" fmla="*/ 333679 w 608814"/>
                  <a:gd name="connsiteY16" fmla="*/ 274267 h 585693"/>
                  <a:gd name="connsiteX17" fmla="*/ 358100 w 608814"/>
                  <a:gd name="connsiteY17" fmla="*/ 249872 h 585693"/>
                  <a:gd name="connsiteX18" fmla="*/ 140260 w 608814"/>
                  <a:gd name="connsiteY18" fmla="*/ 224680 h 585693"/>
                  <a:gd name="connsiteX19" fmla="*/ 191844 w 608814"/>
                  <a:gd name="connsiteY19" fmla="*/ 276122 h 585693"/>
                  <a:gd name="connsiteX20" fmla="*/ 140260 w 608814"/>
                  <a:gd name="connsiteY20" fmla="*/ 327564 h 585693"/>
                  <a:gd name="connsiteX21" fmla="*/ 88676 w 608814"/>
                  <a:gd name="connsiteY21" fmla="*/ 276122 h 585693"/>
                  <a:gd name="connsiteX22" fmla="*/ 140260 w 608814"/>
                  <a:gd name="connsiteY22" fmla="*/ 224680 h 585693"/>
                  <a:gd name="connsiteX23" fmla="*/ 521177 w 608814"/>
                  <a:gd name="connsiteY23" fmla="*/ 148117 h 585693"/>
                  <a:gd name="connsiteX24" fmla="*/ 584301 w 608814"/>
                  <a:gd name="connsiteY24" fmla="*/ 148117 h 585693"/>
                  <a:gd name="connsiteX25" fmla="*/ 608814 w 608814"/>
                  <a:gd name="connsiteY25" fmla="*/ 172601 h 585693"/>
                  <a:gd name="connsiteX26" fmla="*/ 608814 w 608814"/>
                  <a:gd name="connsiteY26" fmla="*/ 561209 h 585693"/>
                  <a:gd name="connsiteX27" fmla="*/ 584301 w 608814"/>
                  <a:gd name="connsiteY27" fmla="*/ 585693 h 585693"/>
                  <a:gd name="connsiteX28" fmla="*/ 521177 w 608814"/>
                  <a:gd name="connsiteY28" fmla="*/ 585693 h 585693"/>
                  <a:gd name="connsiteX29" fmla="*/ 496756 w 608814"/>
                  <a:gd name="connsiteY29" fmla="*/ 561209 h 585693"/>
                  <a:gd name="connsiteX30" fmla="*/ 496756 w 608814"/>
                  <a:gd name="connsiteY30" fmla="*/ 172601 h 585693"/>
                  <a:gd name="connsiteX31" fmla="*/ 521177 w 608814"/>
                  <a:gd name="connsiteY31" fmla="*/ 148117 h 585693"/>
                  <a:gd name="connsiteX32" fmla="*/ 116229 w 608814"/>
                  <a:gd name="connsiteY32" fmla="*/ 131322 h 585693"/>
                  <a:gd name="connsiteX33" fmla="*/ 164246 w 608814"/>
                  <a:gd name="connsiteY33" fmla="*/ 131322 h 585693"/>
                  <a:gd name="connsiteX34" fmla="*/ 184061 w 608814"/>
                  <a:gd name="connsiteY34" fmla="*/ 151113 h 585693"/>
                  <a:gd name="connsiteX35" fmla="*/ 184061 w 608814"/>
                  <a:gd name="connsiteY35" fmla="*/ 171457 h 585693"/>
                  <a:gd name="connsiteX36" fmla="*/ 208669 w 608814"/>
                  <a:gd name="connsiteY36" fmla="*/ 186094 h 585693"/>
                  <a:gd name="connsiteX37" fmla="*/ 226641 w 608814"/>
                  <a:gd name="connsiteY37" fmla="*/ 175692 h 585693"/>
                  <a:gd name="connsiteX38" fmla="*/ 253737 w 608814"/>
                  <a:gd name="connsiteY38" fmla="*/ 182964 h 585693"/>
                  <a:gd name="connsiteX39" fmla="*/ 277792 w 608814"/>
                  <a:gd name="connsiteY39" fmla="*/ 224572 h 585693"/>
                  <a:gd name="connsiteX40" fmla="*/ 279727 w 608814"/>
                  <a:gd name="connsiteY40" fmla="*/ 239577 h 585693"/>
                  <a:gd name="connsiteX41" fmla="*/ 270511 w 608814"/>
                  <a:gd name="connsiteY41" fmla="*/ 251544 h 585693"/>
                  <a:gd name="connsiteX42" fmla="*/ 252355 w 608814"/>
                  <a:gd name="connsiteY42" fmla="*/ 262038 h 585693"/>
                  <a:gd name="connsiteX43" fmla="*/ 253829 w 608814"/>
                  <a:gd name="connsiteY43" fmla="*/ 276122 h 585693"/>
                  <a:gd name="connsiteX44" fmla="*/ 252355 w 608814"/>
                  <a:gd name="connsiteY44" fmla="*/ 290206 h 585693"/>
                  <a:gd name="connsiteX45" fmla="*/ 270511 w 608814"/>
                  <a:gd name="connsiteY45" fmla="*/ 300700 h 585693"/>
                  <a:gd name="connsiteX46" fmla="*/ 278714 w 608814"/>
                  <a:gd name="connsiteY46" fmla="*/ 325094 h 585693"/>
                  <a:gd name="connsiteX47" fmla="*/ 258253 w 608814"/>
                  <a:gd name="connsiteY47" fmla="*/ 321136 h 585693"/>
                  <a:gd name="connsiteX48" fmla="*/ 195858 w 608814"/>
                  <a:gd name="connsiteY48" fmla="*/ 321136 h 585693"/>
                  <a:gd name="connsiteX49" fmla="*/ 212171 w 608814"/>
                  <a:gd name="connsiteY49" fmla="*/ 276122 h 585693"/>
                  <a:gd name="connsiteX50" fmla="*/ 140191 w 608814"/>
                  <a:gd name="connsiteY50" fmla="*/ 204320 h 585693"/>
                  <a:gd name="connsiteX51" fmla="*/ 68304 w 608814"/>
                  <a:gd name="connsiteY51" fmla="*/ 276122 h 585693"/>
                  <a:gd name="connsiteX52" fmla="*/ 140191 w 608814"/>
                  <a:gd name="connsiteY52" fmla="*/ 348016 h 585693"/>
                  <a:gd name="connsiteX53" fmla="*/ 148486 w 608814"/>
                  <a:gd name="connsiteY53" fmla="*/ 347095 h 585693"/>
                  <a:gd name="connsiteX54" fmla="*/ 140099 w 608814"/>
                  <a:gd name="connsiteY54" fmla="*/ 376000 h 585693"/>
                  <a:gd name="connsiteX55" fmla="*/ 140099 w 608814"/>
                  <a:gd name="connsiteY55" fmla="*/ 420922 h 585693"/>
                  <a:gd name="connsiteX56" fmla="*/ 116229 w 608814"/>
                  <a:gd name="connsiteY56" fmla="*/ 420922 h 585693"/>
                  <a:gd name="connsiteX57" fmla="*/ 96413 w 608814"/>
                  <a:gd name="connsiteY57" fmla="*/ 401131 h 585693"/>
                  <a:gd name="connsiteX58" fmla="*/ 96413 w 608814"/>
                  <a:gd name="connsiteY58" fmla="*/ 380787 h 585693"/>
                  <a:gd name="connsiteX59" fmla="*/ 71806 w 608814"/>
                  <a:gd name="connsiteY59" fmla="*/ 366150 h 585693"/>
                  <a:gd name="connsiteX60" fmla="*/ 53742 w 608814"/>
                  <a:gd name="connsiteY60" fmla="*/ 376552 h 585693"/>
                  <a:gd name="connsiteX61" fmla="*/ 38719 w 608814"/>
                  <a:gd name="connsiteY61" fmla="*/ 378577 h 585693"/>
                  <a:gd name="connsiteX62" fmla="*/ 26738 w 608814"/>
                  <a:gd name="connsiteY62" fmla="*/ 369372 h 585693"/>
                  <a:gd name="connsiteX63" fmla="*/ 2683 w 608814"/>
                  <a:gd name="connsiteY63" fmla="*/ 327764 h 585693"/>
                  <a:gd name="connsiteX64" fmla="*/ 9872 w 608814"/>
                  <a:gd name="connsiteY64" fmla="*/ 300700 h 585693"/>
                  <a:gd name="connsiteX65" fmla="*/ 28120 w 608814"/>
                  <a:gd name="connsiteY65" fmla="*/ 290206 h 585693"/>
                  <a:gd name="connsiteX66" fmla="*/ 26645 w 608814"/>
                  <a:gd name="connsiteY66" fmla="*/ 276122 h 585693"/>
                  <a:gd name="connsiteX67" fmla="*/ 28120 w 608814"/>
                  <a:gd name="connsiteY67" fmla="*/ 262038 h 585693"/>
                  <a:gd name="connsiteX68" fmla="*/ 9872 w 608814"/>
                  <a:gd name="connsiteY68" fmla="*/ 251544 h 585693"/>
                  <a:gd name="connsiteX69" fmla="*/ 2683 w 608814"/>
                  <a:gd name="connsiteY69" fmla="*/ 224572 h 585693"/>
                  <a:gd name="connsiteX70" fmla="*/ 26738 w 608814"/>
                  <a:gd name="connsiteY70" fmla="*/ 182964 h 585693"/>
                  <a:gd name="connsiteX71" fmla="*/ 38719 w 608814"/>
                  <a:gd name="connsiteY71" fmla="*/ 173759 h 585693"/>
                  <a:gd name="connsiteX72" fmla="*/ 53742 w 608814"/>
                  <a:gd name="connsiteY72" fmla="*/ 175692 h 585693"/>
                  <a:gd name="connsiteX73" fmla="*/ 71806 w 608814"/>
                  <a:gd name="connsiteY73" fmla="*/ 186094 h 585693"/>
                  <a:gd name="connsiteX74" fmla="*/ 96413 w 608814"/>
                  <a:gd name="connsiteY74" fmla="*/ 171457 h 585693"/>
                  <a:gd name="connsiteX75" fmla="*/ 96413 w 608814"/>
                  <a:gd name="connsiteY75" fmla="*/ 151113 h 585693"/>
                  <a:gd name="connsiteX76" fmla="*/ 116229 w 608814"/>
                  <a:gd name="connsiteY76" fmla="*/ 131322 h 585693"/>
                  <a:gd name="connsiteX77" fmla="*/ 445756 w 608814"/>
                  <a:gd name="connsiteY77" fmla="*/ 83476 h 585693"/>
                  <a:gd name="connsiteX78" fmla="*/ 414140 w 608814"/>
                  <a:gd name="connsiteY78" fmla="*/ 115044 h 585693"/>
                  <a:gd name="connsiteX79" fmla="*/ 445756 w 608814"/>
                  <a:gd name="connsiteY79" fmla="*/ 146520 h 585693"/>
                  <a:gd name="connsiteX80" fmla="*/ 477371 w 608814"/>
                  <a:gd name="connsiteY80" fmla="*/ 115044 h 585693"/>
                  <a:gd name="connsiteX81" fmla="*/ 445756 w 608814"/>
                  <a:gd name="connsiteY81" fmla="*/ 83476 h 585693"/>
                  <a:gd name="connsiteX82" fmla="*/ 426676 w 608814"/>
                  <a:gd name="connsiteY82" fmla="*/ 0 h 585693"/>
                  <a:gd name="connsiteX83" fmla="*/ 464835 w 608814"/>
                  <a:gd name="connsiteY83" fmla="*/ 0 h 585693"/>
                  <a:gd name="connsiteX84" fmla="*/ 480597 w 608814"/>
                  <a:gd name="connsiteY84" fmla="*/ 15738 h 585693"/>
                  <a:gd name="connsiteX85" fmla="*/ 480597 w 608814"/>
                  <a:gd name="connsiteY85" fmla="*/ 31936 h 585693"/>
                  <a:gd name="connsiteX86" fmla="*/ 500138 w 608814"/>
                  <a:gd name="connsiteY86" fmla="*/ 43533 h 585693"/>
                  <a:gd name="connsiteX87" fmla="*/ 514425 w 608814"/>
                  <a:gd name="connsiteY87" fmla="*/ 35249 h 585693"/>
                  <a:gd name="connsiteX88" fmla="*/ 535901 w 608814"/>
                  <a:gd name="connsiteY88" fmla="*/ 40956 h 585693"/>
                  <a:gd name="connsiteX89" fmla="*/ 554981 w 608814"/>
                  <a:gd name="connsiteY89" fmla="*/ 73996 h 585693"/>
                  <a:gd name="connsiteX90" fmla="*/ 556640 w 608814"/>
                  <a:gd name="connsiteY90" fmla="*/ 85961 h 585693"/>
                  <a:gd name="connsiteX91" fmla="*/ 549266 w 608814"/>
                  <a:gd name="connsiteY91" fmla="*/ 95440 h 585693"/>
                  <a:gd name="connsiteX92" fmla="*/ 534887 w 608814"/>
                  <a:gd name="connsiteY92" fmla="*/ 103815 h 585693"/>
                  <a:gd name="connsiteX93" fmla="*/ 535993 w 608814"/>
                  <a:gd name="connsiteY93" fmla="*/ 115044 h 585693"/>
                  <a:gd name="connsiteX94" fmla="*/ 535717 w 608814"/>
                  <a:gd name="connsiteY94" fmla="*/ 117621 h 585693"/>
                  <a:gd name="connsiteX95" fmla="*/ 521153 w 608814"/>
                  <a:gd name="connsiteY95" fmla="*/ 117621 h 585693"/>
                  <a:gd name="connsiteX96" fmla="*/ 466126 w 608814"/>
                  <a:gd name="connsiteY96" fmla="*/ 172565 h 585693"/>
                  <a:gd name="connsiteX97" fmla="*/ 466126 w 608814"/>
                  <a:gd name="connsiteY97" fmla="*/ 229719 h 585693"/>
                  <a:gd name="connsiteX98" fmla="*/ 466126 w 608814"/>
                  <a:gd name="connsiteY98" fmla="*/ 242604 h 585693"/>
                  <a:gd name="connsiteX99" fmla="*/ 453590 w 608814"/>
                  <a:gd name="connsiteY99" fmla="*/ 229995 h 585693"/>
                  <a:gd name="connsiteX100" fmla="*/ 421330 w 608814"/>
                  <a:gd name="connsiteY100" fmla="*/ 219319 h 585693"/>
                  <a:gd name="connsiteX101" fmla="*/ 411928 w 608814"/>
                  <a:gd name="connsiteY101" fmla="*/ 219319 h 585693"/>
                  <a:gd name="connsiteX102" fmla="*/ 410914 w 608814"/>
                  <a:gd name="connsiteY102" fmla="*/ 214257 h 585693"/>
                  <a:gd name="connsiteX103" fmla="*/ 410914 w 608814"/>
                  <a:gd name="connsiteY103" fmla="*/ 198059 h 585693"/>
                  <a:gd name="connsiteX104" fmla="*/ 391373 w 608814"/>
                  <a:gd name="connsiteY104" fmla="*/ 186463 h 585693"/>
                  <a:gd name="connsiteX105" fmla="*/ 377086 w 608814"/>
                  <a:gd name="connsiteY105" fmla="*/ 194746 h 585693"/>
                  <a:gd name="connsiteX106" fmla="*/ 365104 w 608814"/>
                  <a:gd name="connsiteY106" fmla="*/ 196310 h 585693"/>
                  <a:gd name="connsiteX107" fmla="*/ 355610 w 608814"/>
                  <a:gd name="connsiteY107" fmla="*/ 189040 h 585693"/>
                  <a:gd name="connsiteX108" fmla="*/ 336530 w 608814"/>
                  <a:gd name="connsiteY108" fmla="*/ 155999 h 585693"/>
                  <a:gd name="connsiteX109" fmla="*/ 342245 w 608814"/>
                  <a:gd name="connsiteY109" fmla="*/ 134463 h 585693"/>
                  <a:gd name="connsiteX110" fmla="*/ 356716 w 608814"/>
                  <a:gd name="connsiteY110" fmla="*/ 126180 h 585693"/>
                  <a:gd name="connsiteX111" fmla="*/ 355518 w 608814"/>
                  <a:gd name="connsiteY111" fmla="*/ 115044 h 585693"/>
                  <a:gd name="connsiteX112" fmla="*/ 356716 w 608814"/>
                  <a:gd name="connsiteY112" fmla="*/ 103815 h 585693"/>
                  <a:gd name="connsiteX113" fmla="*/ 342245 w 608814"/>
                  <a:gd name="connsiteY113" fmla="*/ 95440 h 585693"/>
                  <a:gd name="connsiteX114" fmla="*/ 336530 w 608814"/>
                  <a:gd name="connsiteY114" fmla="*/ 73996 h 585693"/>
                  <a:gd name="connsiteX115" fmla="*/ 355610 w 608814"/>
                  <a:gd name="connsiteY115" fmla="*/ 40956 h 585693"/>
                  <a:gd name="connsiteX116" fmla="*/ 365104 w 608814"/>
                  <a:gd name="connsiteY116" fmla="*/ 33685 h 585693"/>
                  <a:gd name="connsiteX117" fmla="*/ 377086 w 608814"/>
                  <a:gd name="connsiteY117" fmla="*/ 35249 h 585693"/>
                  <a:gd name="connsiteX118" fmla="*/ 391373 w 608814"/>
                  <a:gd name="connsiteY118" fmla="*/ 43533 h 585693"/>
                  <a:gd name="connsiteX119" fmla="*/ 410914 w 608814"/>
                  <a:gd name="connsiteY119" fmla="*/ 31936 h 585693"/>
                  <a:gd name="connsiteX120" fmla="*/ 410914 w 608814"/>
                  <a:gd name="connsiteY120" fmla="*/ 15738 h 585693"/>
                  <a:gd name="connsiteX121" fmla="*/ 426676 w 608814"/>
                  <a:gd name="connsiteY121" fmla="*/ 0 h 58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608814" h="585693">
                    <a:moveTo>
                      <a:pt x="195114" y="351627"/>
                    </a:moveTo>
                    <a:lnTo>
                      <a:pt x="258290" y="351627"/>
                    </a:lnTo>
                    <a:cubicBezTo>
                      <a:pt x="271848" y="351627"/>
                      <a:pt x="282731" y="362580"/>
                      <a:pt x="282731" y="376018"/>
                    </a:cubicBezTo>
                    <a:lnTo>
                      <a:pt x="282731" y="561210"/>
                    </a:lnTo>
                    <a:cubicBezTo>
                      <a:pt x="282731" y="574740"/>
                      <a:pt x="271848" y="585693"/>
                      <a:pt x="258290" y="585693"/>
                    </a:cubicBezTo>
                    <a:lnTo>
                      <a:pt x="195114" y="585693"/>
                    </a:lnTo>
                    <a:cubicBezTo>
                      <a:pt x="181556" y="585693"/>
                      <a:pt x="170673" y="574740"/>
                      <a:pt x="170673" y="561210"/>
                    </a:cubicBezTo>
                    <a:lnTo>
                      <a:pt x="170673" y="376018"/>
                    </a:lnTo>
                    <a:cubicBezTo>
                      <a:pt x="170673" y="362580"/>
                      <a:pt x="181556" y="351627"/>
                      <a:pt x="195114" y="351627"/>
                    </a:cubicBezTo>
                    <a:close/>
                    <a:moveTo>
                      <a:pt x="358100" y="249872"/>
                    </a:moveTo>
                    <a:lnTo>
                      <a:pt x="421316" y="249872"/>
                    </a:lnTo>
                    <a:cubicBezTo>
                      <a:pt x="434771" y="249872"/>
                      <a:pt x="445737" y="260735"/>
                      <a:pt x="445737" y="274267"/>
                    </a:cubicBezTo>
                    <a:lnTo>
                      <a:pt x="445737" y="561206"/>
                    </a:lnTo>
                    <a:cubicBezTo>
                      <a:pt x="445737" y="574738"/>
                      <a:pt x="434771" y="585693"/>
                      <a:pt x="421316" y="585693"/>
                    </a:cubicBezTo>
                    <a:lnTo>
                      <a:pt x="358100" y="585693"/>
                    </a:lnTo>
                    <a:cubicBezTo>
                      <a:pt x="344645" y="585693"/>
                      <a:pt x="333679" y="574738"/>
                      <a:pt x="333679" y="561206"/>
                    </a:cubicBezTo>
                    <a:lnTo>
                      <a:pt x="333679" y="274267"/>
                    </a:lnTo>
                    <a:cubicBezTo>
                      <a:pt x="333679" y="260735"/>
                      <a:pt x="344645" y="249872"/>
                      <a:pt x="358100" y="249872"/>
                    </a:cubicBezTo>
                    <a:close/>
                    <a:moveTo>
                      <a:pt x="140260" y="224680"/>
                    </a:moveTo>
                    <a:cubicBezTo>
                      <a:pt x="168749" y="224680"/>
                      <a:pt x="191844" y="247711"/>
                      <a:pt x="191844" y="276122"/>
                    </a:cubicBezTo>
                    <a:cubicBezTo>
                      <a:pt x="191844" y="304533"/>
                      <a:pt x="168749" y="327564"/>
                      <a:pt x="140260" y="327564"/>
                    </a:cubicBezTo>
                    <a:cubicBezTo>
                      <a:pt x="111771" y="327564"/>
                      <a:pt x="88676" y="304533"/>
                      <a:pt x="88676" y="276122"/>
                    </a:cubicBezTo>
                    <a:cubicBezTo>
                      <a:pt x="88676" y="247711"/>
                      <a:pt x="111771" y="224680"/>
                      <a:pt x="140260" y="224680"/>
                    </a:cubicBezTo>
                    <a:close/>
                    <a:moveTo>
                      <a:pt x="521177" y="148117"/>
                    </a:moveTo>
                    <a:lnTo>
                      <a:pt x="584301" y="148117"/>
                    </a:lnTo>
                    <a:cubicBezTo>
                      <a:pt x="597848" y="148117"/>
                      <a:pt x="608814" y="159070"/>
                      <a:pt x="608814" y="172601"/>
                    </a:cubicBezTo>
                    <a:lnTo>
                      <a:pt x="608814" y="561209"/>
                    </a:lnTo>
                    <a:cubicBezTo>
                      <a:pt x="608814" y="574740"/>
                      <a:pt x="597848" y="585693"/>
                      <a:pt x="584301" y="585693"/>
                    </a:cubicBezTo>
                    <a:lnTo>
                      <a:pt x="521177" y="585693"/>
                    </a:lnTo>
                    <a:cubicBezTo>
                      <a:pt x="507722" y="585693"/>
                      <a:pt x="496756" y="574740"/>
                      <a:pt x="496756" y="561209"/>
                    </a:cubicBezTo>
                    <a:lnTo>
                      <a:pt x="496756" y="172601"/>
                    </a:lnTo>
                    <a:cubicBezTo>
                      <a:pt x="496756" y="159070"/>
                      <a:pt x="507722" y="148117"/>
                      <a:pt x="521177" y="148117"/>
                    </a:cubicBezTo>
                    <a:close/>
                    <a:moveTo>
                      <a:pt x="116229" y="131322"/>
                    </a:moveTo>
                    <a:lnTo>
                      <a:pt x="164246" y="131322"/>
                    </a:lnTo>
                    <a:cubicBezTo>
                      <a:pt x="175214" y="131322"/>
                      <a:pt x="184061" y="140159"/>
                      <a:pt x="184061" y="151113"/>
                    </a:cubicBezTo>
                    <a:lnTo>
                      <a:pt x="184061" y="171457"/>
                    </a:lnTo>
                    <a:cubicBezTo>
                      <a:pt x="193001" y="175231"/>
                      <a:pt x="201019" y="180386"/>
                      <a:pt x="208669" y="186094"/>
                    </a:cubicBezTo>
                    <a:lnTo>
                      <a:pt x="226641" y="175692"/>
                    </a:lnTo>
                    <a:cubicBezTo>
                      <a:pt x="236134" y="170261"/>
                      <a:pt x="248300" y="173482"/>
                      <a:pt x="253737" y="182964"/>
                    </a:cubicBezTo>
                    <a:lnTo>
                      <a:pt x="277792" y="224572"/>
                    </a:lnTo>
                    <a:cubicBezTo>
                      <a:pt x="280465" y="229083"/>
                      <a:pt x="281110" y="234514"/>
                      <a:pt x="279727" y="239577"/>
                    </a:cubicBezTo>
                    <a:cubicBezTo>
                      <a:pt x="278437" y="244640"/>
                      <a:pt x="275119" y="248966"/>
                      <a:pt x="270511" y="251544"/>
                    </a:cubicBezTo>
                    <a:lnTo>
                      <a:pt x="252355" y="262038"/>
                    </a:lnTo>
                    <a:cubicBezTo>
                      <a:pt x="253000" y="266733"/>
                      <a:pt x="253829" y="271335"/>
                      <a:pt x="253829" y="276122"/>
                    </a:cubicBezTo>
                    <a:cubicBezTo>
                      <a:pt x="253829" y="281001"/>
                      <a:pt x="253000" y="285604"/>
                      <a:pt x="252355" y="290206"/>
                    </a:cubicBezTo>
                    <a:lnTo>
                      <a:pt x="270511" y="300700"/>
                    </a:lnTo>
                    <a:cubicBezTo>
                      <a:pt x="279174" y="305671"/>
                      <a:pt x="282308" y="316165"/>
                      <a:pt x="278714" y="325094"/>
                    </a:cubicBezTo>
                    <a:cubicBezTo>
                      <a:pt x="272354" y="322609"/>
                      <a:pt x="265442" y="321136"/>
                      <a:pt x="258253" y="321136"/>
                    </a:cubicBezTo>
                    <a:lnTo>
                      <a:pt x="195858" y="321136"/>
                    </a:lnTo>
                    <a:cubicBezTo>
                      <a:pt x="205904" y="308709"/>
                      <a:pt x="212171" y="293244"/>
                      <a:pt x="212171" y="276122"/>
                    </a:cubicBezTo>
                    <a:cubicBezTo>
                      <a:pt x="212171" y="236539"/>
                      <a:pt x="179914" y="204320"/>
                      <a:pt x="140191" y="204320"/>
                    </a:cubicBezTo>
                    <a:cubicBezTo>
                      <a:pt x="100561" y="204320"/>
                      <a:pt x="68304" y="236539"/>
                      <a:pt x="68304" y="276122"/>
                    </a:cubicBezTo>
                    <a:cubicBezTo>
                      <a:pt x="68304" y="315797"/>
                      <a:pt x="100561" y="348016"/>
                      <a:pt x="140191" y="348016"/>
                    </a:cubicBezTo>
                    <a:cubicBezTo>
                      <a:pt x="143048" y="348016"/>
                      <a:pt x="145721" y="347463"/>
                      <a:pt x="148486" y="347095"/>
                    </a:cubicBezTo>
                    <a:cubicBezTo>
                      <a:pt x="143233" y="355564"/>
                      <a:pt x="140099" y="365414"/>
                      <a:pt x="140099" y="376000"/>
                    </a:cubicBezTo>
                    <a:lnTo>
                      <a:pt x="140099" y="420922"/>
                    </a:lnTo>
                    <a:lnTo>
                      <a:pt x="116229" y="420922"/>
                    </a:lnTo>
                    <a:cubicBezTo>
                      <a:pt x="105261" y="420922"/>
                      <a:pt x="96413" y="412085"/>
                      <a:pt x="96413" y="401131"/>
                    </a:cubicBezTo>
                    <a:lnTo>
                      <a:pt x="96413" y="380787"/>
                    </a:lnTo>
                    <a:cubicBezTo>
                      <a:pt x="87474" y="377013"/>
                      <a:pt x="79455" y="371950"/>
                      <a:pt x="71806" y="366150"/>
                    </a:cubicBezTo>
                    <a:lnTo>
                      <a:pt x="53742" y="376552"/>
                    </a:lnTo>
                    <a:cubicBezTo>
                      <a:pt x="49226" y="379222"/>
                      <a:pt x="43788" y="379866"/>
                      <a:pt x="38719" y="378577"/>
                    </a:cubicBezTo>
                    <a:cubicBezTo>
                      <a:pt x="33650" y="377197"/>
                      <a:pt x="29318" y="373883"/>
                      <a:pt x="26738" y="369372"/>
                    </a:cubicBezTo>
                    <a:lnTo>
                      <a:pt x="2683" y="327764"/>
                    </a:lnTo>
                    <a:cubicBezTo>
                      <a:pt x="-2847" y="318282"/>
                      <a:pt x="471" y="306131"/>
                      <a:pt x="9872" y="300700"/>
                    </a:cubicBezTo>
                    <a:lnTo>
                      <a:pt x="28120" y="290206"/>
                    </a:lnTo>
                    <a:cubicBezTo>
                      <a:pt x="27475" y="285604"/>
                      <a:pt x="26645" y="281001"/>
                      <a:pt x="26645" y="276122"/>
                    </a:cubicBezTo>
                    <a:cubicBezTo>
                      <a:pt x="26645" y="271335"/>
                      <a:pt x="27475" y="266733"/>
                      <a:pt x="28120" y="262038"/>
                    </a:cubicBezTo>
                    <a:lnTo>
                      <a:pt x="9872" y="251544"/>
                    </a:lnTo>
                    <a:cubicBezTo>
                      <a:pt x="471" y="246113"/>
                      <a:pt x="-2847" y="233962"/>
                      <a:pt x="2683" y="224572"/>
                    </a:cubicBezTo>
                    <a:lnTo>
                      <a:pt x="26738" y="182964"/>
                    </a:lnTo>
                    <a:cubicBezTo>
                      <a:pt x="29318" y="178361"/>
                      <a:pt x="33650" y="175139"/>
                      <a:pt x="38719" y="173759"/>
                    </a:cubicBezTo>
                    <a:cubicBezTo>
                      <a:pt x="43788" y="172378"/>
                      <a:pt x="49226" y="173114"/>
                      <a:pt x="53742" y="175692"/>
                    </a:cubicBezTo>
                    <a:lnTo>
                      <a:pt x="71806" y="186094"/>
                    </a:lnTo>
                    <a:cubicBezTo>
                      <a:pt x="79455" y="180386"/>
                      <a:pt x="87474" y="175231"/>
                      <a:pt x="96413" y="171457"/>
                    </a:cubicBezTo>
                    <a:lnTo>
                      <a:pt x="96413" y="151113"/>
                    </a:lnTo>
                    <a:cubicBezTo>
                      <a:pt x="96413" y="140159"/>
                      <a:pt x="105261" y="131322"/>
                      <a:pt x="116229" y="131322"/>
                    </a:cubicBezTo>
                    <a:close/>
                    <a:moveTo>
                      <a:pt x="445756" y="83476"/>
                    </a:moveTo>
                    <a:cubicBezTo>
                      <a:pt x="428335" y="83476"/>
                      <a:pt x="414140" y="97557"/>
                      <a:pt x="414140" y="115044"/>
                    </a:cubicBezTo>
                    <a:cubicBezTo>
                      <a:pt x="414140" y="132438"/>
                      <a:pt x="428335" y="146520"/>
                      <a:pt x="445756" y="146520"/>
                    </a:cubicBezTo>
                    <a:cubicBezTo>
                      <a:pt x="463176" y="146520"/>
                      <a:pt x="477371" y="132438"/>
                      <a:pt x="477371" y="115044"/>
                    </a:cubicBezTo>
                    <a:cubicBezTo>
                      <a:pt x="477371" y="97557"/>
                      <a:pt x="463176" y="83476"/>
                      <a:pt x="445756" y="83476"/>
                    </a:cubicBezTo>
                    <a:close/>
                    <a:moveTo>
                      <a:pt x="426676" y="0"/>
                    </a:moveTo>
                    <a:lnTo>
                      <a:pt x="464835" y="0"/>
                    </a:lnTo>
                    <a:cubicBezTo>
                      <a:pt x="473500" y="0"/>
                      <a:pt x="480597" y="7087"/>
                      <a:pt x="480597" y="15738"/>
                    </a:cubicBezTo>
                    <a:lnTo>
                      <a:pt x="480597" y="31936"/>
                    </a:lnTo>
                    <a:cubicBezTo>
                      <a:pt x="487694" y="34881"/>
                      <a:pt x="494054" y="38931"/>
                      <a:pt x="500138" y="43533"/>
                    </a:cubicBezTo>
                    <a:lnTo>
                      <a:pt x="514425" y="35249"/>
                    </a:lnTo>
                    <a:cubicBezTo>
                      <a:pt x="521983" y="30924"/>
                      <a:pt x="531569" y="33501"/>
                      <a:pt x="535901" y="40956"/>
                    </a:cubicBezTo>
                    <a:lnTo>
                      <a:pt x="554981" y="73996"/>
                    </a:lnTo>
                    <a:cubicBezTo>
                      <a:pt x="557101" y="77585"/>
                      <a:pt x="557654" y="81911"/>
                      <a:pt x="556640" y="85961"/>
                    </a:cubicBezTo>
                    <a:cubicBezTo>
                      <a:pt x="555534" y="89918"/>
                      <a:pt x="552861" y="93415"/>
                      <a:pt x="549266" y="95440"/>
                    </a:cubicBezTo>
                    <a:lnTo>
                      <a:pt x="534887" y="103815"/>
                    </a:lnTo>
                    <a:cubicBezTo>
                      <a:pt x="535348" y="107497"/>
                      <a:pt x="535993" y="111178"/>
                      <a:pt x="535993" y="115044"/>
                    </a:cubicBezTo>
                    <a:cubicBezTo>
                      <a:pt x="535993" y="115872"/>
                      <a:pt x="535809" y="116700"/>
                      <a:pt x="535717" y="117621"/>
                    </a:cubicBezTo>
                    <a:lnTo>
                      <a:pt x="521153" y="117621"/>
                    </a:lnTo>
                    <a:cubicBezTo>
                      <a:pt x="490828" y="117621"/>
                      <a:pt x="466126" y="142286"/>
                      <a:pt x="466126" y="172565"/>
                    </a:cubicBezTo>
                    <a:lnTo>
                      <a:pt x="466126" y="229719"/>
                    </a:lnTo>
                    <a:lnTo>
                      <a:pt x="466126" y="242604"/>
                    </a:lnTo>
                    <a:cubicBezTo>
                      <a:pt x="462715" y="237726"/>
                      <a:pt x="458383" y="233493"/>
                      <a:pt x="453590" y="229995"/>
                    </a:cubicBezTo>
                    <a:cubicBezTo>
                      <a:pt x="444465" y="223369"/>
                      <a:pt x="433404" y="219319"/>
                      <a:pt x="421330" y="219319"/>
                    </a:cubicBezTo>
                    <a:lnTo>
                      <a:pt x="411928" y="219319"/>
                    </a:lnTo>
                    <a:cubicBezTo>
                      <a:pt x="411375" y="217755"/>
                      <a:pt x="410914" y="216098"/>
                      <a:pt x="410914" y="214257"/>
                    </a:cubicBezTo>
                    <a:lnTo>
                      <a:pt x="410914" y="198059"/>
                    </a:lnTo>
                    <a:cubicBezTo>
                      <a:pt x="403817" y="195114"/>
                      <a:pt x="397457" y="191064"/>
                      <a:pt x="391373" y="186463"/>
                    </a:cubicBezTo>
                    <a:lnTo>
                      <a:pt x="377086" y="194746"/>
                    </a:lnTo>
                    <a:cubicBezTo>
                      <a:pt x="373492" y="196863"/>
                      <a:pt x="369160" y="197415"/>
                      <a:pt x="365104" y="196310"/>
                    </a:cubicBezTo>
                    <a:cubicBezTo>
                      <a:pt x="361140" y="195206"/>
                      <a:pt x="357638" y="192629"/>
                      <a:pt x="355610" y="189040"/>
                    </a:cubicBezTo>
                    <a:lnTo>
                      <a:pt x="336530" y="155999"/>
                    </a:lnTo>
                    <a:cubicBezTo>
                      <a:pt x="332198" y="148452"/>
                      <a:pt x="334687" y="138881"/>
                      <a:pt x="342245" y="134463"/>
                    </a:cubicBezTo>
                    <a:lnTo>
                      <a:pt x="356716" y="126180"/>
                    </a:lnTo>
                    <a:cubicBezTo>
                      <a:pt x="356163" y="122498"/>
                      <a:pt x="355518" y="118817"/>
                      <a:pt x="355518" y="115044"/>
                    </a:cubicBezTo>
                    <a:cubicBezTo>
                      <a:pt x="355518" y="111178"/>
                      <a:pt x="356163" y="107497"/>
                      <a:pt x="356716" y="103815"/>
                    </a:cubicBezTo>
                    <a:lnTo>
                      <a:pt x="342245" y="95440"/>
                    </a:lnTo>
                    <a:cubicBezTo>
                      <a:pt x="334687" y="91115"/>
                      <a:pt x="332198" y="81543"/>
                      <a:pt x="336530" y="73996"/>
                    </a:cubicBezTo>
                    <a:lnTo>
                      <a:pt x="355610" y="40956"/>
                    </a:lnTo>
                    <a:cubicBezTo>
                      <a:pt x="357638" y="37366"/>
                      <a:pt x="361140" y="34789"/>
                      <a:pt x="365104" y="33685"/>
                    </a:cubicBezTo>
                    <a:cubicBezTo>
                      <a:pt x="369160" y="32580"/>
                      <a:pt x="373492" y="33133"/>
                      <a:pt x="377086" y="35249"/>
                    </a:cubicBezTo>
                    <a:lnTo>
                      <a:pt x="391373" y="43533"/>
                    </a:lnTo>
                    <a:cubicBezTo>
                      <a:pt x="397457" y="38931"/>
                      <a:pt x="403817" y="34881"/>
                      <a:pt x="410914" y="31936"/>
                    </a:cubicBezTo>
                    <a:lnTo>
                      <a:pt x="410914" y="15738"/>
                    </a:lnTo>
                    <a:cubicBezTo>
                      <a:pt x="410914" y="7087"/>
                      <a:pt x="418011" y="0"/>
                      <a:pt x="42667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>
                  <a:cs typeface="+mn-ea"/>
                  <a:sym typeface="+mn-lt"/>
                </a:endParaRPr>
              </a:p>
            </p:txBody>
          </p:sp>
          <p:grpSp>
            <p:nvGrpSpPr>
              <p:cNvPr id="15" name="组合 14">
                <a:extLst>
                  <a:ext uri="{FF2B5EF4-FFF2-40B4-BE49-F238E27FC236}">
                    <a16:creationId xmlns:a16="http://schemas.microsoft.com/office/drawing/2014/main" id="{4CB66015-57B5-4177-A0B1-A20264D174F5}"/>
                  </a:ext>
                </a:extLst>
              </p:cNvPr>
              <p:cNvGrpSpPr/>
              <p:nvPr/>
            </p:nvGrpSpPr>
            <p:grpSpPr>
              <a:xfrm>
                <a:off x="7559420" y="4750458"/>
                <a:ext cx="3959480" cy="1056347"/>
                <a:chOff x="1577477" y="2859469"/>
                <a:chExt cx="4035424" cy="1056347"/>
              </a:xfrm>
            </p:grpSpPr>
            <p:sp>
              <p:nvSpPr>
                <p:cNvPr id="16" name="矩形 15">
                  <a:extLst>
                    <a:ext uri="{FF2B5EF4-FFF2-40B4-BE49-F238E27FC236}">
                      <a16:creationId xmlns:a16="http://schemas.microsoft.com/office/drawing/2014/main" id="{43D1CF3A-53DA-4618-B1BC-906EB392FBEE}"/>
                    </a:ext>
                  </a:extLst>
                </p:cNvPr>
                <p:cNvSpPr/>
                <p:nvPr/>
              </p:nvSpPr>
              <p:spPr bwMode="auto">
                <a:xfrm>
                  <a:off x="1577477" y="3272350"/>
                  <a:ext cx="4035424" cy="64346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>
                      <a:cs typeface="+mn-ea"/>
                      <a:sym typeface="+mn-lt"/>
                    </a:rPr>
                    <a:t>Supp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100">
                      <a:cs typeface="+mn-ea"/>
                      <a:sym typeface="+mn-lt"/>
                    </a:rPr>
                    <a:t>orting </a:t>
                  </a:r>
                  <a:r>
                    <a:rPr lang="en-US" altLang="zh-CN" sz="1100" dirty="0">
                      <a:cs typeface="+mn-ea"/>
                      <a:sym typeface="+mn-lt"/>
                    </a:rPr>
                    <a:t>text here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When you copy &amp; paste, choose "keep text only" option.</a:t>
                  </a:r>
                </a:p>
              </p:txBody>
            </p:sp>
            <p:sp>
              <p:nvSpPr>
                <p:cNvPr id="17" name="文本框 16">
                  <a:extLst>
                    <a:ext uri="{FF2B5EF4-FFF2-40B4-BE49-F238E27FC236}">
                      <a16:creationId xmlns:a16="http://schemas.microsoft.com/office/drawing/2014/main" id="{A34974BB-8B6D-46D3-993F-36C359440FBE}"/>
                    </a:ext>
                  </a:extLst>
                </p:cNvPr>
                <p:cNvSpPr txBox="1"/>
                <p:nvPr/>
              </p:nvSpPr>
              <p:spPr bwMode="auto">
                <a:xfrm>
                  <a:off x="1577477" y="2859469"/>
                  <a:ext cx="4035424" cy="41288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eaLnBrk="1" hangingPunct="1">
                    <a:lnSpc>
                      <a:spcPct val="100000"/>
                    </a:lnSpc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800" b="1">
                      <a:cs typeface="+mn-ea"/>
                      <a:sym typeface="+mn-lt"/>
                    </a:rPr>
                    <a:t>T</a:t>
                  </a:r>
                  <a:r>
                    <a:rPr lang="en-US" altLang="zh-CN" sz="100" b="1">
                      <a:cs typeface="+mn-ea"/>
                      <a:sym typeface="+mn-lt"/>
                    </a:rPr>
                    <a:t> </a:t>
                  </a:r>
                  <a:r>
                    <a:rPr lang="en-US" altLang="zh-CN" sz="1800" b="1">
                      <a:cs typeface="+mn-ea"/>
                      <a:sym typeface="+mn-lt"/>
                    </a:rPr>
                    <a:t>ext </a:t>
                  </a:r>
                  <a:r>
                    <a:rPr lang="en-US" altLang="zh-CN" sz="1800" b="1" dirty="0">
                      <a:cs typeface="+mn-ea"/>
                      <a:sym typeface="+mn-lt"/>
                    </a:rPr>
                    <a:t>here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6998638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512149" y="2951599"/>
            <a:ext cx="5572087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前往公共场所应该怎样预防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653575" y="23868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04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676623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前往公共场所应该怎样预防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3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34" name="组合 3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9925" y="1425185"/>
            <a:ext cx="10848975" cy="3968553"/>
            <a:chOff x="669925" y="1425185"/>
            <a:chExt cx="10848975" cy="3968553"/>
          </a:xfrm>
        </p:grpSpPr>
        <p:grpSp>
          <p:nvGrpSpPr>
            <p:cNvPr id="35" name="组合 34">
              <a:extLst>
                <a:ext uri="{FF2B5EF4-FFF2-40B4-BE49-F238E27FC236}">
                  <a16:creationId xmlns:a16="http://schemas.microsoft.com/office/drawing/2014/main" id="{65C395FF-A9A8-4862-9449-F6C07CF89081}"/>
                </a:ext>
              </a:extLst>
            </p:cNvPr>
            <p:cNvGrpSpPr/>
            <p:nvPr/>
          </p:nvGrpSpPr>
          <p:grpSpPr>
            <a:xfrm>
              <a:off x="5328603" y="2657007"/>
              <a:ext cx="1534794" cy="1534794"/>
              <a:chOff x="5328603" y="3130427"/>
              <a:chExt cx="1534794" cy="1534794"/>
            </a:xfrm>
          </p:grpSpPr>
          <p:sp>
            <p:nvSpPr>
              <p:cNvPr id="61" name="椭圆 60">
                <a:extLst>
                  <a:ext uri="{FF2B5EF4-FFF2-40B4-BE49-F238E27FC236}">
                    <a16:creationId xmlns:a16="http://schemas.microsoft.com/office/drawing/2014/main" id="{7FC1F49C-2DF7-469A-AFC1-AA4D07ACEE66}"/>
                  </a:ext>
                </a:extLst>
              </p:cNvPr>
              <p:cNvSpPr/>
              <p:nvPr/>
            </p:nvSpPr>
            <p:spPr>
              <a:xfrm>
                <a:off x="5328603" y="3130427"/>
                <a:ext cx="1534794" cy="1534794"/>
              </a:xfrm>
              <a:prstGeom prst="ellipse">
                <a:avLst/>
              </a:prstGeom>
              <a:solidFill>
                <a:srgbClr val="FFFFFF"/>
              </a:solidFill>
              <a:ln w="3810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>
                  <a:cs typeface="+mn-ea"/>
                  <a:sym typeface="+mn-lt"/>
                </a:endParaRPr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F2DFCE6E-E72D-49A9-BED2-3F87B142B3D9}"/>
                  </a:ext>
                </a:extLst>
              </p:cNvPr>
              <p:cNvSpPr/>
              <p:nvPr/>
            </p:nvSpPr>
            <p:spPr bwMode="auto">
              <a:xfrm>
                <a:off x="5819057" y="3615264"/>
                <a:ext cx="553889" cy="588620"/>
              </a:xfrm>
              <a:custGeom>
                <a:avLst/>
                <a:gdLst>
                  <a:gd name="T0" fmla="*/ 4091 w 4360"/>
                  <a:gd name="T1" fmla="*/ 725 h 4640"/>
                  <a:gd name="T2" fmla="*/ 2180 w 4360"/>
                  <a:gd name="T3" fmla="*/ 0 h 4640"/>
                  <a:gd name="T4" fmla="*/ 269 w 4360"/>
                  <a:gd name="T5" fmla="*/ 725 h 4640"/>
                  <a:gd name="T6" fmla="*/ 2180 w 4360"/>
                  <a:gd name="T7" fmla="*/ 4640 h 4640"/>
                  <a:gd name="T8" fmla="*/ 4091 w 4360"/>
                  <a:gd name="T9" fmla="*/ 725 h 4640"/>
                  <a:gd name="T10" fmla="*/ 698 w 4360"/>
                  <a:gd name="T11" fmla="*/ 1138 h 4640"/>
                  <a:gd name="T12" fmla="*/ 1962 w 4360"/>
                  <a:gd name="T13" fmla="*/ 721 h 4640"/>
                  <a:gd name="T14" fmla="*/ 1962 w 4360"/>
                  <a:gd name="T15" fmla="*/ 2175 h 4640"/>
                  <a:gd name="T16" fmla="*/ 720 w 4360"/>
                  <a:gd name="T17" fmla="*/ 2175 h 4640"/>
                  <a:gd name="T18" fmla="*/ 698 w 4360"/>
                  <a:gd name="T19" fmla="*/ 1138 h 4640"/>
                  <a:gd name="T20" fmla="*/ 3012 w 4360"/>
                  <a:gd name="T21" fmla="*/ 3664 h 4640"/>
                  <a:gd name="T22" fmla="*/ 2397 w 4360"/>
                  <a:gd name="T23" fmla="*/ 4081 h 4640"/>
                  <a:gd name="T24" fmla="*/ 2397 w 4360"/>
                  <a:gd name="T25" fmla="*/ 2610 h 4640"/>
                  <a:gd name="T26" fmla="*/ 3574 w 4360"/>
                  <a:gd name="T27" fmla="*/ 2610 h 4640"/>
                  <a:gd name="T28" fmla="*/ 3478 w 4360"/>
                  <a:gd name="T29" fmla="*/ 2941 h 4640"/>
                  <a:gd name="T30" fmla="*/ 3012 w 4360"/>
                  <a:gd name="T31" fmla="*/ 3664 h 4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360" h="4640">
                    <a:moveTo>
                      <a:pt x="4091" y="725"/>
                    </a:moveTo>
                    <a:cubicBezTo>
                      <a:pt x="3299" y="725"/>
                      <a:pt x="2693" y="499"/>
                      <a:pt x="2180" y="0"/>
                    </a:cubicBezTo>
                    <a:cubicBezTo>
                      <a:pt x="1667" y="499"/>
                      <a:pt x="1060" y="725"/>
                      <a:pt x="269" y="725"/>
                    </a:cubicBezTo>
                    <a:cubicBezTo>
                      <a:pt x="269" y="2024"/>
                      <a:pt x="0" y="3884"/>
                      <a:pt x="2180" y="4640"/>
                    </a:cubicBezTo>
                    <a:cubicBezTo>
                      <a:pt x="4360" y="3884"/>
                      <a:pt x="4091" y="2024"/>
                      <a:pt x="4091" y="725"/>
                    </a:cubicBezTo>
                    <a:close/>
                    <a:moveTo>
                      <a:pt x="698" y="1138"/>
                    </a:moveTo>
                    <a:cubicBezTo>
                      <a:pt x="1175" y="1089"/>
                      <a:pt x="1590" y="952"/>
                      <a:pt x="1962" y="721"/>
                    </a:cubicBezTo>
                    <a:lnTo>
                      <a:pt x="1962" y="2175"/>
                    </a:lnTo>
                    <a:lnTo>
                      <a:pt x="720" y="2175"/>
                    </a:lnTo>
                    <a:cubicBezTo>
                      <a:pt x="686" y="1827"/>
                      <a:pt x="692" y="1471"/>
                      <a:pt x="698" y="1138"/>
                    </a:cubicBezTo>
                    <a:close/>
                    <a:moveTo>
                      <a:pt x="3012" y="3664"/>
                    </a:moveTo>
                    <a:cubicBezTo>
                      <a:pt x="2846" y="3825"/>
                      <a:pt x="2640" y="3964"/>
                      <a:pt x="2397" y="4081"/>
                    </a:cubicBezTo>
                    <a:lnTo>
                      <a:pt x="2397" y="2610"/>
                    </a:lnTo>
                    <a:lnTo>
                      <a:pt x="3574" y="2610"/>
                    </a:lnTo>
                    <a:cubicBezTo>
                      <a:pt x="3548" y="2724"/>
                      <a:pt x="3517" y="2835"/>
                      <a:pt x="3478" y="2941"/>
                    </a:cubicBezTo>
                    <a:cubicBezTo>
                      <a:pt x="3372" y="3227"/>
                      <a:pt x="3220" y="3463"/>
                      <a:pt x="3012" y="3664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-3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sp>
          <p:nvSpPr>
            <p:cNvPr id="36" name="椭圆 35">
              <a:extLst>
                <a:ext uri="{FF2B5EF4-FFF2-40B4-BE49-F238E27FC236}">
                  <a16:creationId xmlns:a16="http://schemas.microsoft.com/office/drawing/2014/main" id="{FF575C4F-1D57-43A1-B4FB-F9E5B6707C45}"/>
                </a:ext>
              </a:extLst>
            </p:cNvPr>
            <p:cNvSpPr/>
            <p:nvPr/>
          </p:nvSpPr>
          <p:spPr bwMode="auto">
            <a:xfrm>
              <a:off x="3312305" y="2849272"/>
              <a:ext cx="1159682" cy="115559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-3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7" name="椭圆 36">
              <a:extLst>
                <a:ext uri="{FF2B5EF4-FFF2-40B4-BE49-F238E27FC236}">
                  <a16:creationId xmlns:a16="http://schemas.microsoft.com/office/drawing/2014/main" id="{96ADF540-A448-46D7-8553-9C2066FAF6FE}"/>
                </a:ext>
              </a:extLst>
            </p:cNvPr>
            <p:cNvSpPr/>
            <p:nvPr/>
          </p:nvSpPr>
          <p:spPr bwMode="auto">
            <a:xfrm>
              <a:off x="6891761" y="1464262"/>
              <a:ext cx="1153557" cy="115559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-3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8" name="椭圆 37">
              <a:extLst>
                <a:ext uri="{FF2B5EF4-FFF2-40B4-BE49-F238E27FC236}">
                  <a16:creationId xmlns:a16="http://schemas.microsoft.com/office/drawing/2014/main" id="{61D0163D-FBCB-4375-B1C2-4CF58054905C}"/>
                </a:ext>
              </a:extLst>
            </p:cNvPr>
            <p:cNvSpPr/>
            <p:nvPr/>
          </p:nvSpPr>
          <p:spPr bwMode="auto">
            <a:xfrm>
              <a:off x="7720014" y="2849272"/>
              <a:ext cx="1159682" cy="115559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-3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9" name="椭圆 38">
              <a:extLst>
                <a:ext uri="{FF2B5EF4-FFF2-40B4-BE49-F238E27FC236}">
                  <a16:creationId xmlns:a16="http://schemas.microsoft.com/office/drawing/2014/main" id="{DE316EAA-E6C8-4C66-8E26-F90CF114CBA2}"/>
                </a:ext>
              </a:extLst>
            </p:cNvPr>
            <p:cNvSpPr/>
            <p:nvPr/>
          </p:nvSpPr>
          <p:spPr bwMode="auto">
            <a:xfrm>
              <a:off x="6891761" y="4234056"/>
              <a:ext cx="1153557" cy="115968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-3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07FAA762-8918-419C-8F84-942AD0779ACE}"/>
                </a:ext>
              </a:extLst>
            </p:cNvPr>
            <p:cNvSpPr/>
            <p:nvPr/>
          </p:nvSpPr>
          <p:spPr bwMode="auto">
            <a:xfrm>
              <a:off x="4536968" y="3273414"/>
              <a:ext cx="1084852" cy="315096"/>
            </a:xfrm>
            <a:custGeom>
              <a:avLst/>
              <a:gdLst>
                <a:gd name="T0" fmla="*/ 881 w 881"/>
                <a:gd name="T1" fmla="*/ 129 h 257"/>
                <a:gd name="T2" fmla="*/ 831 w 881"/>
                <a:gd name="T3" fmla="*/ 79 h 257"/>
                <a:gd name="T4" fmla="*/ 170 w 881"/>
                <a:gd name="T5" fmla="*/ 79 h 257"/>
                <a:gd name="T6" fmla="*/ 170 w 881"/>
                <a:gd name="T7" fmla="*/ 0 h 257"/>
                <a:gd name="T8" fmla="*/ 0 w 881"/>
                <a:gd name="T9" fmla="*/ 129 h 257"/>
                <a:gd name="T10" fmla="*/ 170 w 881"/>
                <a:gd name="T11" fmla="*/ 257 h 257"/>
                <a:gd name="T12" fmla="*/ 170 w 881"/>
                <a:gd name="T13" fmla="*/ 178 h 257"/>
                <a:gd name="T14" fmla="*/ 831 w 881"/>
                <a:gd name="T15" fmla="*/ 178 h 257"/>
                <a:gd name="T16" fmla="*/ 881 w 881"/>
                <a:gd name="T17" fmla="*/ 12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1" h="257">
                  <a:moveTo>
                    <a:pt x="881" y="129"/>
                  </a:moveTo>
                  <a:cubicBezTo>
                    <a:pt x="881" y="100"/>
                    <a:pt x="860" y="79"/>
                    <a:pt x="831" y="79"/>
                  </a:cubicBezTo>
                  <a:cubicBezTo>
                    <a:pt x="170" y="79"/>
                    <a:pt x="170" y="79"/>
                    <a:pt x="170" y="79"/>
                  </a:cubicBezTo>
                  <a:cubicBezTo>
                    <a:pt x="170" y="0"/>
                    <a:pt x="170" y="0"/>
                    <a:pt x="170" y="0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70" y="178"/>
                    <a:pt x="170" y="178"/>
                    <a:pt x="170" y="178"/>
                  </a:cubicBezTo>
                  <a:cubicBezTo>
                    <a:pt x="831" y="178"/>
                    <a:pt x="831" y="178"/>
                    <a:pt x="831" y="178"/>
                  </a:cubicBezTo>
                  <a:cubicBezTo>
                    <a:pt x="861" y="178"/>
                    <a:pt x="881" y="153"/>
                    <a:pt x="881" y="129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cs typeface="+mn-ea"/>
                <a:sym typeface="+mn-lt"/>
              </a:endParaRPr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C282B3CB-F56C-4405-9C3A-D9A1D006D5CC}"/>
                </a:ext>
              </a:extLst>
            </p:cNvPr>
            <p:cNvSpPr/>
            <p:nvPr/>
          </p:nvSpPr>
          <p:spPr bwMode="auto">
            <a:xfrm>
              <a:off x="6567110" y="3273414"/>
              <a:ext cx="1084852" cy="315096"/>
            </a:xfrm>
            <a:custGeom>
              <a:avLst/>
              <a:gdLst>
                <a:gd name="T0" fmla="*/ 881 w 881"/>
                <a:gd name="T1" fmla="*/ 129 h 257"/>
                <a:gd name="T2" fmla="*/ 711 w 881"/>
                <a:gd name="T3" fmla="*/ 0 h 257"/>
                <a:gd name="T4" fmla="*/ 711 w 881"/>
                <a:gd name="T5" fmla="*/ 79 h 257"/>
                <a:gd name="T6" fmla="*/ 50 w 881"/>
                <a:gd name="T7" fmla="*/ 79 h 257"/>
                <a:gd name="T8" fmla="*/ 0 w 881"/>
                <a:gd name="T9" fmla="*/ 129 h 257"/>
                <a:gd name="T10" fmla="*/ 50 w 881"/>
                <a:gd name="T11" fmla="*/ 178 h 257"/>
                <a:gd name="T12" fmla="*/ 711 w 881"/>
                <a:gd name="T13" fmla="*/ 178 h 257"/>
                <a:gd name="T14" fmla="*/ 711 w 881"/>
                <a:gd name="T15" fmla="*/ 257 h 257"/>
                <a:gd name="T16" fmla="*/ 881 w 881"/>
                <a:gd name="T17" fmla="*/ 12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1" h="257">
                  <a:moveTo>
                    <a:pt x="881" y="129"/>
                  </a:moveTo>
                  <a:cubicBezTo>
                    <a:pt x="711" y="0"/>
                    <a:pt x="711" y="0"/>
                    <a:pt x="711" y="0"/>
                  </a:cubicBezTo>
                  <a:cubicBezTo>
                    <a:pt x="711" y="79"/>
                    <a:pt x="711" y="79"/>
                    <a:pt x="711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21" y="79"/>
                    <a:pt x="0" y="100"/>
                    <a:pt x="0" y="129"/>
                  </a:cubicBezTo>
                  <a:cubicBezTo>
                    <a:pt x="0" y="153"/>
                    <a:pt x="20" y="178"/>
                    <a:pt x="50" y="178"/>
                  </a:cubicBezTo>
                  <a:cubicBezTo>
                    <a:pt x="711" y="178"/>
                    <a:pt x="711" y="178"/>
                    <a:pt x="711" y="178"/>
                  </a:cubicBezTo>
                  <a:cubicBezTo>
                    <a:pt x="711" y="257"/>
                    <a:pt x="711" y="257"/>
                    <a:pt x="711" y="257"/>
                  </a:cubicBezTo>
                  <a:lnTo>
                    <a:pt x="881" y="129"/>
                  </a:ln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cs typeface="+mn-ea"/>
                <a:sym typeface="+mn-lt"/>
              </a:endParaRPr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1861B460-A56C-4CEB-BF7B-7307D6DC7739}"/>
                </a:ext>
              </a:extLst>
            </p:cNvPr>
            <p:cNvSpPr/>
            <p:nvPr/>
          </p:nvSpPr>
          <p:spPr bwMode="auto">
            <a:xfrm>
              <a:off x="6425388" y="3835263"/>
              <a:ext cx="513650" cy="507176"/>
            </a:xfrm>
            <a:custGeom>
              <a:avLst/>
              <a:gdLst>
                <a:gd name="T0" fmla="*/ 330 w 417"/>
                <a:gd name="T1" fmla="*/ 259 h 413"/>
                <a:gd name="T2" fmla="*/ 87 w 417"/>
                <a:gd name="T3" fmla="*/ 20 h 413"/>
                <a:gd name="T4" fmla="*/ 16 w 417"/>
                <a:gd name="T5" fmla="*/ 20 h 413"/>
                <a:gd name="T6" fmla="*/ 0 w 417"/>
                <a:gd name="T7" fmla="*/ 52 h 413"/>
                <a:gd name="T8" fmla="*/ 16 w 417"/>
                <a:gd name="T9" fmla="*/ 91 h 413"/>
                <a:gd name="T10" fmla="*/ 258 w 417"/>
                <a:gd name="T11" fmla="*/ 329 h 413"/>
                <a:gd name="T12" fmla="*/ 204 w 417"/>
                <a:gd name="T13" fmla="*/ 383 h 413"/>
                <a:gd name="T14" fmla="*/ 417 w 417"/>
                <a:gd name="T15" fmla="*/ 413 h 413"/>
                <a:gd name="T16" fmla="*/ 387 w 417"/>
                <a:gd name="T17" fmla="*/ 203 h 413"/>
                <a:gd name="T18" fmla="*/ 330 w 417"/>
                <a:gd name="T19" fmla="*/ 259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7" h="413">
                  <a:moveTo>
                    <a:pt x="330" y="259"/>
                  </a:moveTo>
                  <a:cubicBezTo>
                    <a:pt x="87" y="20"/>
                    <a:pt x="87" y="20"/>
                    <a:pt x="87" y="20"/>
                  </a:cubicBezTo>
                  <a:cubicBezTo>
                    <a:pt x="66" y="0"/>
                    <a:pt x="37" y="0"/>
                    <a:pt x="16" y="20"/>
                  </a:cubicBezTo>
                  <a:cubicBezTo>
                    <a:pt x="7" y="27"/>
                    <a:pt x="1" y="39"/>
                    <a:pt x="0" y="52"/>
                  </a:cubicBezTo>
                  <a:cubicBezTo>
                    <a:pt x="0" y="66"/>
                    <a:pt x="5" y="80"/>
                    <a:pt x="16" y="91"/>
                  </a:cubicBezTo>
                  <a:cubicBezTo>
                    <a:pt x="258" y="329"/>
                    <a:pt x="258" y="329"/>
                    <a:pt x="258" y="329"/>
                  </a:cubicBezTo>
                  <a:cubicBezTo>
                    <a:pt x="204" y="383"/>
                    <a:pt x="204" y="383"/>
                    <a:pt x="204" y="383"/>
                  </a:cubicBezTo>
                  <a:cubicBezTo>
                    <a:pt x="417" y="413"/>
                    <a:pt x="417" y="413"/>
                    <a:pt x="417" y="413"/>
                  </a:cubicBezTo>
                  <a:cubicBezTo>
                    <a:pt x="387" y="203"/>
                    <a:pt x="387" y="203"/>
                    <a:pt x="387" y="203"/>
                  </a:cubicBezTo>
                  <a:lnTo>
                    <a:pt x="330" y="259"/>
                  </a:ln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cs typeface="+mn-ea"/>
                <a:sym typeface="+mn-lt"/>
              </a:endParaRPr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AAB42FAE-B423-4FDA-A4A4-5FE17F834605}"/>
                </a:ext>
              </a:extLst>
            </p:cNvPr>
            <p:cNvSpPr/>
            <p:nvPr/>
          </p:nvSpPr>
          <p:spPr bwMode="auto">
            <a:xfrm>
              <a:off x="6425388" y="2510852"/>
              <a:ext cx="513650" cy="504298"/>
            </a:xfrm>
            <a:custGeom>
              <a:avLst/>
              <a:gdLst>
                <a:gd name="T0" fmla="*/ 50 w 417"/>
                <a:gd name="T1" fmla="*/ 411 h 411"/>
                <a:gd name="T2" fmla="*/ 87 w 417"/>
                <a:gd name="T3" fmla="*/ 398 h 411"/>
                <a:gd name="T4" fmla="*/ 330 w 417"/>
                <a:gd name="T5" fmla="*/ 157 h 411"/>
                <a:gd name="T6" fmla="*/ 387 w 417"/>
                <a:gd name="T7" fmla="*/ 210 h 411"/>
                <a:gd name="T8" fmla="*/ 417 w 417"/>
                <a:gd name="T9" fmla="*/ 0 h 411"/>
                <a:gd name="T10" fmla="*/ 205 w 417"/>
                <a:gd name="T11" fmla="*/ 30 h 411"/>
                <a:gd name="T12" fmla="*/ 259 w 417"/>
                <a:gd name="T13" fmla="*/ 86 h 411"/>
                <a:gd name="T14" fmla="*/ 16 w 417"/>
                <a:gd name="T15" fmla="*/ 327 h 411"/>
                <a:gd name="T16" fmla="*/ 0 w 417"/>
                <a:gd name="T17" fmla="*/ 363 h 411"/>
                <a:gd name="T18" fmla="*/ 16 w 417"/>
                <a:gd name="T19" fmla="*/ 398 h 411"/>
                <a:gd name="T20" fmla="*/ 50 w 417"/>
                <a:gd name="T21" fmla="*/ 411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7" h="411">
                  <a:moveTo>
                    <a:pt x="50" y="411"/>
                  </a:moveTo>
                  <a:cubicBezTo>
                    <a:pt x="66" y="411"/>
                    <a:pt x="78" y="407"/>
                    <a:pt x="87" y="398"/>
                  </a:cubicBezTo>
                  <a:cubicBezTo>
                    <a:pt x="330" y="157"/>
                    <a:pt x="330" y="157"/>
                    <a:pt x="330" y="157"/>
                  </a:cubicBezTo>
                  <a:cubicBezTo>
                    <a:pt x="387" y="210"/>
                    <a:pt x="387" y="210"/>
                    <a:pt x="387" y="210"/>
                  </a:cubicBezTo>
                  <a:cubicBezTo>
                    <a:pt x="417" y="0"/>
                    <a:pt x="417" y="0"/>
                    <a:pt x="417" y="0"/>
                  </a:cubicBezTo>
                  <a:cubicBezTo>
                    <a:pt x="205" y="30"/>
                    <a:pt x="205" y="30"/>
                    <a:pt x="205" y="30"/>
                  </a:cubicBezTo>
                  <a:cubicBezTo>
                    <a:pt x="259" y="86"/>
                    <a:pt x="259" y="86"/>
                    <a:pt x="259" y="86"/>
                  </a:cubicBezTo>
                  <a:cubicBezTo>
                    <a:pt x="16" y="327"/>
                    <a:pt x="16" y="327"/>
                    <a:pt x="16" y="327"/>
                  </a:cubicBezTo>
                  <a:cubicBezTo>
                    <a:pt x="6" y="337"/>
                    <a:pt x="0" y="350"/>
                    <a:pt x="0" y="363"/>
                  </a:cubicBezTo>
                  <a:cubicBezTo>
                    <a:pt x="0" y="376"/>
                    <a:pt x="6" y="388"/>
                    <a:pt x="16" y="398"/>
                  </a:cubicBezTo>
                  <a:cubicBezTo>
                    <a:pt x="24" y="406"/>
                    <a:pt x="37" y="411"/>
                    <a:pt x="50" y="411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cs typeface="+mn-ea"/>
                <a:sym typeface="+mn-lt"/>
              </a:endParaRPr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871C6786-1D67-4653-A981-1A0672E26137}"/>
                </a:ext>
              </a:extLst>
            </p:cNvPr>
            <p:cNvSpPr/>
            <p:nvPr/>
          </p:nvSpPr>
          <p:spPr bwMode="auto">
            <a:xfrm>
              <a:off x="3659208" y="3239616"/>
              <a:ext cx="465876" cy="374908"/>
            </a:xfrm>
            <a:custGeom>
              <a:avLst/>
              <a:gdLst>
                <a:gd name="T0" fmla="*/ 402413 w 21335"/>
                <a:gd name="T1" fmla="*/ 328839 h 21422"/>
                <a:gd name="T2" fmla="*/ 402413 w 21335"/>
                <a:gd name="T3" fmla="*/ 328839 h 21422"/>
                <a:gd name="T4" fmla="*/ 402413 w 21335"/>
                <a:gd name="T5" fmla="*/ 328839 h 21422"/>
                <a:gd name="T6" fmla="*/ 402413 w 21335"/>
                <a:gd name="T7" fmla="*/ 328839 h 2142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335" h="21422">
                  <a:moveTo>
                    <a:pt x="19499" y="4188"/>
                  </a:moveTo>
                  <a:lnTo>
                    <a:pt x="17977" y="2290"/>
                  </a:lnTo>
                  <a:cubicBezTo>
                    <a:pt x="17713" y="1961"/>
                    <a:pt x="17284" y="1961"/>
                    <a:pt x="17018" y="2290"/>
                  </a:cubicBezTo>
                  <a:lnTo>
                    <a:pt x="8914" y="12399"/>
                  </a:lnTo>
                  <a:cubicBezTo>
                    <a:pt x="8384" y="13060"/>
                    <a:pt x="7524" y="13060"/>
                    <a:pt x="6996" y="12399"/>
                  </a:cubicBezTo>
                  <a:lnTo>
                    <a:pt x="4317" y="9058"/>
                  </a:lnTo>
                  <a:cubicBezTo>
                    <a:pt x="4051" y="8728"/>
                    <a:pt x="3622" y="8728"/>
                    <a:pt x="3358" y="9058"/>
                  </a:cubicBezTo>
                  <a:lnTo>
                    <a:pt x="1836" y="10956"/>
                  </a:lnTo>
                  <a:cubicBezTo>
                    <a:pt x="1572" y="11286"/>
                    <a:pt x="1572" y="11821"/>
                    <a:pt x="1836" y="12152"/>
                  </a:cubicBezTo>
                  <a:lnTo>
                    <a:pt x="7523" y="19246"/>
                  </a:lnTo>
                  <a:cubicBezTo>
                    <a:pt x="7788" y="19575"/>
                    <a:pt x="8218" y="19575"/>
                    <a:pt x="8482" y="19246"/>
                  </a:cubicBezTo>
                  <a:lnTo>
                    <a:pt x="10004" y="17348"/>
                  </a:lnTo>
                  <a:cubicBezTo>
                    <a:pt x="10076" y="17257"/>
                    <a:pt x="10125" y="17149"/>
                    <a:pt x="10158" y="17036"/>
                  </a:cubicBezTo>
                  <a:lnTo>
                    <a:pt x="19499" y="5385"/>
                  </a:lnTo>
                  <a:cubicBezTo>
                    <a:pt x="19763" y="5053"/>
                    <a:pt x="19763" y="4518"/>
                    <a:pt x="19499" y="4188"/>
                  </a:cubicBezTo>
                  <a:cubicBezTo>
                    <a:pt x="19499" y="4188"/>
                    <a:pt x="19499" y="4188"/>
                    <a:pt x="19499" y="4188"/>
                  </a:cubicBezTo>
                  <a:close/>
                  <a:moveTo>
                    <a:pt x="20938" y="5983"/>
                  </a:moveTo>
                  <a:lnTo>
                    <a:pt x="8951" y="20934"/>
                  </a:lnTo>
                  <a:cubicBezTo>
                    <a:pt x="8675" y="21278"/>
                    <a:pt x="8314" y="21434"/>
                    <a:pt x="7955" y="21420"/>
                  </a:cubicBezTo>
                  <a:cubicBezTo>
                    <a:pt x="7597" y="21434"/>
                    <a:pt x="7233" y="21278"/>
                    <a:pt x="6958" y="20934"/>
                  </a:cubicBezTo>
                  <a:lnTo>
                    <a:pt x="397" y="12750"/>
                  </a:lnTo>
                  <a:cubicBezTo>
                    <a:pt x="-132" y="12090"/>
                    <a:pt x="-132" y="11019"/>
                    <a:pt x="397" y="10358"/>
                  </a:cubicBezTo>
                  <a:lnTo>
                    <a:pt x="2878" y="7263"/>
                  </a:lnTo>
                  <a:cubicBezTo>
                    <a:pt x="3408" y="6602"/>
                    <a:pt x="4267" y="6602"/>
                    <a:pt x="4797" y="7263"/>
                  </a:cubicBezTo>
                  <a:lnTo>
                    <a:pt x="7955" y="11203"/>
                  </a:lnTo>
                  <a:lnTo>
                    <a:pt x="16538" y="495"/>
                  </a:lnTo>
                  <a:cubicBezTo>
                    <a:pt x="17068" y="-165"/>
                    <a:pt x="17928" y="-165"/>
                    <a:pt x="18458" y="495"/>
                  </a:cubicBezTo>
                  <a:lnTo>
                    <a:pt x="20938" y="3590"/>
                  </a:lnTo>
                  <a:cubicBezTo>
                    <a:pt x="21467" y="4251"/>
                    <a:pt x="21467" y="5322"/>
                    <a:pt x="20938" y="5983"/>
                  </a:cubicBezTo>
                  <a:cubicBezTo>
                    <a:pt x="20938" y="5983"/>
                    <a:pt x="20938" y="5983"/>
                    <a:pt x="20938" y="598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9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0FFFCEED-C437-44E0-8234-241B1BF2FE37}"/>
                </a:ext>
              </a:extLst>
            </p:cNvPr>
            <p:cNvSpPr/>
            <p:nvPr/>
          </p:nvSpPr>
          <p:spPr bwMode="auto">
            <a:xfrm>
              <a:off x="8118307" y="3236507"/>
              <a:ext cx="363096" cy="381126"/>
            </a:xfrm>
            <a:custGeom>
              <a:avLst/>
              <a:gdLst>
                <a:gd name="T0" fmla="*/ 351631 w 21600"/>
                <a:gd name="T1" fmla="*/ 379701 h 21294"/>
                <a:gd name="T2" fmla="*/ 351631 w 21600"/>
                <a:gd name="T3" fmla="*/ 379701 h 21294"/>
                <a:gd name="T4" fmla="*/ 351631 w 21600"/>
                <a:gd name="T5" fmla="*/ 379701 h 21294"/>
                <a:gd name="T6" fmla="*/ 351631 w 21600"/>
                <a:gd name="T7" fmla="*/ 379701 h 2129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294">
                  <a:moveTo>
                    <a:pt x="17208" y="15534"/>
                  </a:moveTo>
                  <a:cubicBezTo>
                    <a:pt x="16444" y="15195"/>
                    <a:pt x="14772" y="14720"/>
                    <a:pt x="14081" y="14313"/>
                  </a:cubicBezTo>
                  <a:cubicBezTo>
                    <a:pt x="13635" y="14052"/>
                    <a:pt x="12766" y="13513"/>
                    <a:pt x="12199" y="13160"/>
                  </a:cubicBezTo>
                  <a:lnTo>
                    <a:pt x="12199" y="10830"/>
                  </a:lnTo>
                  <a:cubicBezTo>
                    <a:pt x="12899" y="10258"/>
                    <a:pt x="13439" y="9266"/>
                    <a:pt x="13686" y="8062"/>
                  </a:cubicBezTo>
                  <a:lnTo>
                    <a:pt x="13714" y="8062"/>
                  </a:lnTo>
                  <a:cubicBezTo>
                    <a:pt x="13714" y="8062"/>
                    <a:pt x="13718" y="8053"/>
                    <a:pt x="13718" y="8050"/>
                  </a:cubicBezTo>
                  <a:cubicBezTo>
                    <a:pt x="13727" y="8053"/>
                    <a:pt x="13732" y="8064"/>
                    <a:pt x="13742" y="8067"/>
                  </a:cubicBezTo>
                  <a:cubicBezTo>
                    <a:pt x="14003" y="8131"/>
                    <a:pt x="14324" y="7806"/>
                    <a:pt x="14457" y="7340"/>
                  </a:cubicBezTo>
                  <a:cubicBezTo>
                    <a:pt x="14591" y="6875"/>
                    <a:pt x="14488" y="6445"/>
                    <a:pt x="14227" y="6378"/>
                  </a:cubicBezTo>
                  <a:cubicBezTo>
                    <a:pt x="14213" y="6375"/>
                    <a:pt x="14198" y="6384"/>
                    <a:pt x="14185" y="6383"/>
                  </a:cubicBezTo>
                  <a:cubicBezTo>
                    <a:pt x="14359" y="5487"/>
                    <a:pt x="14452" y="4377"/>
                    <a:pt x="14155" y="3416"/>
                  </a:cubicBezTo>
                  <a:cubicBezTo>
                    <a:pt x="13739" y="2061"/>
                    <a:pt x="13265" y="1811"/>
                    <a:pt x="11866" y="1454"/>
                  </a:cubicBezTo>
                  <a:cubicBezTo>
                    <a:pt x="10468" y="1097"/>
                    <a:pt x="9705" y="1427"/>
                    <a:pt x="9387" y="1564"/>
                  </a:cubicBezTo>
                  <a:cubicBezTo>
                    <a:pt x="9069" y="1701"/>
                    <a:pt x="8720" y="2057"/>
                    <a:pt x="8720" y="2057"/>
                  </a:cubicBezTo>
                  <a:cubicBezTo>
                    <a:pt x="8720" y="2057"/>
                    <a:pt x="8275" y="1811"/>
                    <a:pt x="7734" y="2442"/>
                  </a:cubicBezTo>
                  <a:cubicBezTo>
                    <a:pt x="7193" y="3072"/>
                    <a:pt x="7257" y="3374"/>
                    <a:pt x="7257" y="3731"/>
                  </a:cubicBezTo>
                  <a:cubicBezTo>
                    <a:pt x="7257" y="4819"/>
                    <a:pt x="7352" y="5701"/>
                    <a:pt x="7472" y="6383"/>
                  </a:cubicBezTo>
                  <a:cubicBezTo>
                    <a:pt x="7460" y="6384"/>
                    <a:pt x="7447" y="6375"/>
                    <a:pt x="7434" y="6378"/>
                  </a:cubicBezTo>
                  <a:cubicBezTo>
                    <a:pt x="7173" y="6445"/>
                    <a:pt x="7070" y="6875"/>
                    <a:pt x="7203" y="7340"/>
                  </a:cubicBezTo>
                  <a:cubicBezTo>
                    <a:pt x="7337" y="7806"/>
                    <a:pt x="7659" y="8131"/>
                    <a:pt x="7919" y="8067"/>
                  </a:cubicBezTo>
                  <a:cubicBezTo>
                    <a:pt x="7921" y="8067"/>
                    <a:pt x="7922" y="8064"/>
                    <a:pt x="7924" y="8064"/>
                  </a:cubicBezTo>
                  <a:cubicBezTo>
                    <a:pt x="7936" y="8090"/>
                    <a:pt x="7947" y="8116"/>
                    <a:pt x="7947" y="8116"/>
                  </a:cubicBezTo>
                  <a:lnTo>
                    <a:pt x="8018" y="8114"/>
                  </a:lnTo>
                  <a:cubicBezTo>
                    <a:pt x="8257" y="9231"/>
                    <a:pt x="8747" y="10160"/>
                    <a:pt x="9382" y="10734"/>
                  </a:cubicBezTo>
                  <a:lnTo>
                    <a:pt x="9382" y="13154"/>
                  </a:lnTo>
                  <a:cubicBezTo>
                    <a:pt x="8815" y="13507"/>
                    <a:pt x="7939" y="14051"/>
                    <a:pt x="7491" y="14313"/>
                  </a:cubicBezTo>
                  <a:cubicBezTo>
                    <a:pt x="6801" y="14720"/>
                    <a:pt x="5128" y="15195"/>
                    <a:pt x="4364" y="15534"/>
                  </a:cubicBezTo>
                  <a:cubicBezTo>
                    <a:pt x="3602" y="15872"/>
                    <a:pt x="1565" y="16834"/>
                    <a:pt x="1565" y="18759"/>
                  </a:cubicBezTo>
                  <a:cubicBezTo>
                    <a:pt x="1565" y="18951"/>
                    <a:pt x="1851" y="19101"/>
                    <a:pt x="2302" y="19221"/>
                  </a:cubicBezTo>
                  <a:cubicBezTo>
                    <a:pt x="3192" y="19651"/>
                    <a:pt x="6655" y="19974"/>
                    <a:pt x="10799" y="19974"/>
                  </a:cubicBezTo>
                  <a:cubicBezTo>
                    <a:pt x="15023" y="19974"/>
                    <a:pt x="18545" y="19639"/>
                    <a:pt x="19351" y="19196"/>
                  </a:cubicBezTo>
                  <a:cubicBezTo>
                    <a:pt x="19752" y="19079"/>
                    <a:pt x="20007" y="18937"/>
                    <a:pt x="20007" y="18759"/>
                  </a:cubicBezTo>
                  <a:cubicBezTo>
                    <a:pt x="20007" y="16834"/>
                    <a:pt x="17971" y="15872"/>
                    <a:pt x="17208" y="15534"/>
                  </a:cubicBezTo>
                  <a:cubicBezTo>
                    <a:pt x="17208" y="15534"/>
                    <a:pt x="17208" y="15534"/>
                    <a:pt x="17208" y="15534"/>
                  </a:cubicBezTo>
                  <a:close/>
                  <a:moveTo>
                    <a:pt x="10801" y="21294"/>
                  </a:moveTo>
                  <a:cubicBezTo>
                    <a:pt x="4835" y="21294"/>
                    <a:pt x="0" y="20334"/>
                    <a:pt x="0" y="19047"/>
                  </a:cubicBezTo>
                  <a:cubicBezTo>
                    <a:pt x="0" y="19042"/>
                    <a:pt x="1" y="19039"/>
                    <a:pt x="1" y="19035"/>
                  </a:cubicBezTo>
                  <a:cubicBezTo>
                    <a:pt x="1" y="19035"/>
                    <a:pt x="0" y="19033"/>
                    <a:pt x="0" y="19032"/>
                  </a:cubicBezTo>
                  <a:cubicBezTo>
                    <a:pt x="0" y="16644"/>
                    <a:pt x="1977" y="14936"/>
                    <a:pt x="2923" y="14515"/>
                  </a:cubicBezTo>
                  <a:cubicBezTo>
                    <a:pt x="3871" y="14096"/>
                    <a:pt x="5947" y="13507"/>
                    <a:pt x="6803" y="13002"/>
                  </a:cubicBezTo>
                  <a:cubicBezTo>
                    <a:pt x="7660" y="12497"/>
                    <a:pt x="7941" y="12287"/>
                    <a:pt x="7941" y="12287"/>
                  </a:cubicBezTo>
                  <a:cubicBezTo>
                    <a:pt x="7941" y="12287"/>
                    <a:pt x="7947" y="12352"/>
                    <a:pt x="7967" y="12457"/>
                  </a:cubicBezTo>
                  <a:lnTo>
                    <a:pt x="7967" y="11388"/>
                  </a:lnTo>
                  <a:cubicBezTo>
                    <a:pt x="7357" y="10637"/>
                    <a:pt x="6893" y="9650"/>
                    <a:pt x="6640" y="8529"/>
                  </a:cubicBezTo>
                  <a:cubicBezTo>
                    <a:pt x="6634" y="8531"/>
                    <a:pt x="6629" y="8538"/>
                    <a:pt x="6622" y="8540"/>
                  </a:cubicBezTo>
                  <a:cubicBezTo>
                    <a:pt x="6214" y="8643"/>
                    <a:pt x="5712" y="8134"/>
                    <a:pt x="5502" y="7405"/>
                  </a:cubicBezTo>
                  <a:cubicBezTo>
                    <a:pt x="5292" y="6677"/>
                    <a:pt x="5455" y="6003"/>
                    <a:pt x="5863" y="5900"/>
                  </a:cubicBezTo>
                  <a:cubicBezTo>
                    <a:pt x="5889" y="5894"/>
                    <a:pt x="5915" y="5908"/>
                    <a:pt x="5942" y="5906"/>
                  </a:cubicBezTo>
                  <a:cubicBezTo>
                    <a:pt x="5876" y="5100"/>
                    <a:pt x="5793" y="4001"/>
                    <a:pt x="5793" y="3667"/>
                  </a:cubicBezTo>
                  <a:cubicBezTo>
                    <a:pt x="5793" y="3121"/>
                    <a:pt x="5702" y="2659"/>
                    <a:pt x="6468" y="1692"/>
                  </a:cubicBezTo>
                  <a:cubicBezTo>
                    <a:pt x="7236" y="724"/>
                    <a:pt x="7867" y="1103"/>
                    <a:pt x="7867" y="1103"/>
                  </a:cubicBezTo>
                  <a:cubicBezTo>
                    <a:pt x="7867" y="1103"/>
                    <a:pt x="8364" y="639"/>
                    <a:pt x="8815" y="429"/>
                  </a:cubicBezTo>
                  <a:cubicBezTo>
                    <a:pt x="9266" y="219"/>
                    <a:pt x="10348" y="-306"/>
                    <a:pt x="12334" y="239"/>
                  </a:cubicBezTo>
                  <a:cubicBezTo>
                    <a:pt x="14318" y="787"/>
                    <a:pt x="15085" y="1018"/>
                    <a:pt x="15582" y="3121"/>
                  </a:cubicBezTo>
                  <a:cubicBezTo>
                    <a:pt x="15867" y="4333"/>
                    <a:pt x="15821" y="5295"/>
                    <a:pt x="15734" y="5903"/>
                  </a:cubicBezTo>
                  <a:cubicBezTo>
                    <a:pt x="15749" y="5905"/>
                    <a:pt x="15765" y="5897"/>
                    <a:pt x="15780" y="5900"/>
                  </a:cubicBezTo>
                  <a:cubicBezTo>
                    <a:pt x="16190" y="6003"/>
                    <a:pt x="16351" y="6677"/>
                    <a:pt x="16141" y="7405"/>
                  </a:cubicBezTo>
                  <a:cubicBezTo>
                    <a:pt x="15936" y="8120"/>
                    <a:pt x="15451" y="8620"/>
                    <a:pt x="15046" y="8541"/>
                  </a:cubicBezTo>
                  <a:cubicBezTo>
                    <a:pt x="14778" y="9720"/>
                    <a:pt x="14280" y="10747"/>
                    <a:pt x="13622" y="11508"/>
                  </a:cubicBezTo>
                  <a:lnTo>
                    <a:pt x="13622" y="12353"/>
                  </a:lnTo>
                  <a:cubicBezTo>
                    <a:pt x="13629" y="12313"/>
                    <a:pt x="13631" y="12287"/>
                    <a:pt x="13631" y="12287"/>
                  </a:cubicBezTo>
                  <a:cubicBezTo>
                    <a:pt x="13631" y="12287"/>
                    <a:pt x="13913" y="12497"/>
                    <a:pt x="14769" y="13002"/>
                  </a:cubicBezTo>
                  <a:cubicBezTo>
                    <a:pt x="15626" y="13507"/>
                    <a:pt x="17702" y="14096"/>
                    <a:pt x="18648" y="14515"/>
                  </a:cubicBezTo>
                  <a:cubicBezTo>
                    <a:pt x="19573" y="14925"/>
                    <a:pt x="21462" y="16564"/>
                    <a:pt x="21557" y="18859"/>
                  </a:cubicBezTo>
                  <a:cubicBezTo>
                    <a:pt x="21580" y="18921"/>
                    <a:pt x="21599" y="18984"/>
                    <a:pt x="21599" y="19047"/>
                  </a:cubicBezTo>
                  <a:cubicBezTo>
                    <a:pt x="21599" y="20334"/>
                    <a:pt x="16764" y="21294"/>
                    <a:pt x="10801" y="21294"/>
                  </a:cubicBezTo>
                  <a:cubicBezTo>
                    <a:pt x="10801" y="21294"/>
                    <a:pt x="10801" y="21294"/>
                    <a:pt x="10801" y="2129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9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A391C613-7E67-491A-B095-0AF768984D92}"/>
                </a:ext>
              </a:extLst>
            </p:cNvPr>
            <p:cNvSpPr/>
            <p:nvPr/>
          </p:nvSpPr>
          <p:spPr bwMode="auto">
            <a:xfrm>
              <a:off x="7277767" y="1842546"/>
              <a:ext cx="381544" cy="399028"/>
            </a:xfrm>
            <a:custGeom>
              <a:avLst/>
              <a:gdLst>
                <a:gd name="T0" fmla="*/ 59232377 w 21600"/>
                <a:gd name="T1" fmla="*/ 67792521 h 21600"/>
                <a:gd name="T2" fmla="*/ 59232377 w 21600"/>
                <a:gd name="T3" fmla="*/ 67792521 h 21600"/>
                <a:gd name="T4" fmla="*/ 59232377 w 21600"/>
                <a:gd name="T5" fmla="*/ 67792521 h 21600"/>
                <a:gd name="T6" fmla="*/ 59232377 w 21600"/>
                <a:gd name="T7" fmla="*/ 67792521 h 21600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 extrusionOk="0">
                  <a:moveTo>
                    <a:pt x="21600" y="15020"/>
                  </a:moveTo>
                  <a:lnTo>
                    <a:pt x="21600" y="12986"/>
                  </a:lnTo>
                  <a:lnTo>
                    <a:pt x="12524" y="7618"/>
                  </a:lnTo>
                  <a:lnTo>
                    <a:pt x="12524" y="1645"/>
                  </a:lnTo>
                  <a:cubicBezTo>
                    <a:pt x="12524" y="822"/>
                    <a:pt x="11662" y="0"/>
                    <a:pt x="10800" y="0"/>
                  </a:cubicBezTo>
                  <a:cubicBezTo>
                    <a:pt x="9938" y="0"/>
                    <a:pt x="9076" y="822"/>
                    <a:pt x="9076" y="1645"/>
                  </a:cubicBezTo>
                  <a:lnTo>
                    <a:pt x="9076" y="7618"/>
                  </a:lnTo>
                  <a:lnTo>
                    <a:pt x="0" y="12986"/>
                  </a:lnTo>
                  <a:lnTo>
                    <a:pt x="0" y="15020"/>
                  </a:lnTo>
                  <a:lnTo>
                    <a:pt x="9076" y="12337"/>
                  </a:lnTo>
                  <a:lnTo>
                    <a:pt x="9076" y="18310"/>
                  </a:lnTo>
                  <a:lnTo>
                    <a:pt x="6897" y="19955"/>
                  </a:lnTo>
                  <a:lnTo>
                    <a:pt x="6897" y="21600"/>
                  </a:lnTo>
                  <a:lnTo>
                    <a:pt x="10800" y="20604"/>
                  </a:lnTo>
                  <a:lnTo>
                    <a:pt x="14657" y="21600"/>
                  </a:lnTo>
                  <a:lnTo>
                    <a:pt x="14657" y="19955"/>
                  </a:lnTo>
                  <a:lnTo>
                    <a:pt x="12524" y="18310"/>
                  </a:lnTo>
                  <a:lnTo>
                    <a:pt x="12524" y="12337"/>
                  </a:lnTo>
                  <a:lnTo>
                    <a:pt x="21600" y="15020"/>
                  </a:lnTo>
                </a:path>
              </a:pathLst>
            </a:custGeom>
            <a:solidFill>
              <a:schemeClr val="bg1"/>
            </a:solidFill>
            <a:ln w="12700">
              <a:noFill/>
              <a:miter lim="4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ar-IQ" sz="900">
                <a:cs typeface="+mn-ea"/>
                <a:sym typeface="+mn-lt"/>
              </a:endParaRPr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40BEF3D9-3044-403F-8551-1ABFDB8FA694}"/>
                </a:ext>
              </a:extLst>
            </p:cNvPr>
            <p:cNvSpPr/>
            <p:nvPr/>
          </p:nvSpPr>
          <p:spPr bwMode="auto">
            <a:xfrm>
              <a:off x="7242237" y="4685051"/>
              <a:ext cx="452604" cy="257692"/>
            </a:xfrm>
            <a:custGeom>
              <a:avLst/>
              <a:gdLst>
                <a:gd name="T0" fmla="*/ 383382 w 21600"/>
                <a:gd name="T1" fmla="*/ 218281 h 21600"/>
                <a:gd name="T2" fmla="*/ 383382 w 21600"/>
                <a:gd name="T3" fmla="*/ 218281 h 21600"/>
                <a:gd name="T4" fmla="*/ 383382 w 21600"/>
                <a:gd name="T5" fmla="*/ 218281 h 21600"/>
                <a:gd name="T6" fmla="*/ 383382 w 21600"/>
                <a:gd name="T7" fmla="*/ 218281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10792" y="6151"/>
                  </a:moveTo>
                  <a:cubicBezTo>
                    <a:pt x="9330" y="6151"/>
                    <a:pt x="8144" y="8233"/>
                    <a:pt x="8144" y="10798"/>
                  </a:cubicBezTo>
                  <a:cubicBezTo>
                    <a:pt x="8144" y="13365"/>
                    <a:pt x="9330" y="15444"/>
                    <a:pt x="10792" y="15444"/>
                  </a:cubicBezTo>
                  <a:cubicBezTo>
                    <a:pt x="12255" y="15444"/>
                    <a:pt x="13439" y="13365"/>
                    <a:pt x="13439" y="10798"/>
                  </a:cubicBezTo>
                  <a:cubicBezTo>
                    <a:pt x="13439" y="8233"/>
                    <a:pt x="12255" y="6151"/>
                    <a:pt x="10792" y="6151"/>
                  </a:cubicBezTo>
                  <a:cubicBezTo>
                    <a:pt x="10792" y="6151"/>
                    <a:pt x="10792" y="6151"/>
                    <a:pt x="10792" y="6151"/>
                  </a:cubicBezTo>
                  <a:close/>
                  <a:moveTo>
                    <a:pt x="10792" y="16837"/>
                  </a:moveTo>
                  <a:cubicBezTo>
                    <a:pt x="8891" y="16837"/>
                    <a:pt x="7349" y="14133"/>
                    <a:pt x="7349" y="10798"/>
                  </a:cubicBezTo>
                  <a:cubicBezTo>
                    <a:pt x="7349" y="7464"/>
                    <a:pt x="8891" y="4758"/>
                    <a:pt x="10792" y="4758"/>
                  </a:cubicBezTo>
                  <a:cubicBezTo>
                    <a:pt x="12692" y="4758"/>
                    <a:pt x="14234" y="7464"/>
                    <a:pt x="14234" y="10798"/>
                  </a:cubicBezTo>
                  <a:cubicBezTo>
                    <a:pt x="14234" y="14133"/>
                    <a:pt x="12692" y="16837"/>
                    <a:pt x="10792" y="16837"/>
                  </a:cubicBezTo>
                  <a:cubicBezTo>
                    <a:pt x="10792" y="16837"/>
                    <a:pt x="10792" y="16837"/>
                    <a:pt x="10792" y="16837"/>
                  </a:cubicBezTo>
                  <a:close/>
                  <a:moveTo>
                    <a:pt x="10798" y="2529"/>
                  </a:moveTo>
                  <a:cubicBezTo>
                    <a:pt x="7044" y="2529"/>
                    <a:pt x="3731" y="5800"/>
                    <a:pt x="1715" y="10795"/>
                  </a:cubicBezTo>
                  <a:cubicBezTo>
                    <a:pt x="3731" y="15793"/>
                    <a:pt x="7044" y="19062"/>
                    <a:pt x="10798" y="19062"/>
                  </a:cubicBezTo>
                  <a:cubicBezTo>
                    <a:pt x="14554" y="19062"/>
                    <a:pt x="17866" y="15793"/>
                    <a:pt x="19882" y="10795"/>
                  </a:cubicBezTo>
                  <a:cubicBezTo>
                    <a:pt x="17866" y="5800"/>
                    <a:pt x="14554" y="2529"/>
                    <a:pt x="10798" y="2529"/>
                  </a:cubicBezTo>
                  <a:cubicBezTo>
                    <a:pt x="10798" y="2529"/>
                    <a:pt x="10798" y="2529"/>
                    <a:pt x="10798" y="2529"/>
                  </a:cubicBezTo>
                  <a:close/>
                  <a:moveTo>
                    <a:pt x="10799" y="21599"/>
                  </a:moveTo>
                  <a:cubicBezTo>
                    <a:pt x="6203" y="21599"/>
                    <a:pt x="2193" y="17259"/>
                    <a:pt x="0" y="10800"/>
                  </a:cubicBezTo>
                  <a:cubicBezTo>
                    <a:pt x="2193" y="4340"/>
                    <a:pt x="6203" y="0"/>
                    <a:pt x="10799" y="0"/>
                  </a:cubicBezTo>
                  <a:cubicBezTo>
                    <a:pt x="15396" y="0"/>
                    <a:pt x="19406" y="4340"/>
                    <a:pt x="21600" y="10800"/>
                  </a:cubicBezTo>
                  <a:cubicBezTo>
                    <a:pt x="19406" y="17259"/>
                    <a:pt x="15396" y="21599"/>
                    <a:pt x="10799" y="21599"/>
                  </a:cubicBezTo>
                  <a:cubicBezTo>
                    <a:pt x="10799" y="21599"/>
                    <a:pt x="10799" y="21599"/>
                    <a:pt x="10799" y="2159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9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CBA294D7-CF15-4BC2-9483-0EAABCAA7578}"/>
                </a:ext>
              </a:extLst>
            </p:cNvPr>
            <p:cNvSpPr/>
            <p:nvPr/>
          </p:nvSpPr>
          <p:spPr bwMode="auto">
            <a:xfrm>
              <a:off x="669925" y="2388791"/>
              <a:ext cx="2603276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</a:t>
              </a:r>
              <a:r>
                <a:rPr lang="en-US" altLang="zh-CN" sz="1100">
                  <a:cs typeface="+mn-ea"/>
                  <a:sym typeface="+mn-lt"/>
                </a:rPr>
                <a:t>retain text</a:t>
              </a:r>
              <a:r>
                <a:rPr lang="en-US" altLang="zh-CN" sz="1100" dirty="0">
                  <a:cs typeface="+mn-ea"/>
                  <a:sym typeface="+mn-lt"/>
                </a:rPr>
                <a:t>.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49" name="文本框 48">
              <a:extLst>
                <a:ext uri="{FF2B5EF4-FFF2-40B4-BE49-F238E27FC236}">
                  <a16:creationId xmlns:a16="http://schemas.microsoft.com/office/drawing/2014/main" id="{5A9F6787-AD43-4915-8E7C-BD42C105BA8B}"/>
                </a:ext>
              </a:extLst>
            </p:cNvPr>
            <p:cNvSpPr txBox="1"/>
            <p:nvPr/>
          </p:nvSpPr>
          <p:spPr bwMode="auto">
            <a:xfrm>
              <a:off x="669925" y="1799769"/>
              <a:ext cx="2603276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>
                  <a:cs typeface="+mn-ea"/>
                  <a:sym typeface="+mn-lt"/>
                </a:rPr>
                <a:t>Text here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  <p:grpSp>
          <p:nvGrpSpPr>
            <p:cNvPr id="50" name="组合 49">
              <a:extLst>
                <a:ext uri="{FF2B5EF4-FFF2-40B4-BE49-F238E27FC236}">
                  <a16:creationId xmlns:a16="http://schemas.microsoft.com/office/drawing/2014/main" id="{BF439C27-60F3-46F2-AA01-FF2E376EBF92}"/>
                </a:ext>
              </a:extLst>
            </p:cNvPr>
            <p:cNvGrpSpPr/>
            <p:nvPr/>
          </p:nvGrpSpPr>
          <p:grpSpPr>
            <a:xfrm>
              <a:off x="8915624" y="2807528"/>
              <a:ext cx="2603276" cy="1233752"/>
              <a:chOff x="719137" y="1429926"/>
              <a:chExt cx="5376847" cy="1233752"/>
            </a:xfrm>
          </p:grpSpPr>
          <p:sp>
            <p:nvSpPr>
              <p:cNvPr id="59" name="矩形 58">
                <a:extLst>
                  <a:ext uri="{FF2B5EF4-FFF2-40B4-BE49-F238E27FC236}">
                    <a16:creationId xmlns:a16="http://schemas.microsoft.com/office/drawing/2014/main" id="{517B437A-399D-41FD-B9FA-08E9C843325B}"/>
                  </a:ext>
                </a:extLst>
              </p:cNvPr>
              <p:cNvSpPr/>
              <p:nvPr/>
            </p:nvSpPr>
            <p:spPr bwMode="auto">
              <a:xfrm>
                <a:off x="719137" y="1871731"/>
                <a:ext cx="5376847" cy="7919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</a:t>
                </a:r>
                <a:r>
                  <a:rPr lang="en-US" altLang="zh-CN" sz="1100">
                    <a:cs typeface="+mn-ea"/>
                    <a:sym typeface="+mn-lt"/>
                  </a:rPr>
                  <a:t>retain text</a:t>
                </a:r>
                <a:r>
                  <a:rPr lang="en-US" altLang="zh-CN" sz="1100" dirty="0">
                    <a:cs typeface="+mn-ea"/>
                    <a:sym typeface="+mn-lt"/>
                  </a:rPr>
                  <a:t>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60" name="文本框 59">
                <a:extLst>
                  <a:ext uri="{FF2B5EF4-FFF2-40B4-BE49-F238E27FC236}">
                    <a16:creationId xmlns:a16="http://schemas.microsoft.com/office/drawing/2014/main" id="{FD09911A-96D8-466C-93C0-A151F3BCB4A1}"/>
                  </a:ext>
                </a:extLst>
              </p:cNvPr>
              <p:cNvSpPr txBox="1"/>
              <p:nvPr/>
            </p:nvSpPr>
            <p:spPr bwMode="auto">
              <a:xfrm>
                <a:off x="719137" y="1429926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>
                    <a:cs typeface="+mn-ea"/>
                    <a:sym typeface="+mn-lt"/>
                  </a:rPr>
                  <a:t>Text here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51" name="组合 50">
              <a:extLst>
                <a:ext uri="{FF2B5EF4-FFF2-40B4-BE49-F238E27FC236}">
                  <a16:creationId xmlns:a16="http://schemas.microsoft.com/office/drawing/2014/main" id="{C96AF819-1237-4021-986A-8D1F27CA0B0A}"/>
                </a:ext>
              </a:extLst>
            </p:cNvPr>
            <p:cNvGrpSpPr/>
            <p:nvPr/>
          </p:nvGrpSpPr>
          <p:grpSpPr>
            <a:xfrm>
              <a:off x="8045317" y="1425185"/>
              <a:ext cx="3473583" cy="1233752"/>
              <a:chOff x="719137" y="1429926"/>
              <a:chExt cx="5376847" cy="1233752"/>
            </a:xfrm>
          </p:grpSpPr>
          <p:sp>
            <p:nvSpPr>
              <p:cNvPr id="57" name="矩形 56">
                <a:extLst>
                  <a:ext uri="{FF2B5EF4-FFF2-40B4-BE49-F238E27FC236}">
                    <a16:creationId xmlns:a16="http://schemas.microsoft.com/office/drawing/2014/main" id="{2970CFF0-3301-49C9-AD0D-3DC1D9B747AF}"/>
                  </a:ext>
                </a:extLst>
              </p:cNvPr>
              <p:cNvSpPr/>
              <p:nvPr/>
            </p:nvSpPr>
            <p:spPr bwMode="auto">
              <a:xfrm>
                <a:off x="719137" y="1871731"/>
                <a:ext cx="5376847" cy="7919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</a:t>
                </a:r>
                <a:r>
                  <a:rPr lang="en-US" altLang="zh-CN" sz="1100">
                    <a:cs typeface="+mn-ea"/>
                    <a:sym typeface="+mn-lt"/>
                  </a:rPr>
                  <a:t>retain text</a:t>
                </a:r>
                <a:r>
                  <a:rPr lang="en-US" altLang="zh-CN" sz="1100" dirty="0">
                    <a:cs typeface="+mn-ea"/>
                    <a:sym typeface="+mn-lt"/>
                  </a:rPr>
                  <a:t>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58" name="文本框 57">
                <a:extLst>
                  <a:ext uri="{FF2B5EF4-FFF2-40B4-BE49-F238E27FC236}">
                    <a16:creationId xmlns:a16="http://schemas.microsoft.com/office/drawing/2014/main" id="{9A1C510B-A20A-4911-8308-BF2D798C2437}"/>
                  </a:ext>
                </a:extLst>
              </p:cNvPr>
              <p:cNvSpPr txBox="1"/>
              <p:nvPr/>
            </p:nvSpPr>
            <p:spPr bwMode="auto">
              <a:xfrm>
                <a:off x="719137" y="1429926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>
                    <a:cs typeface="+mn-ea"/>
                    <a:sym typeface="+mn-lt"/>
                  </a:rPr>
                  <a:t>Text here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52" name="组合 51">
              <a:extLst>
                <a:ext uri="{FF2B5EF4-FFF2-40B4-BE49-F238E27FC236}">
                  <a16:creationId xmlns:a16="http://schemas.microsoft.com/office/drawing/2014/main" id="{E4774A05-C01B-4D8D-A102-1B189174A2DB}"/>
                </a:ext>
              </a:extLst>
            </p:cNvPr>
            <p:cNvGrpSpPr/>
            <p:nvPr/>
          </p:nvGrpSpPr>
          <p:grpSpPr>
            <a:xfrm>
              <a:off x="8045317" y="4148969"/>
              <a:ext cx="3473583" cy="1233752"/>
              <a:chOff x="719137" y="1429926"/>
              <a:chExt cx="5376847" cy="1233752"/>
            </a:xfrm>
          </p:grpSpPr>
          <p:sp>
            <p:nvSpPr>
              <p:cNvPr id="55" name="矩形 54">
                <a:extLst>
                  <a:ext uri="{FF2B5EF4-FFF2-40B4-BE49-F238E27FC236}">
                    <a16:creationId xmlns:a16="http://schemas.microsoft.com/office/drawing/2014/main" id="{28BDECF9-A923-45F0-8B74-9D680C5888AB}"/>
                  </a:ext>
                </a:extLst>
              </p:cNvPr>
              <p:cNvSpPr/>
              <p:nvPr/>
            </p:nvSpPr>
            <p:spPr bwMode="auto">
              <a:xfrm>
                <a:off x="719137" y="1871731"/>
                <a:ext cx="5376847" cy="7919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</a:t>
                </a:r>
                <a:r>
                  <a:rPr lang="en-US" altLang="zh-CN" sz="1100">
                    <a:cs typeface="+mn-ea"/>
                    <a:sym typeface="+mn-lt"/>
                  </a:rPr>
                  <a:t>retain text</a:t>
                </a:r>
                <a:r>
                  <a:rPr lang="en-US" altLang="zh-CN" sz="1100" dirty="0">
                    <a:cs typeface="+mn-ea"/>
                    <a:sym typeface="+mn-lt"/>
                  </a:rPr>
                  <a:t>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56" name="文本框 55">
                <a:extLst>
                  <a:ext uri="{FF2B5EF4-FFF2-40B4-BE49-F238E27FC236}">
                    <a16:creationId xmlns:a16="http://schemas.microsoft.com/office/drawing/2014/main" id="{35ED0C9D-49DC-4B07-A513-DE88D1ABC721}"/>
                  </a:ext>
                </a:extLst>
              </p:cNvPr>
              <p:cNvSpPr txBox="1"/>
              <p:nvPr/>
            </p:nvSpPr>
            <p:spPr bwMode="auto">
              <a:xfrm>
                <a:off x="719137" y="1429926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>
                    <a:cs typeface="+mn-ea"/>
                    <a:sym typeface="+mn-lt"/>
                  </a:rPr>
                  <a:t>Text here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</p:grpSp>
        <p:sp>
          <p:nvSpPr>
            <p:cNvPr id="53" name="矩形 52">
              <a:extLst>
                <a:ext uri="{FF2B5EF4-FFF2-40B4-BE49-F238E27FC236}">
                  <a16:creationId xmlns:a16="http://schemas.microsoft.com/office/drawing/2014/main" id="{88E416CF-8637-4948-B958-57C0F2F8D879}"/>
                </a:ext>
              </a:extLst>
            </p:cNvPr>
            <p:cNvSpPr/>
            <p:nvPr/>
          </p:nvSpPr>
          <p:spPr bwMode="auto">
            <a:xfrm>
              <a:off x="669925" y="3291531"/>
              <a:ext cx="2603276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</a:t>
              </a:r>
              <a:r>
                <a:rPr lang="en-US" altLang="zh-CN" sz="1100">
                  <a:cs typeface="+mn-ea"/>
                  <a:sym typeface="+mn-lt"/>
                </a:rPr>
                <a:t>retain text</a:t>
              </a:r>
              <a:r>
                <a:rPr lang="en-US" altLang="zh-CN" sz="1100" dirty="0">
                  <a:cs typeface="+mn-ea"/>
                  <a:sym typeface="+mn-lt"/>
                </a:rPr>
                <a:t>.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C52C1448-7B92-4B95-BE17-A8FF59333880}"/>
                </a:ext>
              </a:extLst>
            </p:cNvPr>
            <p:cNvSpPr/>
            <p:nvPr/>
          </p:nvSpPr>
          <p:spPr bwMode="auto">
            <a:xfrm>
              <a:off x="669925" y="4194271"/>
              <a:ext cx="2603276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</a:t>
              </a:r>
              <a:r>
                <a:rPr lang="en-US" altLang="zh-CN" sz="1100">
                  <a:cs typeface="+mn-ea"/>
                  <a:sym typeface="+mn-lt"/>
                </a:rPr>
                <a:t>retain text</a:t>
              </a:r>
              <a:r>
                <a:rPr lang="en-US" altLang="zh-CN" sz="1100" dirty="0">
                  <a:cs typeface="+mn-ea"/>
                  <a:sym typeface="+mn-lt"/>
                </a:rPr>
                <a:t>.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123026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前往公共场所应该怎样预防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9925" y="1410992"/>
            <a:ext cx="10850563" cy="4498014"/>
            <a:chOff x="669925" y="1410992"/>
            <a:chExt cx="10850563" cy="4498014"/>
          </a:xfrm>
        </p:grpSpPr>
        <p:sp>
          <p:nvSpPr>
            <p:cNvPr id="6" name="标注: 右箭头 5">
              <a:extLst>
                <a:ext uri="{FF2B5EF4-FFF2-40B4-BE49-F238E27FC236}">
                  <a16:creationId xmlns:a16="http://schemas.microsoft.com/office/drawing/2014/main" id="{FCBB9E97-02B0-497A-BD8E-CC4A598CCBAE}"/>
                </a:ext>
              </a:extLst>
            </p:cNvPr>
            <p:cNvSpPr/>
            <p:nvPr/>
          </p:nvSpPr>
          <p:spPr>
            <a:xfrm>
              <a:off x="669925" y="2220092"/>
              <a:ext cx="2517427" cy="2875016"/>
            </a:xfrm>
            <a:prstGeom prst="rightArrowCallout">
              <a:avLst>
                <a:gd name="adj1" fmla="val 26060"/>
                <a:gd name="adj2" fmla="val 13030"/>
                <a:gd name="adj3" fmla="val 12635"/>
                <a:gd name="adj4" fmla="val 8100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2800" b="1" i="1">
                  <a:cs typeface="+mn-ea"/>
                  <a:sym typeface="+mn-lt"/>
                </a:rPr>
                <a:t>Te</a:t>
              </a:r>
              <a:r>
                <a:rPr lang="en-US" altLang="zh-CN" sz="100" b="1" i="1">
                  <a:cs typeface="+mn-ea"/>
                  <a:sym typeface="+mn-lt"/>
                </a:rPr>
                <a:t> </a:t>
              </a:r>
              <a:r>
                <a:rPr lang="en-US" altLang="zh-CN" sz="2800" b="1" i="1">
                  <a:cs typeface="+mn-ea"/>
                  <a:sym typeface="+mn-lt"/>
                </a:rPr>
                <a:t>xt </a:t>
              </a:r>
              <a:r>
                <a:rPr lang="en-US" altLang="zh-CN" sz="2800" b="1" i="1" dirty="0">
                  <a:cs typeface="+mn-ea"/>
                  <a:sym typeface="+mn-lt"/>
                </a:rPr>
                <a:t>here</a:t>
              </a:r>
              <a:endParaRPr lang="en-US" sz="2800" b="1" i="1" dirty="0">
                <a:cs typeface="+mn-ea"/>
                <a:sym typeface="+mn-lt"/>
              </a:endParaRPr>
            </a:p>
          </p:txBody>
        </p:sp>
        <p:sp>
          <p:nvSpPr>
            <p:cNvPr id="7" name="箭头: 五边形 6">
              <a:extLst>
                <a:ext uri="{FF2B5EF4-FFF2-40B4-BE49-F238E27FC236}">
                  <a16:creationId xmlns:a16="http://schemas.microsoft.com/office/drawing/2014/main" id="{66B9E057-5AA8-469A-8A56-03A9D1917075}"/>
                </a:ext>
              </a:extLst>
            </p:cNvPr>
            <p:cNvSpPr/>
            <p:nvPr/>
          </p:nvSpPr>
          <p:spPr>
            <a:xfrm>
              <a:off x="4755771" y="1413393"/>
              <a:ext cx="3054729" cy="629357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b="1">
                  <a:solidFill>
                    <a:schemeClr val="tx1"/>
                  </a:solidFill>
                  <a:cs typeface="+mn-ea"/>
                  <a:sym typeface="+mn-lt"/>
                </a:rPr>
                <a:t>Te</a:t>
              </a:r>
              <a:r>
                <a:rPr lang="en-US" altLang="zh-CN" sz="100" b="1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b="1">
                  <a:solidFill>
                    <a:schemeClr val="tx1"/>
                  </a:solidFill>
                  <a:cs typeface="+mn-ea"/>
                  <a:sym typeface="+mn-lt"/>
                </a:rPr>
                <a:t>xt </a:t>
              </a:r>
              <a:r>
                <a:rPr lang="en-US" altLang="zh-CN" b="1" dirty="0">
                  <a:solidFill>
                    <a:schemeClr val="tx1"/>
                  </a:solidFill>
                  <a:cs typeface="+mn-ea"/>
                  <a:sym typeface="+mn-lt"/>
                </a:rPr>
                <a:t>here</a:t>
              </a:r>
              <a:endParaRPr lang="en-US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8" name="箭头: 五边形 7">
              <a:extLst>
                <a:ext uri="{FF2B5EF4-FFF2-40B4-BE49-F238E27FC236}">
                  <a16:creationId xmlns:a16="http://schemas.microsoft.com/office/drawing/2014/main" id="{33E1874B-7678-4637-8C2B-DA86995D683C}"/>
                </a:ext>
              </a:extLst>
            </p:cNvPr>
            <p:cNvSpPr/>
            <p:nvPr/>
          </p:nvSpPr>
          <p:spPr>
            <a:xfrm>
              <a:off x="4755771" y="2378157"/>
              <a:ext cx="3054729" cy="629357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b="1" dirty="0" err="1">
                  <a:solidFill>
                    <a:schemeClr val="tx1"/>
                  </a:solidFill>
                  <a:cs typeface="+mn-ea"/>
                  <a:sym typeface="+mn-lt"/>
                </a:rPr>
                <a:t>Te</a:t>
              </a:r>
              <a:r>
                <a:rPr lang="en-US" altLang="zh-CN" sz="100" b="1" dirty="0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b="1" dirty="0" err="1">
                  <a:solidFill>
                    <a:schemeClr val="tx1"/>
                  </a:solidFill>
                  <a:cs typeface="+mn-ea"/>
                  <a:sym typeface="+mn-lt"/>
                </a:rPr>
                <a:t>xt</a:t>
              </a:r>
              <a:r>
                <a:rPr lang="en-US" altLang="zh-CN" b="1" dirty="0">
                  <a:solidFill>
                    <a:schemeClr val="tx1"/>
                  </a:solidFill>
                  <a:cs typeface="+mn-ea"/>
                  <a:sym typeface="+mn-lt"/>
                </a:rPr>
                <a:t> here</a:t>
              </a:r>
            </a:p>
          </p:txBody>
        </p:sp>
        <p:sp>
          <p:nvSpPr>
            <p:cNvPr id="9" name="箭头: 五边形 8">
              <a:extLst>
                <a:ext uri="{FF2B5EF4-FFF2-40B4-BE49-F238E27FC236}">
                  <a16:creationId xmlns:a16="http://schemas.microsoft.com/office/drawing/2014/main" id="{E4708E33-C03C-41F2-AB93-CDE686C01891}"/>
                </a:ext>
              </a:extLst>
            </p:cNvPr>
            <p:cNvSpPr/>
            <p:nvPr/>
          </p:nvSpPr>
          <p:spPr>
            <a:xfrm>
              <a:off x="4755771" y="4307685"/>
              <a:ext cx="3054729" cy="629357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b="1">
                  <a:solidFill>
                    <a:schemeClr val="tx1"/>
                  </a:solidFill>
                  <a:cs typeface="+mn-ea"/>
                  <a:sym typeface="+mn-lt"/>
                </a:rPr>
                <a:t>Te</a:t>
              </a:r>
              <a:r>
                <a:rPr lang="en-US" altLang="zh-CN" sz="100" b="1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b="1">
                  <a:solidFill>
                    <a:schemeClr val="tx1"/>
                  </a:solidFill>
                  <a:cs typeface="+mn-ea"/>
                  <a:sym typeface="+mn-lt"/>
                </a:rPr>
                <a:t>xt </a:t>
              </a:r>
              <a:r>
                <a:rPr lang="en-US" altLang="zh-CN" b="1" dirty="0">
                  <a:solidFill>
                    <a:schemeClr val="tx1"/>
                  </a:solidFill>
                  <a:cs typeface="+mn-ea"/>
                  <a:sym typeface="+mn-lt"/>
                </a:rPr>
                <a:t>here</a:t>
              </a:r>
            </a:p>
          </p:txBody>
        </p:sp>
        <p:sp>
          <p:nvSpPr>
            <p:cNvPr id="10" name="箭头: 五边形 9">
              <a:extLst>
                <a:ext uri="{FF2B5EF4-FFF2-40B4-BE49-F238E27FC236}">
                  <a16:creationId xmlns:a16="http://schemas.microsoft.com/office/drawing/2014/main" id="{B48B7E20-CBF7-4DF0-B2C0-FCB6E6F6950A}"/>
                </a:ext>
              </a:extLst>
            </p:cNvPr>
            <p:cNvSpPr/>
            <p:nvPr/>
          </p:nvSpPr>
          <p:spPr>
            <a:xfrm>
              <a:off x="4755771" y="5272450"/>
              <a:ext cx="3054729" cy="629357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b="1">
                  <a:solidFill>
                    <a:schemeClr val="tx1"/>
                  </a:solidFill>
                  <a:cs typeface="+mn-ea"/>
                  <a:sym typeface="+mn-lt"/>
                </a:rPr>
                <a:t>Te</a:t>
              </a:r>
              <a:r>
                <a:rPr lang="en-US" altLang="zh-CN" sz="100" b="1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b="1">
                  <a:solidFill>
                    <a:schemeClr val="tx1"/>
                  </a:solidFill>
                  <a:cs typeface="+mn-ea"/>
                  <a:sym typeface="+mn-lt"/>
                </a:rPr>
                <a:t>xt </a:t>
              </a:r>
              <a:r>
                <a:rPr lang="en-US" altLang="zh-CN" b="1" dirty="0">
                  <a:solidFill>
                    <a:schemeClr val="tx1"/>
                  </a:solidFill>
                  <a:cs typeface="+mn-ea"/>
                  <a:sym typeface="+mn-lt"/>
                </a:rPr>
                <a:t>here</a:t>
              </a:r>
            </a:p>
          </p:txBody>
        </p:sp>
        <p:sp>
          <p:nvSpPr>
            <p:cNvPr id="11" name="箭头: 五边形 10">
              <a:extLst>
                <a:ext uri="{FF2B5EF4-FFF2-40B4-BE49-F238E27FC236}">
                  <a16:creationId xmlns:a16="http://schemas.microsoft.com/office/drawing/2014/main" id="{8CAA3D72-6CBC-40B9-B760-775CE07BA3E6}"/>
                </a:ext>
              </a:extLst>
            </p:cNvPr>
            <p:cNvSpPr/>
            <p:nvPr/>
          </p:nvSpPr>
          <p:spPr>
            <a:xfrm>
              <a:off x="4755771" y="3342921"/>
              <a:ext cx="3054729" cy="629357"/>
            </a:xfrm>
            <a:prstGeom prst="homePlat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b="1">
                  <a:solidFill>
                    <a:schemeClr val="bg1"/>
                  </a:solidFill>
                  <a:cs typeface="+mn-ea"/>
                  <a:sym typeface="+mn-lt"/>
                </a:rPr>
                <a:t>Te</a:t>
              </a:r>
              <a:r>
                <a:rPr lang="en-US" altLang="zh-CN" sz="100" b="1" dirty="0">
                  <a:solidFill>
                    <a:schemeClr val="bg1"/>
                  </a:solidFill>
                  <a:cs typeface="+mn-ea"/>
                  <a:sym typeface="+mn-lt"/>
                </a:rPr>
                <a:t> </a:t>
              </a:r>
              <a:r>
                <a:rPr lang="en-US" altLang="zh-CN" b="1" dirty="0" err="1">
                  <a:solidFill>
                    <a:schemeClr val="bg1"/>
                  </a:solidFill>
                  <a:cs typeface="+mn-ea"/>
                  <a:sym typeface="+mn-lt"/>
                </a:rPr>
                <a:t>xt</a:t>
              </a:r>
              <a:r>
                <a:rPr lang="en-US" altLang="zh-CN" b="1" dirty="0">
                  <a:solidFill>
                    <a:schemeClr val="bg1"/>
                  </a:solidFill>
                  <a:cs typeface="+mn-ea"/>
                  <a:sym typeface="+mn-lt"/>
                </a:rPr>
                <a:t> here</a:t>
              </a:r>
            </a:p>
          </p:txBody>
        </p:sp>
        <p:cxnSp>
          <p:nvCxnSpPr>
            <p:cNvPr id="12" name="连接符: 肘形 11">
              <a:extLst>
                <a:ext uri="{FF2B5EF4-FFF2-40B4-BE49-F238E27FC236}">
                  <a16:creationId xmlns:a16="http://schemas.microsoft.com/office/drawing/2014/main" id="{5A4EF5D7-40A1-4E2E-8204-4380A88168F2}"/>
                </a:ext>
              </a:extLst>
            </p:cNvPr>
            <p:cNvCxnSpPr>
              <a:cxnSpLocks/>
              <a:stCxn id="6" idx="3"/>
              <a:endCxn id="7" idx="1"/>
            </p:cNvCxnSpPr>
            <p:nvPr/>
          </p:nvCxnSpPr>
          <p:spPr>
            <a:xfrm flipV="1">
              <a:off x="3187352" y="1728072"/>
              <a:ext cx="1568419" cy="1929528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连接符: 肘形 12">
              <a:extLst>
                <a:ext uri="{FF2B5EF4-FFF2-40B4-BE49-F238E27FC236}">
                  <a16:creationId xmlns:a16="http://schemas.microsoft.com/office/drawing/2014/main" id="{C4F13A9A-8508-415C-9C38-FEF012243B9F}"/>
                </a:ext>
              </a:extLst>
            </p:cNvPr>
            <p:cNvCxnSpPr>
              <a:cxnSpLocks/>
              <a:stCxn id="6" idx="3"/>
              <a:endCxn id="10" idx="1"/>
            </p:cNvCxnSpPr>
            <p:nvPr/>
          </p:nvCxnSpPr>
          <p:spPr>
            <a:xfrm>
              <a:off x="3187352" y="3657600"/>
              <a:ext cx="1568419" cy="1929529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连接符: 肘形 13">
              <a:extLst>
                <a:ext uri="{FF2B5EF4-FFF2-40B4-BE49-F238E27FC236}">
                  <a16:creationId xmlns:a16="http://schemas.microsoft.com/office/drawing/2014/main" id="{41BB7373-B4C2-4DDE-A147-39793283E698}"/>
                </a:ext>
              </a:extLst>
            </p:cNvPr>
            <p:cNvCxnSpPr>
              <a:cxnSpLocks/>
              <a:stCxn id="6" idx="3"/>
              <a:endCxn id="8" idx="1"/>
            </p:cNvCxnSpPr>
            <p:nvPr/>
          </p:nvCxnSpPr>
          <p:spPr>
            <a:xfrm flipV="1">
              <a:off x="3187352" y="2692836"/>
              <a:ext cx="1568419" cy="964764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连接符: 肘形 14">
              <a:extLst>
                <a:ext uri="{FF2B5EF4-FFF2-40B4-BE49-F238E27FC236}">
                  <a16:creationId xmlns:a16="http://schemas.microsoft.com/office/drawing/2014/main" id="{0E053261-B1B2-48D2-9B6E-D655075DDE6C}"/>
                </a:ext>
              </a:extLst>
            </p:cNvPr>
            <p:cNvCxnSpPr>
              <a:cxnSpLocks/>
              <a:stCxn id="6" idx="3"/>
              <a:endCxn id="9" idx="1"/>
            </p:cNvCxnSpPr>
            <p:nvPr/>
          </p:nvCxnSpPr>
          <p:spPr>
            <a:xfrm>
              <a:off x="3187352" y="3657600"/>
              <a:ext cx="1568419" cy="964764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箭头连接符 15">
              <a:extLst>
                <a:ext uri="{FF2B5EF4-FFF2-40B4-BE49-F238E27FC236}">
                  <a16:creationId xmlns:a16="http://schemas.microsoft.com/office/drawing/2014/main" id="{C9D06BC6-DA19-4321-8866-A359D002200C}"/>
                </a:ext>
              </a:extLst>
            </p:cNvPr>
            <p:cNvCxnSpPr>
              <a:cxnSpLocks/>
              <a:stCxn id="6" idx="3"/>
              <a:endCxn id="11" idx="1"/>
            </p:cNvCxnSpPr>
            <p:nvPr/>
          </p:nvCxnSpPr>
          <p:spPr>
            <a:xfrm>
              <a:off x="3187352" y="3657600"/>
              <a:ext cx="1568419" cy="0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EA5EBD6D-73E7-40F5-8045-47903A9853D1}"/>
                </a:ext>
              </a:extLst>
            </p:cNvPr>
            <p:cNvSpPr/>
            <p:nvPr/>
          </p:nvSpPr>
          <p:spPr bwMode="auto">
            <a:xfrm>
              <a:off x="1447759" y="2753820"/>
              <a:ext cx="508042" cy="507388"/>
            </a:xfrm>
            <a:custGeom>
              <a:avLst/>
              <a:gdLst>
                <a:gd name="connsiteX0" fmla="*/ 78107 w 605170"/>
                <a:gd name="connsiteY0" fmla="*/ 178439 h 604391"/>
                <a:gd name="connsiteX1" fmla="*/ 103181 w 605170"/>
                <a:gd name="connsiteY1" fmla="*/ 189809 h 604391"/>
                <a:gd name="connsiteX2" fmla="*/ 131457 w 605170"/>
                <a:gd name="connsiteY2" fmla="*/ 217950 h 604391"/>
                <a:gd name="connsiteX3" fmla="*/ 158975 w 605170"/>
                <a:gd name="connsiteY3" fmla="*/ 245332 h 604391"/>
                <a:gd name="connsiteX4" fmla="*/ 159070 w 605170"/>
                <a:gd name="connsiteY4" fmla="*/ 296497 h 604391"/>
                <a:gd name="connsiteX5" fmla="*/ 124531 w 605170"/>
                <a:gd name="connsiteY5" fmla="*/ 330891 h 604391"/>
                <a:gd name="connsiteX6" fmla="*/ 122728 w 605170"/>
                <a:gd name="connsiteY6" fmla="*/ 340082 h 604391"/>
                <a:gd name="connsiteX7" fmla="*/ 154041 w 605170"/>
                <a:gd name="connsiteY7" fmla="*/ 390110 h 604391"/>
                <a:gd name="connsiteX8" fmla="*/ 241433 w 605170"/>
                <a:gd name="connsiteY8" fmla="*/ 469605 h 604391"/>
                <a:gd name="connsiteX9" fmla="*/ 264301 w 605170"/>
                <a:gd name="connsiteY9" fmla="*/ 481638 h 604391"/>
                <a:gd name="connsiteX10" fmla="*/ 273979 w 605170"/>
                <a:gd name="connsiteY10" fmla="*/ 479838 h 604391"/>
                <a:gd name="connsiteX11" fmla="*/ 308898 w 605170"/>
                <a:gd name="connsiteY11" fmla="*/ 444875 h 604391"/>
                <a:gd name="connsiteX12" fmla="*/ 358809 w 605170"/>
                <a:gd name="connsiteY12" fmla="*/ 444875 h 604391"/>
                <a:gd name="connsiteX13" fmla="*/ 414888 w 605170"/>
                <a:gd name="connsiteY13" fmla="*/ 500967 h 604391"/>
                <a:gd name="connsiteX14" fmla="*/ 414604 w 605170"/>
                <a:gd name="connsiteY14" fmla="*/ 551753 h 604391"/>
                <a:gd name="connsiteX15" fmla="*/ 382721 w 605170"/>
                <a:gd name="connsiteY15" fmla="*/ 583778 h 604391"/>
                <a:gd name="connsiteX16" fmla="*/ 328825 w 605170"/>
                <a:gd name="connsiteY16" fmla="*/ 604244 h 604391"/>
                <a:gd name="connsiteX17" fmla="*/ 243046 w 605170"/>
                <a:gd name="connsiteY17" fmla="*/ 579420 h 604391"/>
                <a:gd name="connsiteX18" fmla="*/ 88378 w 605170"/>
                <a:gd name="connsiteY18" fmla="*/ 458519 h 604391"/>
                <a:gd name="connsiteX19" fmla="*/ 12847 w 605170"/>
                <a:gd name="connsiteY19" fmla="*/ 332881 h 604391"/>
                <a:gd name="connsiteX20" fmla="*/ 322 w 605170"/>
                <a:gd name="connsiteY20" fmla="*/ 262956 h 604391"/>
                <a:gd name="connsiteX21" fmla="*/ 18161 w 605170"/>
                <a:gd name="connsiteY21" fmla="*/ 224487 h 604391"/>
                <a:gd name="connsiteX22" fmla="*/ 53175 w 605170"/>
                <a:gd name="connsiteY22" fmla="*/ 189809 h 604391"/>
                <a:gd name="connsiteX23" fmla="*/ 78107 w 605170"/>
                <a:gd name="connsiteY23" fmla="*/ 178439 h 604391"/>
                <a:gd name="connsiteX24" fmla="*/ 413491 w 605170"/>
                <a:gd name="connsiteY24" fmla="*/ 57616 h 604391"/>
                <a:gd name="connsiteX25" fmla="*/ 279505 w 605170"/>
                <a:gd name="connsiteY25" fmla="*/ 191421 h 604391"/>
                <a:gd name="connsiteX26" fmla="*/ 302469 w 605170"/>
                <a:gd name="connsiteY26" fmla="*/ 214259 h 604391"/>
                <a:gd name="connsiteX27" fmla="*/ 325338 w 605170"/>
                <a:gd name="connsiteY27" fmla="*/ 191421 h 604391"/>
                <a:gd name="connsiteX28" fmla="*/ 413396 w 605170"/>
                <a:gd name="connsiteY28" fmla="*/ 103481 h 604391"/>
                <a:gd name="connsiteX29" fmla="*/ 436454 w 605170"/>
                <a:gd name="connsiteY29" fmla="*/ 80454 h 604391"/>
                <a:gd name="connsiteX30" fmla="*/ 413491 w 605170"/>
                <a:gd name="connsiteY30" fmla="*/ 57616 h 604391"/>
                <a:gd name="connsiteX31" fmla="*/ 413396 w 605170"/>
                <a:gd name="connsiteY31" fmla="*/ 0 h 604391"/>
                <a:gd name="connsiteX32" fmla="*/ 605170 w 605170"/>
                <a:gd name="connsiteY32" fmla="*/ 191326 h 604391"/>
                <a:gd name="connsiteX33" fmla="*/ 413491 w 605170"/>
                <a:gd name="connsiteY33" fmla="*/ 382747 h 604391"/>
                <a:gd name="connsiteX34" fmla="*/ 315184 w 605170"/>
                <a:gd name="connsiteY34" fmla="*/ 355645 h 604391"/>
                <a:gd name="connsiteX35" fmla="*/ 236520 w 605170"/>
                <a:gd name="connsiteY35" fmla="*/ 376303 h 604391"/>
                <a:gd name="connsiteX36" fmla="*/ 234337 w 605170"/>
                <a:gd name="connsiteY36" fmla="*/ 362373 h 604391"/>
                <a:gd name="connsiteX37" fmla="*/ 272199 w 605170"/>
                <a:gd name="connsiteY37" fmla="*/ 320772 h 604391"/>
                <a:gd name="connsiteX38" fmla="*/ 221717 w 605170"/>
                <a:gd name="connsiteY38" fmla="*/ 191421 h 604391"/>
                <a:gd name="connsiteX39" fmla="*/ 413396 w 605170"/>
                <a:gd name="connsiteY39" fmla="*/ 0 h 604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05170" h="604391">
                  <a:moveTo>
                    <a:pt x="78107" y="178439"/>
                  </a:moveTo>
                  <a:cubicBezTo>
                    <a:pt x="86765" y="178439"/>
                    <a:pt x="95448" y="182229"/>
                    <a:pt x="103181" y="189809"/>
                  </a:cubicBezTo>
                  <a:cubicBezTo>
                    <a:pt x="112764" y="199000"/>
                    <a:pt x="121969" y="208475"/>
                    <a:pt x="131457" y="217950"/>
                  </a:cubicBezTo>
                  <a:cubicBezTo>
                    <a:pt x="140567" y="227046"/>
                    <a:pt x="149866" y="236142"/>
                    <a:pt x="158975" y="245332"/>
                  </a:cubicBezTo>
                  <a:cubicBezTo>
                    <a:pt x="175011" y="261629"/>
                    <a:pt x="175011" y="280484"/>
                    <a:pt x="159070" y="296497"/>
                  </a:cubicBezTo>
                  <a:cubicBezTo>
                    <a:pt x="147683" y="308057"/>
                    <a:pt x="136202" y="319616"/>
                    <a:pt x="124531" y="330891"/>
                  </a:cubicBezTo>
                  <a:cubicBezTo>
                    <a:pt x="121494" y="333923"/>
                    <a:pt x="121209" y="336292"/>
                    <a:pt x="122728" y="340082"/>
                  </a:cubicBezTo>
                  <a:cubicBezTo>
                    <a:pt x="130319" y="358463"/>
                    <a:pt x="141515" y="374855"/>
                    <a:pt x="154041" y="390110"/>
                  </a:cubicBezTo>
                  <a:cubicBezTo>
                    <a:pt x="179186" y="420998"/>
                    <a:pt x="207558" y="448381"/>
                    <a:pt x="241433" y="469605"/>
                  </a:cubicBezTo>
                  <a:cubicBezTo>
                    <a:pt x="248739" y="474153"/>
                    <a:pt x="256710" y="477564"/>
                    <a:pt x="264301" y="481638"/>
                  </a:cubicBezTo>
                  <a:cubicBezTo>
                    <a:pt x="268096" y="483722"/>
                    <a:pt x="270753" y="482964"/>
                    <a:pt x="273979" y="479838"/>
                  </a:cubicBezTo>
                  <a:cubicBezTo>
                    <a:pt x="285461" y="467994"/>
                    <a:pt x="297227" y="456435"/>
                    <a:pt x="308898" y="444875"/>
                  </a:cubicBezTo>
                  <a:cubicBezTo>
                    <a:pt x="324175" y="429715"/>
                    <a:pt x="343438" y="429715"/>
                    <a:pt x="358809" y="444875"/>
                  </a:cubicBezTo>
                  <a:cubicBezTo>
                    <a:pt x="377597" y="463446"/>
                    <a:pt x="396290" y="482112"/>
                    <a:pt x="414888" y="500967"/>
                  </a:cubicBezTo>
                  <a:cubicBezTo>
                    <a:pt x="430450" y="516601"/>
                    <a:pt x="430355" y="535929"/>
                    <a:pt x="414604" y="551753"/>
                  </a:cubicBezTo>
                  <a:cubicBezTo>
                    <a:pt x="403976" y="562459"/>
                    <a:pt x="392779" y="572598"/>
                    <a:pt x="382721" y="583778"/>
                  </a:cubicBezTo>
                  <a:cubicBezTo>
                    <a:pt x="368203" y="600075"/>
                    <a:pt x="349890" y="605381"/>
                    <a:pt x="328825" y="604244"/>
                  </a:cubicBezTo>
                  <a:cubicBezTo>
                    <a:pt x="298366" y="602633"/>
                    <a:pt x="270184" y="592495"/>
                    <a:pt x="243046" y="579420"/>
                  </a:cubicBezTo>
                  <a:cubicBezTo>
                    <a:pt x="182887" y="550237"/>
                    <a:pt x="131362" y="509684"/>
                    <a:pt x="88378" y="458519"/>
                  </a:cubicBezTo>
                  <a:cubicBezTo>
                    <a:pt x="56496" y="420619"/>
                    <a:pt x="30117" y="379403"/>
                    <a:pt x="12847" y="332881"/>
                  </a:cubicBezTo>
                  <a:cubicBezTo>
                    <a:pt x="4497" y="310331"/>
                    <a:pt x="-1481" y="287306"/>
                    <a:pt x="322" y="262956"/>
                  </a:cubicBezTo>
                  <a:cubicBezTo>
                    <a:pt x="1461" y="247890"/>
                    <a:pt x="6964" y="235099"/>
                    <a:pt x="18161" y="224487"/>
                  </a:cubicBezTo>
                  <a:cubicBezTo>
                    <a:pt x="30022" y="213307"/>
                    <a:pt x="41408" y="201274"/>
                    <a:pt x="53175" y="189809"/>
                  </a:cubicBezTo>
                  <a:cubicBezTo>
                    <a:pt x="60814" y="182229"/>
                    <a:pt x="69448" y="178439"/>
                    <a:pt x="78107" y="178439"/>
                  </a:cubicBezTo>
                  <a:close/>
                  <a:moveTo>
                    <a:pt x="413491" y="57616"/>
                  </a:moveTo>
                  <a:cubicBezTo>
                    <a:pt x="339666" y="57616"/>
                    <a:pt x="279505" y="117601"/>
                    <a:pt x="279505" y="191421"/>
                  </a:cubicBezTo>
                  <a:cubicBezTo>
                    <a:pt x="279505" y="204024"/>
                    <a:pt x="289754" y="214259"/>
                    <a:pt x="302469" y="214259"/>
                  </a:cubicBezTo>
                  <a:cubicBezTo>
                    <a:pt x="315089" y="214259"/>
                    <a:pt x="325338" y="204024"/>
                    <a:pt x="325338" y="191421"/>
                  </a:cubicBezTo>
                  <a:cubicBezTo>
                    <a:pt x="325338" y="142902"/>
                    <a:pt x="364812" y="103481"/>
                    <a:pt x="413396" y="103481"/>
                  </a:cubicBezTo>
                  <a:cubicBezTo>
                    <a:pt x="426017" y="103481"/>
                    <a:pt x="436265" y="93247"/>
                    <a:pt x="436454" y="80454"/>
                  </a:cubicBezTo>
                  <a:cubicBezTo>
                    <a:pt x="436454" y="67850"/>
                    <a:pt x="426206" y="57616"/>
                    <a:pt x="413491" y="57616"/>
                  </a:cubicBezTo>
                  <a:close/>
                  <a:moveTo>
                    <a:pt x="413396" y="0"/>
                  </a:moveTo>
                  <a:cubicBezTo>
                    <a:pt x="519294" y="0"/>
                    <a:pt x="605075" y="85760"/>
                    <a:pt x="605170" y="191326"/>
                  </a:cubicBezTo>
                  <a:cubicBezTo>
                    <a:pt x="605170" y="297081"/>
                    <a:pt x="519389" y="382747"/>
                    <a:pt x="413491" y="382747"/>
                  </a:cubicBezTo>
                  <a:cubicBezTo>
                    <a:pt x="377622" y="382747"/>
                    <a:pt x="343936" y="372892"/>
                    <a:pt x="315184" y="355645"/>
                  </a:cubicBezTo>
                  <a:cubicBezTo>
                    <a:pt x="287097" y="376019"/>
                    <a:pt x="257396" y="379525"/>
                    <a:pt x="236520" y="376303"/>
                  </a:cubicBezTo>
                  <a:cubicBezTo>
                    <a:pt x="229403" y="375166"/>
                    <a:pt x="227885" y="365500"/>
                    <a:pt x="234337" y="362373"/>
                  </a:cubicBezTo>
                  <a:cubicBezTo>
                    <a:pt x="252841" y="353371"/>
                    <a:pt x="264892" y="335745"/>
                    <a:pt x="272199" y="320772"/>
                  </a:cubicBezTo>
                  <a:cubicBezTo>
                    <a:pt x="240790" y="286847"/>
                    <a:pt x="221717" y="241361"/>
                    <a:pt x="221717" y="191421"/>
                  </a:cubicBezTo>
                  <a:cubicBezTo>
                    <a:pt x="221717" y="85666"/>
                    <a:pt x="307498" y="0"/>
                    <a:pt x="41339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B54DD809-0E44-4107-B578-9BA3A06487EB}"/>
                </a:ext>
              </a:extLst>
            </p:cNvPr>
            <p:cNvSpPr/>
            <p:nvPr/>
          </p:nvSpPr>
          <p:spPr bwMode="auto">
            <a:xfrm>
              <a:off x="8001000" y="1410992"/>
              <a:ext cx="3519488" cy="629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</a:t>
              </a:r>
              <a:r>
                <a:rPr lang="en-US" altLang="zh-CN" sz="1100">
                  <a:cs typeface="+mn-ea"/>
                  <a:sym typeface="+mn-lt"/>
                </a:rPr>
                <a:t>paste f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onts</a:t>
              </a:r>
              <a:r>
                <a:rPr lang="en-US" altLang="zh-CN" sz="1100" dirty="0">
                  <a:cs typeface="+mn-ea"/>
                  <a:sym typeface="+mn-lt"/>
                </a:rPr>
                <a:t>. Choose the only option to retain text……</a:t>
              </a: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940F8B8D-C970-4C04-B2CD-95E362FC0D81}"/>
                </a:ext>
              </a:extLst>
            </p:cNvPr>
            <p:cNvSpPr/>
            <p:nvPr/>
          </p:nvSpPr>
          <p:spPr bwMode="auto">
            <a:xfrm>
              <a:off x="8001000" y="2378156"/>
              <a:ext cx="3519488" cy="629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</a:t>
              </a:r>
              <a:r>
                <a:rPr lang="en-US" altLang="zh-CN" sz="1100">
                  <a:cs typeface="+mn-ea"/>
                  <a:sym typeface="+mn-lt"/>
                </a:rPr>
                <a:t>paste f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onts</a:t>
              </a:r>
              <a:r>
                <a:rPr lang="en-US" altLang="zh-CN" sz="1100" dirty="0">
                  <a:cs typeface="+mn-ea"/>
                  <a:sym typeface="+mn-lt"/>
                </a:rPr>
                <a:t>. Choose the only option to retain text……</a:t>
              </a: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790B3E31-9081-4218-8CDE-FA276984A3B0}"/>
                </a:ext>
              </a:extLst>
            </p:cNvPr>
            <p:cNvSpPr/>
            <p:nvPr/>
          </p:nvSpPr>
          <p:spPr bwMode="auto">
            <a:xfrm>
              <a:off x="8001000" y="3345320"/>
              <a:ext cx="3519488" cy="629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</a:t>
              </a:r>
              <a:r>
                <a:rPr lang="en-US" altLang="zh-CN" sz="1100">
                  <a:cs typeface="+mn-ea"/>
                  <a:sym typeface="+mn-lt"/>
                </a:rPr>
                <a:t>paste f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onts</a:t>
              </a:r>
              <a:r>
                <a:rPr lang="en-US" altLang="zh-CN" sz="1100" dirty="0">
                  <a:cs typeface="+mn-ea"/>
                  <a:sym typeface="+mn-lt"/>
                </a:rPr>
                <a:t>. Choose the only option to retain text……</a:t>
              </a:r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909BF763-1828-41EC-ACAC-B45825B65905}"/>
                </a:ext>
              </a:extLst>
            </p:cNvPr>
            <p:cNvSpPr/>
            <p:nvPr/>
          </p:nvSpPr>
          <p:spPr bwMode="auto">
            <a:xfrm>
              <a:off x="8001000" y="4312484"/>
              <a:ext cx="3519488" cy="629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</a:t>
              </a:r>
              <a:r>
                <a:rPr lang="en-US" altLang="zh-CN" sz="1100">
                  <a:cs typeface="+mn-ea"/>
                  <a:sym typeface="+mn-lt"/>
                </a:rPr>
                <a:t>paste f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onts</a:t>
              </a:r>
              <a:r>
                <a:rPr lang="en-US" altLang="zh-CN" sz="1100" dirty="0">
                  <a:cs typeface="+mn-ea"/>
                  <a:sym typeface="+mn-lt"/>
                </a:rPr>
                <a:t>. Choose the only option to retain text……</a:t>
              </a: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C6B781CF-EF48-4896-BAC7-BC1D0CC950C6}"/>
                </a:ext>
              </a:extLst>
            </p:cNvPr>
            <p:cNvSpPr/>
            <p:nvPr/>
          </p:nvSpPr>
          <p:spPr bwMode="auto">
            <a:xfrm>
              <a:off x="8001000" y="5279648"/>
              <a:ext cx="3519488" cy="629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</a:t>
              </a:r>
              <a:r>
                <a:rPr lang="en-US" altLang="zh-CN" sz="1100">
                  <a:cs typeface="+mn-ea"/>
                  <a:sym typeface="+mn-lt"/>
                </a:rPr>
                <a:t>paste f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onts</a:t>
              </a:r>
              <a:r>
                <a:rPr lang="en-US" altLang="zh-CN" sz="1100" dirty="0">
                  <a:cs typeface="+mn-ea"/>
                  <a:sym typeface="+mn-lt"/>
                </a:rPr>
                <a:t>. Choose the only option to retain text…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62001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512149" y="2951599"/>
            <a:ext cx="5572087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轻症发热病例的居家隔离建议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653575" y="23868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05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09599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轻症发热病例的居家隔离建议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73100" y="1123950"/>
            <a:ext cx="10845800" cy="5022850"/>
            <a:chOff x="673100" y="1123950"/>
            <a:chExt cx="10845800" cy="5022850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D1138D15-66FE-4030-A681-6831A354E628}"/>
                </a:ext>
              </a:extLst>
            </p:cNvPr>
            <p:cNvGrpSpPr/>
            <p:nvPr/>
          </p:nvGrpSpPr>
          <p:grpSpPr>
            <a:xfrm>
              <a:off x="4284771" y="1123950"/>
              <a:ext cx="3622457" cy="2720357"/>
              <a:chOff x="4284772" y="2286387"/>
              <a:chExt cx="3622457" cy="2720357"/>
            </a:xfrm>
          </p:grpSpPr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7E6D9122-4AE6-42BB-9643-E152297CF10E}"/>
                  </a:ext>
                </a:extLst>
              </p:cNvPr>
              <p:cNvSpPr/>
              <p:nvPr/>
            </p:nvSpPr>
            <p:spPr bwMode="auto">
              <a:xfrm>
                <a:off x="4284772" y="2286387"/>
                <a:ext cx="3622457" cy="2720357"/>
              </a:xfrm>
              <a:custGeom>
                <a:avLst/>
                <a:gdLst>
                  <a:gd name="connsiteX0" fmla="*/ 3683000 w 4500563"/>
                  <a:gd name="connsiteY0" fmla="*/ 1835150 h 3379788"/>
                  <a:gd name="connsiteX1" fmla="*/ 3900487 w 4500563"/>
                  <a:gd name="connsiteY1" fmla="*/ 2054832 h 3379788"/>
                  <a:gd name="connsiteX2" fmla="*/ 3900487 w 4500563"/>
                  <a:gd name="connsiteY2" fmla="*/ 3160106 h 3379788"/>
                  <a:gd name="connsiteX3" fmla="*/ 3683000 w 4500563"/>
                  <a:gd name="connsiteY3" fmla="*/ 3379788 h 3379788"/>
                  <a:gd name="connsiteX4" fmla="*/ 3465512 w 4500563"/>
                  <a:gd name="connsiteY4" fmla="*/ 3160106 h 3379788"/>
                  <a:gd name="connsiteX5" fmla="*/ 3465512 w 4500563"/>
                  <a:gd name="connsiteY5" fmla="*/ 2054832 h 3379788"/>
                  <a:gd name="connsiteX6" fmla="*/ 3683000 w 4500563"/>
                  <a:gd name="connsiteY6" fmla="*/ 1835150 h 3379788"/>
                  <a:gd name="connsiteX7" fmla="*/ 819149 w 4500563"/>
                  <a:gd name="connsiteY7" fmla="*/ 1835150 h 3379788"/>
                  <a:gd name="connsiteX8" fmla="*/ 1036637 w 4500563"/>
                  <a:gd name="connsiteY8" fmla="*/ 2054832 h 3379788"/>
                  <a:gd name="connsiteX9" fmla="*/ 1036637 w 4500563"/>
                  <a:gd name="connsiteY9" fmla="*/ 3160106 h 3379788"/>
                  <a:gd name="connsiteX10" fmla="*/ 819149 w 4500563"/>
                  <a:gd name="connsiteY10" fmla="*/ 3379788 h 3379788"/>
                  <a:gd name="connsiteX11" fmla="*/ 601662 w 4500563"/>
                  <a:gd name="connsiteY11" fmla="*/ 3160106 h 3379788"/>
                  <a:gd name="connsiteX12" fmla="*/ 601662 w 4500563"/>
                  <a:gd name="connsiteY12" fmla="*/ 2054832 h 3379788"/>
                  <a:gd name="connsiteX13" fmla="*/ 819149 w 4500563"/>
                  <a:gd name="connsiteY13" fmla="*/ 1835150 h 3379788"/>
                  <a:gd name="connsiteX14" fmla="*/ 2250281 w 4500563"/>
                  <a:gd name="connsiteY14" fmla="*/ 0 h 3379788"/>
                  <a:gd name="connsiteX15" fmla="*/ 4305981 w 4500563"/>
                  <a:gd name="connsiteY15" fmla="*/ 1775969 h 3379788"/>
                  <a:gd name="connsiteX16" fmla="*/ 4305981 w 4500563"/>
                  <a:gd name="connsiteY16" fmla="*/ 2287960 h 3379788"/>
                  <a:gd name="connsiteX17" fmla="*/ 4500563 w 4500563"/>
                  <a:gd name="connsiteY17" fmla="*/ 2649096 h 3379788"/>
                  <a:gd name="connsiteX18" fmla="*/ 4500563 w 4500563"/>
                  <a:gd name="connsiteY18" fmla="*/ 2651382 h 3379788"/>
                  <a:gd name="connsiteX19" fmla="*/ 4500563 w 4500563"/>
                  <a:gd name="connsiteY19" fmla="*/ 2671953 h 3379788"/>
                  <a:gd name="connsiteX20" fmla="*/ 4500563 w 4500563"/>
                  <a:gd name="connsiteY20" fmla="*/ 2678810 h 3379788"/>
                  <a:gd name="connsiteX21" fmla="*/ 4498274 w 4500563"/>
                  <a:gd name="connsiteY21" fmla="*/ 2692524 h 3379788"/>
                  <a:gd name="connsiteX22" fmla="*/ 4498274 w 4500563"/>
                  <a:gd name="connsiteY22" fmla="*/ 2701667 h 3379788"/>
                  <a:gd name="connsiteX23" fmla="*/ 4495985 w 4500563"/>
                  <a:gd name="connsiteY23" fmla="*/ 2715381 h 3379788"/>
                  <a:gd name="connsiteX24" fmla="*/ 4495985 w 4500563"/>
                  <a:gd name="connsiteY24" fmla="*/ 2722238 h 3379788"/>
                  <a:gd name="connsiteX25" fmla="*/ 4491406 w 4500563"/>
                  <a:gd name="connsiteY25" fmla="*/ 2738238 h 3379788"/>
                  <a:gd name="connsiteX26" fmla="*/ 4491406 w 4500563"/>
                  <a:gd name="connsiteY26" fmla="*/ 2745095 h 3379788"/>
                  <a:gd name="connsiteX27" fmla="*/ 4486828 w 4500563"/>
                  <a:gd name="connsiteY27" fmla="*/ 2763380 h 3379788"/>
                  <a:gd name="connsiteX28" fmla="*/ 4482250 w 4500563"/>
                  <a:gd name="connsiteY28" fmla="*/ 2772523 h 3379788"/>
                  <a:gd name="connsiteX29" fmla="*/ 4479960 w 4500563"/>
                  <a:gd name="connsiteY29" fmla="*/ 2783951 h 3379788"/>
                  <a:gd name="connsiteX30" fmla="*/ 4475382 w 4500563"/>
                  <a:gd name="connsiteY30" fmla="*/ 2793094 h 3379788"/>
                  <a:gd name="connsiteX31" fmla="*/ 4473093 w 4500563"/>
                  <a:gd name="connsiteY31" fmla="*/ 2802236 h 3379788"/>
                  <a:gd name="connsiteX32" fmla="*/ 4468514 w 4500563"/>
                  <a:gd name="connsiteY32" fmla="*/ 2813665 h 3379788"/>
                  <a:gd name="connsiteX33" fmla="*/ 4463936 w 4500563"/>
                  <a:gd name="connsiteY33" fmla="*/ 2820522 h 3379788"/>
                  <a:gd name="connsiteX34" fmla="*/ 4454779 w 4500563"/>
                  <a:gd name="connsiteY34" fmla="*/ 2843379 h 3379788"/>
                  <a:gd name="connsiteX35" fmla="*/ 4452490 w 4500563"/>
                  <a:gd name="connsiteY35" fmla="*/ 2847950 h 3379788"/>
                  <a:gd name="connsiteX36" fmla="*/ 4445623 w 4500563"/>
                  <a:gd name="connsiteY36" fmla="*/ 2859378 h 3379788"/>
                  <a:gd name="connsiteX37" fmla="*/ 4441044 w 4500563"/>
                  <a:gd name="connsiteY37" fmla="*/ 2866235 h 3379788"/>
                  <a:gd name="connsiteX38" fmla="*/ 4434177 w 4500563"/>
                  <a:gd name="connsiteY38" fmla="*/ 2877664 h 3379788"/>
                  <a:gd name="connsiteX39" fmla="*/ 4431887 w 4500563"/>
                  <a:gd name="connsiteY39" fmla="*/ 2882235 h 3379788"/>
                  <a:gd name="connsiteX40" fmla="*/ 4422731 w 4500563"/>
                  <a:gd name="connsiteY40" fmla="*/ 2895949 h 3379788"/>
                  <a:gd name="connsiteX41" fmla="*/ 3980915 w 4500563"/>
                  <a:gd name="connsiteY41" fmla="*/ 3113088 h 3379788"/>
                  <a:gd name="connsiteX42" fmla="*/ 3980915 w 4500563"/>
                  <a:gd name="connsiteY42" fmla="*/ 3071946 h 3379788"/>
                  <a:gd name="connsiteX43" fmla="*/ 3980915 w 4500563"/>
                  <a:gd name="connsiteY43" fmla="*/ 2187390 h 3379788"/>
                  <a:gd name="connsiteX44" fmla="*/ 4058748 w 4500563"/>
                  <a:gd name="connsiteY44" fmla="*/ 2191961 h 3379788"/>
                  <a:gd name="connsiteX45" fmla="*/ 4058748 w 4500563"/>
                  <a:gd name="connsiteY45" fmla="*/ 2111963 h 3379788"/>
                  <a:gd name="connsiteX46" fmla="*/ 2250281 w 4500563"/>
                  <a:gd name="connsiteY46" fmla="*/ 553133 h 3379788"/>
                  <a:gd name="connsiteX47" fmla="*/ 441815 w 4500563"/>
                  <a:gd name="connsiteY47" fmla="*/ 2111963 h 3379788"/>
                  <a:gd name="connsiteX48" fmla="*/ 441815 w 4500563"/>
                  <a:gd name="connsiteY48" fmla="*/ 2191961 h 3379788"/>
                  <a:gd name="connsiteX49" fmla="*/ 521937 w 4500563"/>
                  <a:gd name="connsiteY49" fmla="*/ 2187390 h 3379788"/>
                  <a:gd name="connsiteX50" fmla="*/ 521937 w 4500563"/>
                  <a:gd name="connsiteY50" fmla="*/ 3071946 h 3379788"/>
                  <a:gd name="connsiteX51" fmla="*/ 521937 w 4500563"/>
                  <a:gd name="connsiteY51" fmla="*/ 3113088 h 3379788"/>
                  <a:gd name="connsiteX52" fmla="*/ 80122 w 4500563"/>
                  <a:gd name="connsiteY52" fmla="*/ 2895949 h 3379788"/>
                  <a:gd name="connsiteX53" fmla="*/ 70965 w 4500563"/>
                  <a:gd name="connsiteY53" fmla="*/ 2882235 h 3379788"/>
                  <a:gd name="connsiteX54" fmla="*/ 68676 w 4500563"/>
                  <a:gd name="connsiteY54" fmla="*/ 2877664 h 3379788"/>
                  <a:gd name="connsiteX55" fmla="*/ 59519 w 4500563"/>
                  <a:gd name="connsiteY55" fmla="*/ 2866235 h 3379788"/>
                  <a:gd name="connsiteX56" fmla="*/ 57230 w 4500563"/>
                  <a:gd name="connsiteY56" fmla="*/ 2859378 h 3379788"/>
                  <a:gd name="connsiteX57" fmla="*/ 50362 w 4500563"/>
                  <a:gd name="connsiteY57" fmla="*/ 2847950 h 3379788"/>
                  <a:gd name="connsiteX58" fmla="*/ 48073 w 4500563"/>
                  <a:gd name="connsiteY58" fmla="*/ 2843379 h 3379788"/>
                  <a:gd name="connsiteX59" fmla="*/ 38916 w 4500563"/>
                  <a:gd name="connsiteY59" fmla="*/ 2820522 h 3379788"/>
                  <a:gd name="connsiteX60" fmla="*/ 34338 w 4500563"/>
                  <a:gd name="connsiteY60" fmla="*/ 2813665 h 3379788"/>
                  <a:gd name="connsiteX61" fmla="*/ 29759 w 4500563"/>
                  <a:gd name="connsiteY61" fmla="*/ 2802236 h 3379788"/>
                  <a:gd name="connsiteX62" fmla="*/ 25181 w 4500563"/>
                  <a:gd name="connsiteY62" fmla="*/ 2793094 h 3379788"/>
                  <a:gd name="connsiteX63" fmla="*/ 22892 w 4500563"/>
                  <a:gd name="connsiteY63" fmla="*/ 2783951 h 3379788"/>
                  <a:gd name="connsiteX64" fmla="*/ 18313 w 4500563"/>
                  <a:gd name="connsiteY64" fmla="*/ 2772523 h 3379788"/>
                  <a:gd name="connsiteX65" fmla="*/ 16024 w 4500563"/>
                  <a:gd name="connsiteY65" fmla="*/ 2763380 h 3379788"/>
                  <a:gd name="connsiteX66" fmla="*/ 11446 w 4500563"/>
                  <a:gd name="connsiteY66" fmla="*/ 2745095 h 3379788"/>
                  <a:gd name="connsiteX67" fmla="*/ 11446 w 4500563"/>
                  <a:gd name="connsiteY67" fmla="*/ 2738238 h 3379788"/>
                  <a:gd name="connsiteX68" fmla="*/ 6867 w 4500563"/>
                  <a:gd name="connsiteY68" fmla="*/ 2722238 h 3379788"/>
                  <a:gd name="connsiteX69" fmla="*/ 6867 w 4500563"/>
                  <a:gd name="connsiteY69" fmla="*/ 2715381 h 3379788"/>
                  <a:gd name="connsiteX70" fmla="*/ 4578 w 4500563"/>
                  <a:gd name="connsiteY70" fmla="*/ 2701667 h 3379788"/>
                  <a:gd name="connsiteX71" fmla="*/ 2289 w 4500563"/>
                  <a:gd name="connsiteY71" fmla="*/ 2692524 h 3379788"/>
                  <a:gd name="connsiteX72" fmla="*/ 2289 w 4500563"/>
                  <a:gd name="connsiteY72" fmla="*/ 2678810 h 3379788"/>
                  <a:gd name="connsiteX73" fmla="*/ 2289 w 4500563"/>
                  <a:gd name="connsiteY73" fmla="*/ 2671953 h 3379788"/>
                  <a:gd name="connsiteX74" fmla="*/ 0 w 4500563"/>
                  <a:gd name="connsiteY74" fmla="*/ 2651382 h 3379788"/>
                  <a:gd name="connsiteX75" fmla="*/ 0 w 4500563"/>
                  <a:gd name="connsiteY75" fmla="*/ 2649096 h 3379788"/>
                  <a:gd name="connsiteX76" fmla="*/ 196871 w 4500563"/>
                  <a:gd name="connsiteY76" fmla="*/ 2287960 h 3379788"/>
                  <a:gd name="connsiteX77" fmla="*/ 196871 w 4500563"/>
                  <a:gd name="connsiteY77" fmla="*/ 1775969 h 3379788"/>
                  <a:gd name="connsiteX78" fmla="*/ 2250281 w 4500563"/>
                  <a:gd name="connsiteY78" fmla="*/ 0 h 3379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4500563" h="3379788">
                    <a:moveTo>
                      <a:pt x="3683000" y="1835150"/>
                    </a:moveTo>
                    <a:cubicBezTo>
                      <a:pt x="3802046" y="1835150"/>
                      <a:pt x="3900487" y="1933549"/>
                      <a:pt x="3900487" y="2054832"/>
                    </a:cubicBezTo>
                    <a:cubicBezTo>
                      <a:pt x="3900487" y="2054832"/>
                      <a:pt x="3900487" y="2054832"/>
                      <a:pt x="3900487" y="3160106"/>
                    </a:cubicBezTo>
                    <a:cubicBezTo>
                      <a:pt x="3900487" y="3281389"/>
                      <a:pt x="3802046" y="3379788"/>
                      <a:pt x="3683000" y="3379788"/>
                    </a:cubicBezTo>
                    <a:cubicBezTo>
                      <a:pt x="3561665" y="3379788"/>
                      <a:pt x="3465512" y="3281389"/>
                      <a:pt x="3465512" y="3160106"/>
                    </a:cubicBezTo>
                    <a:cubicBezTo>
                      <a:pt x="3465512" y="3160106"/>
                      <a:pt x="3465512" y="3160106"/>
                      <a:pt x="3465512" y="2054832"/>
                    </a:cubicBezTo>
                    <a:cubicBezTo>
                      <a:pt x="3465512" y="1933549"/>
                      <a:pt x="3561665" y="1835150"/>
                      <a:pt x="3683000" y="1835150"/>
                    </a:cubicBezTo>
                    <a:close/>
                    <a:moveTo>
                      <a:pt x="819149" y="1835150"/>
                    </a:moveTo>
                    <a:cubicBezTo>
                      <a:pt x="940484" y="1835150"/>
                      <a:pt x="1036637" y="1933549"/>
                      <a:pt x="1036637" y="2054832"/>
                    </a:cubicBezTo>
                    <a:cubicBezTo>
                      <a:pt x="1036637" y="2054832"/>
                      <a:pt x="1036637" y="2054832"/>
                      <a:pt x="1036637" y="3160106"/>
                    </a:cubicBezTo>
                    <a:cubicBezTo>
                      <a:pt x="1036637" y="3281389"/>
                      <a:pt x="940484" y="3379788"/>
                      <a:pt x="819149" y="3379788"/>
                    </a:cubicBezTo>
                    <a:cubicBezTo>
                      <a:pt x="697814" y="3379788"/>
                      <a:pt x="601662" y="3281389"/>
                      <a:pt x="601662" y="3160106"/>
                    </a:cubicBezTo>
                    <a:cubicBezTo>
                      <a:pt x="601662" y="3160106"/>
                      <a:pt x="601662" y="3160106"/>
                      <a:pt x="601662" y="2054832"/>
                    </a:cubicBezTo>
                    <a:cubicBezTo>
                      <a:pt x="601662" y="1933549"/>
                      <a:pt x="697814" y="1835150"/>
                      <a:pt x="819149" y="1835150"/>
                    </a:cubicBezTo>
                    <a:close/>
                    <a:moveTo>
                      <a:pt x="2250281" y="0"/>
                    </a:moveTo>
                    <a:cubicBezTo>
                      <a:pt x="3383434" y="0"/>
                      <a:pt x="4305981" y="797700"/>
                      <a:pt x="4305981" y="1775969"/>
                    </a:cubicBezTo>
                    <a:cubicBezTo>
                      <a:pt x="4305981" y="1775969"/>
                      <a:pt x="4305981" y="1775969"/>
                      <a:pt x="4305981" y="2287960"/>
                    </a:cubicBezTo>
                    <a:cubicBezTo>
                      <a:pt x="4425020" y="2372530"/>
                      <a:pt x="4500563" y="2502813"/>
                      <a:pt x="4500563" y="2649096"/>
                    </a:cubicBezTo>
                    <a:cubicBezTo>
                      <a:pt x="4500563" y="2649096"/>
                      <a:pt x="4500563" y="2651382"/>
                      <a:pt x="4500563" y="2651382"/>
                    </a:cubicBezTo>
                    <a:cubicBezTo>
                      <a:pt x="4500563" y="2658239"/>
                      <a:pt x="4500563" y="2665096"/>
                      <a:pt x="4500563" y="2671953"/>
                    </a:cubicBezTo>
                    <a:cubicBezTo>
                      <a:pt x="4500563" y="2674239"/>
                      <a:pt x="4500563" y="2676524"/>
                      <a:pt x="4500563" y="2678810"/>
                    </a:cubicBezTo>
                    <a:cubicBezTo>
                      <a:pt x="4500563" y="2683381"/>
                      <a:pt x="4500563" y="2687953"/>
                      <a:pt x="4498274" y="2692524"/>
                    </a:cubicBezTo>
                    <a:cubicBezTo>
                      <a:pt x="4498274" y="2697095"/>
                      <a:pt x="4498274" y="2699381"/>
                      <a:pt x="4498274" y="2701667"/>
                    </a:cubicBezTo>
                    <a:cubicBezTo>
                      <a:pt x="4498274" y="2706238"/>
                      <a:pt x="4495985" y="2710809"/>
                      <a:pt x="4495985" y="2715381"/>
                    </a:cubicBezTo>
                    <a:cubicBezTo>
                      <a:pt x="4495985" y="2717667"/>
                      <a:pt x="4495985" y="2719952"/>
                      <a:pt x="4495985" y="2722238"/>
                    </a:cubicBezTo>
                    <a:cubicBezTo>
                      <a:pt x="4493696" y="2729095"/>
                      <a:pt x="4493696" y="2733666"/>
                      <a:pt x="4491406" y="2738238"/>
                    </a:cubicBezTo>
                    <a:cubicBezTo>
                      <a:pt x="4491406" y="2740523"/>
                      <a:pt x="4491406" y="2742809"/>
                      <a:pt x="4491406" y="2745095"/>
                    </a:cubicBezTo>
                    <a:cubicBezTo>
                      <a:pt x="4489117" y="2751952"/>
                      <a:pt x="4486828" y="2756523"/>
                      <a:pt x="4486828" y="2763380"/>
                    </a:cubicBezTo>
                    <a:cubicBezTo>
                      <a:pt x="4484539" y="2765666"/>
                      <a:pt x="4484539" y="2770237"/>
                      <a:pt x="4482250" y="2772523"/>
                    </a:cubicBezTo>
                    <a:cubicBezTo>
                      <a:pt x="4482250" y="2774808"/>
                      <a:pt x="4479960" y="2779380"/>
                      <a:pt x="4479960" y="2783951"/>
                    </a:cubicBezTo>
                    <a:cubicBezTo>
                      <a:pt x="4477671" y="2786237"/>
                      <a:pt x="4477671" y="2790808"/>
                      <a:pt x="4475382" y="2793094"/>
                    </a:cubicBezTo>
                    <a:cubicBezTo>
                      <a:pt x="4475382" y="2795379"/>
                      <a:pt x="4473093" y="2799951"/>
                      <a:pt x="4473093" y="2802236"/>
                    </a:cubicBezTo>
                    <a:cubicBezTo>
                      <a:pt x="4470804" y="2806808"/>
                      <a:pt x="4470804" y="2809093"/>
                      <a:pt x="4468514" y="2813665"/>
                    </a:cubicBezTo>
                    <a:cubicBezTo>
                      <a:pt x="4466225" y="2815951"/>
                      <a:pt x="4466225" y="2818236"/>
                      <a:pt x="4463936" y="2820522"/>
                    </a:cubicBezTo>
                    <a:cubicBezTo>
                      <a:pt x="4461647" y="2829665"/>
                      <a:pt x="4457068" y="2836522"/>
                      <a:pt x="4454779" y="2843379"/>
                    </a:cubicBezTo>
                    <a:cubicBezTo>
                      <a:pt x="4452490" y="2845664"/>
                      <a:pt x="4452490" y="2845664"/>
                      <a:pt x="4452490" y="2847950"/>
                    </a:cubicBezTo>
                    <a:cubicBezTo>
                      <a:pt x="4450201" y="2852521"/>
                      <a:pt x="4447912" y="2857093"/>
                      <a:pt x="4445623" y="2859378"/>
                    </a:cubicBezTo>
                    <a:cubicBezTo>
                      <a:pt x="4443333" y="2861664"/>
                      <a:pt x="4443333" y="2863950"/>
                      <a:pt x="4441044" y="2866235"/>
                    </a:cubicBezTo>
                    <a:cubicBezTo>
                      <a:pt x="4438755" y="2870807"/>
                      <a:pt x="4436466" y="2873092"/>
                      <a:pt x="4434177" y="2877664"/>
                    </a:cubicBezTo>
                    <a:cubicBezTo>
                      <a:pt x="4434177" y="2879949"/>
                      <a:pt x="4431887" y="2879949"/>
                      <a:pt x="4431887" y="2882235"/>
                    </a:cubicBezTo>
                    <a:cubicBezTo>
                      <a:pt x="4429598" y="2886806"/>
                      <a:pt x="4425020" y="2891378"/>
                      <a:pt x="4422731" y="2895949"/>
                    </a:cubicBezTo>
                    <a:cubicBezTo>
                      <a:pt x="4331163" y="3026233"/>
                      <a:pt x="4166340" y="3113088"/>
                      <a:pt x="3980915" y="3113088"/>
                    </a:cubicBezTo>
                    <a:cubicBezTo>
                      <a:pt x="3980915" y="3113088"/>
                      <a:pt x="3980915" y="3113088"/>
                      <a:pt x="3980915" y="3071946"/>
                    </a:cubicBezTo>
                    <a:cubicBezTo>
                      <a:pt x="3980915" y="3071946"/>
                      <a:pt x="3980915" y="3071946"/>
                      <a:pt x="3980915" y="2187390"/>
                    </a:cubicBezTo>
                    <a:cubicBezTo>
                      <a:pt x="4008386" y="2187390"/>
                      <a:pt x="4033567" y="2189676"/>
                      <a:pt x="4058748" y="2191961"/>
                    </a:cubicBezTo>
                    <a:cubicBezTo>
                      <a:pt x="4058748" y="2191961"/>
                      <a:pt x="4058748" y="2191961"/>
                      <a:pt x="4058748" y="2111963"/>
                    </a:cubicBezTo>
                    <a:cubicBezTo>
                      <a:pt x="4058748" y="1252549"/>
                      <a:pt x="3248372" y="553133"/>
                      <a:pt x="2250281" y="553133"/>
                    </a:cubicBezTo>
                    <a:cubicBezTo>
                      <a:pt x="1254480" y="553133"/>
                      <a:pt x="441815" y="1252549"/>
                      <a:pt x="441815" y="2111963"/>
                    </a:cubicBezTo>
                    <a:cubicBezTo>
                      <a:pt x="441815" y="2111963"/>
                      <a:pt x="441815" y="2111963"/>
                      <a:pt x="441815" y="2191961"/>
                    </a:cubicBezTo>
                    <a:cubicBezTo>
                      <a:pt x="469285" y="2189676"/>
                      <a:pt x="494467" y="2187390"/>
                      <a:pt x="521937" y="2187390"/>
                    </a:cubicBezTo>
                    <a:cubicBezTo>
                      <a:pt x="521937" y="2187390"/>
                      <a:pt x="521937" y="2187390"/>
                      <a:pt x="521937" y="3071946"/>
                    </a:cubicBezTo>
                    <a:cubicBezTo>
                      <a:pt x="521937" y="3071946"/>
                      <a:pt x="521937" y="3071946"/>
                      <a:pt x="521937" y="3113088"/>
                    </a:cubicBezTo>
                    <a:cubicBezTo>
                      <a:pt x="336512" y="3113088"/>
                      <a:pt x="171690" y="3026233"/>
                      <a:pt x="80122" y="2895949"/>
                    </a:cubicBezTo>
                    <a:cubicBezTo>
                      <a:pt x="75543" y="2891378"/>
                      <a:pt x="73254" y="2886806"/>
                      <a:pt x="70965" y="2882235"/>
                    </a:cubicBezTo>
                    <a:cubicBezTo>
                      <a:pt x="70965" y="2879949"/>
                      <a:pt x="68676" y="2879949"/>
                      <a:pt x="68676" y="2877664"/>
                    </a:cubicBezTo>
                    <a:cubicBezTo>
                      <a:pt x="66387" y="2873092"/>
                      <a:pt x="64097" y="2870807"/>
                      <a:pt x="59519" y="2866235"/>
                    </a:cubicBezTo>
                    <a:cubicBezTo>
                      <a:pt x="59519" y="2863950"/>
                      <a:pt x="59519" y="2861664"/>
                      <a:pt x="57230" y="2859378"/>
                    </a:cubicBezTo>
                    <a:cubicBezTo>
                      <a:pt x="54941" y="2857093"/>
                      <a:pt x="52651" y="2852521"/>
                      <a:pt x="50362" y="2847950"/>
                    </a:cubicBezTo>
                    <a:cubicBezTo>
                      <a:pt x="50362" y="2845664"/>
                      <a:pt x="50362" y="2845664"/>
                      <a:pt x="48073" y="2843379"/>
                    </a:cubicBezTo>
                    <a:cubicBezTo>
                      <a:pt x="45784" y="2836522"/>
                      <a:pt x="41205" y="2829665"/>
                      <a:pt x="38916" y="2820522"/>
                    </a:cubicBezTo>
                    <a:cubicBezTo>
                      <a:pt x="36627" y="2818236"/>
                      <a:pt x="34338" y="2815951"/>
                      <a:pt x="34338" y="2813665"/>
                    </a:cubicBezTo>
                    <a:cubicBezTo>
                      <a:pt x="32049" y="2809093"/>
                      <a:pt x="32049" y="2806808"/>
                      <a:pt x="29759" y="2802236"/>
                    </a:cubicBezTo>
                    <a:cubicBezTo>
                      <a:pt x="29759" y="2799951"/>
                      <a:pt x="27470" y="2795379"/>
                      <a:pt x="25181" y="2793094"/>
                    </a:cubicBezTo>
                    <a:cubicBezTo>
                      <a:pt x="25181" y="2790808"/>
                      <a:pt x="22892" y="2786237"/>
                      <a:pt x="22892" y="2783951"/>
                    </a:cubicBezTo>
                    <a:cubicBezTo>
                      <a:pt x="20603" y="2779380"/>
                      <a:pt x="20603" y="2774808"/>
                      <a:pt x="18313" y="2772523"/>
                    </a:cubicBezTo>
                    <a:cubicBezTo>
                      <a:pt x="18313" y="2770237"/>
                      <a:pt x="18313" y="2765666"/>
                      <a:pt x="16024" y="2763380"/>
                    </a:cubicBezTo>
                    <a:cubicBezTo>
                      <a:pt x="16024" y="2756523"/>
                      <a:pt x="13735" y="2751952"/>
                      <a:pt x="11446" y="2745095"/>
                    </a:cubicBezTo>
                    <a:cubicBezTo>
                      <a:pt x="11446" y="2742809"/>
                      <a:pt x="11446" y="2740523"/>
                      <a:pt x="11446" y="2738238"/>
                    </a:cubicBezTo>
                    <a:cubicBezTo>
                      <a:pt x="9157" y="2733666"/>
                      <a:pt x="9157" y="2729095"/>
                      <a:pt x="6867" y="2722238"/>
                    </a:cubicBezTo>
                    <a:cubicBezTo>
                      <a:pt x="6867" y="2719952"/>
                      <a:pt x="6867" y="2717667"/>
                      <a:pt x="6867" y="2715381"/>
                    </a:cubicBezTo>
                    <a:cubicBezTo>
                      <a:pt x="4578" y="2710809"/>
                      <a:pt x="4578" y="2706238"/>
                      <a:pt x="4578" y="2701667"/>
                    </a:cubicBezTo>
                    <a:cubicBezTo>
                      <a:pt x="4578" y="2699381"/>
                      <a:pt x="4578" y="2697095"/>
                      <a:pt x="2289" y="2692524"/>
                    </a:cubicBezTo>
                    <a:cubicBezTo>
                      <a:pt x="2289" y="2687953"/>
                      <a:pt x="2289" y="2683381"/>
                      <a:pt x="2289" y="2678810"/>
                    </a:cubicBezTo>
                    <a:cubicBezTo>
                      <a:pt x="2289" y="2676524"/>
                      <a:pt x="2289" y="2674239"/>
                      <a:pt x="2289" y="2671953"/>
                    </a:cubicBezTo>
                    <a:cubicBezTo>
                      <a:pt x="0" y="2665096"/>
                      <a:pt x="0" y="2658239"/>
                      <a:pt x="0" y="2651382"/>
                    </a:cubicBezTo>
                    <a:cubicBezTo>
                      <a:pt x="0" y="2651382"/>
                      <a:pt x="0" y="2649096"/>
                      <a:pt x="0" y="2649096"/>
                    </a:cubicBezTo>
                    <a:cubicBezTo>
                      <a:pt x="0" y="2502813"/>
                      <a:pt x="77833" y="2372530"/>
                      <a:pt x="196871" y="2287960"/>
                    </a:cubicBezTo>
                    <a:cubicBezTo>
                      <a:pt x="196871" y="2287960"/>
                      <a:pt x="196871" y="2287960"/>
                      <a:pt x="196871" y="1775969"/>
                    </a:cubicBezTo>
                    <a:cubicBezTo>
                      <a:pt x="196871" y="797700"/>
                      <a:pt x="1119418" y="0"/>
                      <a:pt x="225028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3FA94E72-DDDF-4D6C-A43C-D04736B6CF2C}"/>
                  </a:ext>
                </a:extLst>
              </p:cNvPr>
              <p:cNvSpPr/>
              <p:nvPr/>
            </p:nvSpPr>
            <p:spPr bwMode="auto">
              <a:xfrm>
                <a:off x="5249595" y="3099644"/>
                <a:ext cx="1692811" cy="1801829"/>
              </a:xfrm>
              <a:custGeom>
                <a:avLst/>
                <a:gdLst>
                  <a:gd name="connsiteX0" fmla="*/ 1384589 w 1692811"/>
                  <a:gd name="connsiteY0" fmla="*/ 1658146 h 1801829"/>
                  <a:gd name="connsiteX1" fmla="*/ 1692811 w 1692811"/>
                  <a:gd name="connsiteY1" fmla="*/ 1658146 h 1801829"/>
                  <a:gd name="connsiteX2" fmla="*/ 1692811 w 1692811"/>
                  <a:gd name="connsiteY2" fmla="*/ 1801829 h 1801829"/>
                  <a:gd name="connsiteX3" fmla="*/ 1384589 w 1692811"/>
                  <a:gd name="connsiteY3" fmla="*/ 1801829 h 1801829"/>
                  <a:gd name="connsiteX4" fmla="*/ 1025762 w 1692811"/>
                  <a:gd name="connsiteY4" fmla="*/ 1658146 h 1801829"/>
                  <a:gd name="connsiteX5" fmla="*/ 1332826 w 1692811"/>
                  <a:gd name="connsiteY5" fmla="*/ 1658146 h 1801829"/>
                  <a:gd name="connsiteX6" fmla="*/ 1332826 w 1692811"/>
                  <a:gd name="connsiteY6" fmla="*/ 1801829 h 1801829"/>
                  <a:gd name="connsiteX7" fmla="*/ 1025762 w 1692811"/>
                  <a:gd name="connsiteY7" fmla="*/ 1801829 h 1801829"/>
                  <a:gd name="connsiteX8" fmla="*/ 684522 w 1692811"/>
                  <a:gd name="connsiteY8" fmla="*/ 1658146 h 1801829"/>
                  <a:gd name="connsiteX9" fmla="*/ 992744 w 1692811"/>
                  <a:gd name="connsiteY9" fmla="*/ 1658146 h 1801829"/>
                  <a:gd name="connsiteX10" fmla="*/ 992744 w 1692811"/>
                  <a:gd name="connsiteY10" fmla="*/ 1801829 h 1801829"/>
                  <a:gd name="connsiteX11" fmla="*/ 684522 w 1692811"/>
                  <a:gd name="connsiteY11" fmla="*/ 1801829 h 1801829"/>
                  <a:gd name="connsiteX12" fmla="*/ 342116 w 1692811"/>
                  <a:gd name="connsiteY12" fmla="*/ 1658146 h 1801829"/>
                  <a:gd name="connsiteX13" fmla="*/ 650338 w 1692811"/>
                  <a:gd name="connsiteY13" fmla="*/ 1658146 h 1801829"/>
                  <a:gd name="connsiteX14" fmla="*/ 650338 w 1692811"/>
                  <a:gd name="connsiteY14" fmla="*/ 1801829 h 1801829"/>
                  <a:gd name="connsiteX15" fmla="*/ 342116 w 1692811"/>
                  <a:gd name="connsiteY15" fmla="*/ 1801829 h 1801829"/>
                  <a:gd name="connsiteX16" fmla="*/ 0 w 1692811"/>
                  <a:gd name="connsiteY16" fmla="*/ 1658146 h 1801829"/>
                  <a:gd name="connsiteX17" fmla="*/ 308222 w 1692811"/>
                  <a:gd name="connsiteY17" fmla="*/ 1658146 h 1801829"/>
                  <a:gd name="connsiteX18" fmla="*/ 308222 w 1692811"/>
                  <a:gd name="connsiteY18" fmla="*/ 1801829 h 1801829"/>
                  <a:gd name="connsiteX19" fmla="*/ 0 w 1692811"/>
                  <a:gd name="connsiteY19" fmla="*/ 1801829 h 1801829"/>
                  <a:gd name="connsiteX20" fmla="*/ 1384589 w 1692811"/>
                  <a:gd name="connsiteY20" fmla="*/ 1421764 h 1801829"/>
                  <a:gd name="connsiteX21" fmla="*/ 1692811 w 1692811"/>
                  <a:gd name="connsiteY21" fmla="*/ 1421764 h 1801829"/>
                  <a:gd name="connsiteX22" fmla="*/ 1692811 w 1692811"/>
                  <a:gd name="connsiteY22" fmla="*/ 1565447 h 1801829"/>
                  <a:gd name="connsiteX23" fmla="*/ 1384589 w 1692811"/>
                  <a:gd name="connsiteY23" fmla="*/ 1565447 h 1801829"/>
                  <a:gd name="connsiteX24" fmla="*/ 1025762 w 1692811"/>
                  <a:gd name="connsiteY24" fmla="*/ 1421764 h 1801829"/>
                  <a:gd name="connsiteX25" fmla="*/ 1332826 w 1692811"/>
                  <a:gd name="connsiteY25" fmla="*/ 1421764 h 1801829"/>
                  <a:gd name="connsiteX26" fmla="*/ 1332826 w 1692811"/>
                  <a:gd name="connsiteY26" fmla="*/ 1565447 h 1801829"/>
                  <a:gd name="connsiteX27" fmla="*/ 1025762 w 1692811"/>
                  <a:gd name="connsiteY27" fmla="*/ 1565447 h 1801829"/>
                  <a:gd name="connsiteX28" fmla="*/ 684522 w 1692811"/>
                  <a:gd name="connsiteY28" fmla="*/ 1421764 h 1801829"/>
                  <a:gd name="connsiteX29" fmla="*/ 992744 w 1692811"/>
                  <a:gd name="connsiteY29" fmla="*/ 1421764 h 1801829"/>
                  <a:gd name="connsiteX30" fmla="*/ 992744 w 1692811"/>
                  <a:gd name="connsiteY30" fmla="*/ 1565447 h 1801829"/>
                  <a:gd name="connsiteX31" fmla="*/ 684522 w 1692811"/>
                  <a:gd name="connsiteY31" fmla="*/ 1565447 h 1801829"/>
                  <a:gd name="connsiteX32" fmla="*/ 342116 w 1692811"/>
                  <a:gd name="connsiteY32" fmla="*/ 1421764 h 1801829"/>
                  <a:gd name="connsiteX33" fmla="*/ 650338 w 1692811"/>
                  <a:gd name="connsiteY33" fmla="*/ 1421764 h 1801829"/>
                  <a:gd name="connsiteX34" fmla="*/ 650338 w 1692811"/>
                  <a:gd name="connsiteY34" fmla="*/ 1565447 h 1801829"/>
                  <a:gd name="connsiteX35" fmla="*/ 342116 w 1692811"/>
                  <a:gd name="connsiteY35" fmla="*/ 1565447 h 1801829"/>
                  <a:gd name="connsiteX36" fmla="*/ 0 w 1692811"/>
                  <a:gd name="connsiteY36" fmla="*/ 1421764 h 1801829"/>
                  <a:gd name="connsiteX37" fmla="*/ 308222 w 1692811"/>
                  <a:gd name="connsiteY37" fmla="*/ 1421764 h 1801829"/>
                  <a:gd name="connsiteX38" fmla="*/ 308222 w 1692811"/>
                  <a:gd name="connsiteY38" fmla="*/ 1565447 h 1801829"/>
                  <a:gd name="connsiteX39" fmla="*/ 0 w 1692811"/>
                  <a:gd name="connsiteY39" fmla="*/ 1565447 h 1801829"/>
                  <a:gd name="connsiteX40" fmla="*/ 1384589 w 1692811"/>
                  <a:gd name="connsiteY40" fmla="*/ 1185383 h 1801829"/>
                  <a:gd name="connsiteX41" fmla="*/ 1692811 w 1692811"/>
                  <a:gd name="connsiteY41" fmla="*/ 1185383 h 1801829"/>
                  <a:gd name="connsiteX42" fmla="*/ 1692811 w 1692811"/>
                  <a:gd name="connsiteY42" fmla="*/ 1329066 h 1801829"/>
                  <a:gd name="connsiteX43" fmla="*/ 1384589 w 1692811"/>
                  <a:gd name="connsiteY43" fmla="*/ 1329066 h 1801829"/>
                  <a:gd name="connsiteX44" fmla="*/ 1025762 w 1692811"/>
                  <a:gd name="connsiteY44" fmla="*/ 1185383 h 1801829"/>
                  <a:gd name="connsiteX45" fmla="*/ 1332826 w 1692811"/>
                  <a:gd name="connsiteY45" fmla="*/ 1185383 h 1801829"/>
                  <a:gd name="connsiteX46" fmla="*/ 1332826 w 1692811"/>
                  <a:gd name="connsiteY46" fmla="*/ 1329066 h 1801829"/>
                  <a:gd name="connsiteX47" fmla="*/ 1025762 w 1692811"/>
                  <a:gd name="connsiteY47" fmla="*/ 1329066 h 1801829"/>
                  <a:gd name="connsiteX48" fmla="*/ 684522 w 1692811"/>
                  <a:gd name="connsiteY48" fmla="*/ 1185383 h 1801829"/>
                  <a:gd name="connsiteX49" fmla="*/ 992744 w 1692811"/>
                  <a:gd name="connsiteY49" fmla="*/ 1185383 h 1801829"/>
                  <a:gd name="connsiteX50" fmla="*/ 992744 w 1692811"/>
                  <a:gd name="connsiteY50" fmla="*/ 1329066 h 1801829"/>
                  <a:gd name="connsiteX51" fmla="*/ 684522 w 1692811"/>
                  <a:gd name="connsiteY51" fmla="*/ 1329066 h 1801829"/>
                  <a:gd name="connsiteX52" fmla="*/ 342116 w 1692811"/>
                  <a:gd name="connsiteY52" fmla="*/ 1185383 h 1801829"/>
                  <a:gd name="connsiteX53" fmla="*/ 650338 w 1692811"/>
                  <a:gd name="connsiteY53" fmla="*/ 1185383 h 1801829"/>
                  <a:gd name="connsiteX54" fmla="*/ 650338 w 1692811"/>
                  <a:gd name="connsiteY54" fmla="*/ 1329066 h 1801829"/>
                  <a:gd name="connsiteX55" fmla="*/ 342116 w 1692811"/>
                  <a:gd name="connsiteY55" fmla="*/ 1329066 h 1801829"/>
                  <a:gd name="connsiteX56" fmla="*/ 0 w 1692811"/>
                  <a:gd name="connsiteY56" fmla="*/ 1185383 h 1801829"/>
                  <a:gd name="connsiteX57" fmla="*/ 308222 w 1692811"/>
                  <a:gd name="connsiteY57" fmla="*/ 1185383 h 1801829"/>
                  <a:gd name="connsiteX58" fmla="*/ 308222 w 1692811"/>
                  <a:gd name="connsiteY58" fmla="*/ 1329066 h 1801829"/>
                  <a:gd name="connsiteX59" fmla="*/ 0 w 1692811"/>
                  <a:gd name="connsiteY59" fmla="*/ 1329066 h 1801829"/>
                  <a:gd name="connsiteX60" fmla="*/ 1384589 w 1692811"/>
                  <a:gd name="connsiteY60" fmla="*/ 949002 h 1801829"/>
                  <a:gd name="connsiteX61" fmla="*/ 1692811 w 1692811"/>
                  <a:gd name="connsiteY61" fmla="*/ 949002 h 1801829"/>
                  <a:gd name="connsiteX62" fmla="*/ 1692811 w 1692811"/>
                  <a:gd name="connsiteY62" fmla="*/ 1091526 h 1801829"/>
                  <a:gd name="connsiteX63" fmla="*/ 1384589 w 1692811"/>
                  <a:gd name="connsiteY63" fmla="*/ 1091526 h 1801829"/>
                  <a:gd name="connsiteX64" fmla="*/ 1025762 w 1692811"/>
                  <a:gd name="connsiteY64" fmla="*/ 949002 h 1801829"/>
                  <a:gd name="connsiteX65" fmla="*/ 1332826 w 1692811"/>
                  <a:gd name="connsiteY65" fmla="*/ 949002 h 1801829"/>
                  <a:gd name="connsiteX66" fmla="*/ 1332826 w 1692811"/>
                  <a:gd name="connsiteY66" fmla="*/ 1091526 h 1801829"/>
                  <a:gd name="connsiteX67" fmla="*/ 1025762 w 1692811"/>
                  <a:gd name="connsiteY67" fmla="*/ 1091526 h 1801829"/>
                  <a:gd name="connsiteX68" fmla="*/ 684522 w 1692811"/>
                  <a:gd name="connsiteY68" fmla="*/ 949002 h 1801829"/>
                  <a:gd name="connsiteX69" fmla="*/ 992744 w 1692811"/>
                  <a:gd name="connsiteY69" fmla="*/ 949002 h 1801829"/>
                  <a:gd name="connsiteX70" fmla="*/ 992744 w 1692811"/>
                  <a:gd name="connsiteY70" fmla="*/ 1091526 h 1801829"/>
                  <a:gd name="connsiteX71" fmla="*/ 684522 w 1692811"/>
                  <a:gd name="connsiteY71" fmla="*/ 1091526 h 1801829"/>
                  <a:gd name="connsiteX72" fmla="*/ 342116 w 1692811"/>
                  <a:gd name="connsiteY72" fmla="*/ 949002 h 1801829"/>
                  <a:gd name="connsiteX73" fmla="*/ 650338 w 1692811"/>
                  <a:gd name="connsiteY73" fmla="*/ 949002 h 1801829"/>
                  <a:gd name="connsiteX74" fmla="*/ 650338 w 1692811"/>
                  <a:gd name="connsiteY74" fmla="*/ 1091526 h 1801829"/>
                  <a:gd name="connsiteX75" fmla="*/ 342116 w 1692811"/>
                  <a:gd name="connsiteY75" fmla="*/ 1091526 h 1801829"/>
                  <a:gd name="connsiteX76" fmla="*/ 0 w 1692811"/>
                  <a:gd name="connsiteY76" fmla="*/ 949002 h 1801829"/>
                  <a:gd name="connsiteX77" fmla="*/ 308222 w 1692811"/>
                  <a:gd name="connsiteY77" fmla="*/ 949002 h 1801829"/>
                  <a:gd name="connsiteX78" fmla="*/ 308222 w 1692811"/>
                  <a:gd name="connsiteY78" fmla="*/ 1091526 h 1801829"/>
                  <a:gd name="connsiteX79" fmla="*/ 0 w 1692811"/>
                  <a:gd name="connsiteY79" fmla="*/ 1091526 h 1801829"/>
                  <a:gd name="connsiteX80" fmla="*/ 1384589 w 1692811"/>
                  <a:gd name="connsiteY80" fmla="*/ 711462 h 1801829"/>
                  <a:gd name="connsiteX81" fmla="*/ 1692811 w 1692811"/>
                  <a:gd name="connsiteY81" fmla="*/ 711462 h 1801829"/>
                  <a:gd name="connsiteX82" fmla="*/ 1692811 w 1692811"/>
                  <a:gd name="connsiteY82" fmla="*/ 855145 h 1801829"/>
                  <a:gd name="connsiteX83" fmla="*/ 1384589 w 1692811"/>
                  <a:gd name="connsiteY83" fmla="*/ 855145 h 1801829"/>
                  <a:gd name="connsiteX84" fmla="*/ 1025762 w 1692811"/>
                  <a:gd name="connsiteY84" fmla="*/ 711462 h 1801829"/>
                  <a:gd name="connsiteX85" fmla="*/ 1332826 w 1692811"/>
                  <a:gd name="connsiteY85" fmla="*/ 711462 h 1801829"/>
                  <a:gd name="connsiteX86" fmla="*/ 1332826 w 1692811"/>
                  <a:gd name="connsiteY86" fmla="*/ 855145 h 1801829"/>
                  <a:gd name="connsiteX87" fmla="*/ 1025762 w 1692811"/>
                  <a:gd name="connsiteY87" fmla="*/ 855145 h 1801829"/>
                  <a:gd name="connsiteX88" fmla="*/ 684522 w 1692811"/>
                  <a:gd name="connsiteY88" fmla="*/ 711462 h 1801829"/>
                  <a:gd name="connsiteX89" fmla="*/ 992744 w 1692811"/>
                  <a:gd name="connsiteY89" fmla="*/ 711462 h 1801829"/>
                  <a:gd name="connsiteX90" fmla="*/ 992744 w 1692811"/>
                  <a:gd name="connsiteY90" fmla="*/ 855145 h 1801829"/>
                  <a:gd name="connsiteX91" fmla="*/ 684522 w 1692811"/>
                  <a:gd name="connsiteY91" fmla="*/ 855145 h 1801829"/>
                  <a:gd name="connsiteX92" fmla="*/ 342116 w 1692811"/>
                  <a:gd name="connsiteY92" fmla="*/ 711462 h 1801829"/>
                  <a:gd name="connsiteX93" fmla="*/ 650338 w 1692811"/>
                  <a:gd name="connsiteY93" fmla="*/ 711462 h 1801829"/>
                  <a:gd name="connsiteX94" fmla="*/ 650338 w 1692811"/>
                  <a:gd name="connsiteY94" fmla="*/ 855145 h 1801829"/>
                  <a:gd name="connsiteX95" fmla="*/ 342116 w 1692811"/>
                  <a:gd name="connsiteY95" fmla="*/ 855145 h 1801829"/>
                  <a:gd name="connsiteX96" fmla="*/ 0 w 1692811"/>
                  <a:gd name="connsiteY96" fmla="*/ 711462 h 1801829"/>
                  <a:gd name="connsiteX97" fmla="*/ 308222 w 1692811"/>
                  <a:gd name="connsiteY97" fmla="*/ 711462 h 1801829"/>
                  <a:gd name="connsiteX98" fmla="*/ 308222 w 1692811"/>
                  <a:gd name="connsiteY98" fmla="*/ 855145 h 1801829"/>
                  <a:gd name="connsiteX99" fmla="*/ 0 w 1692811"/>
                  <a:gd name="connsiteY99" fmla="*/ 855145 h 1801829"/>
                  <a:gd name="connsiteX100" fmla="*/ 1384589 w 1692811"/>
                  <a:gd name="connsiteY100" fmla="*/ 475081 h 1801829"/>
                  <a:gd name="connsiteX101" fmla="*/ 1692811 w 1692811"/>
                  <a:gd name="connsiteY101" fmla="*/ 475081 h 1801829"/>
                  <a:gd name="connsiteX102" fmla="*/ 1692811 w 1692811"/>
                  <a:gd name="connsiteY102" fmla="*/ 618764 h 1801829"/>
                  <a:gd name="connsiteX103" fmla="*/ 1384589 w 1692811"/>
                  <a:gd name="connsiteY103" fmla="*/ 618764 h 1801829"/>
                  <a:gd name="connsiteX104" fmla="*/ 1024604 w 1692811"/>
                  <a:gd name="connsiteY104" fmla="*/ 475081 h 1801829"/>
                  <a:gd name="connsiteX105" fmla="*/ 1332826 w 1692811"/>
                  <a:gd name="connsiteY105" fmla="*/ 475081 h 1801829"/>
                  <a:gd name="connsiteX106" fmla="*/ 1332826 w 1692811"/>
                  <a:gd name="connsiteY106" fmla="*/ 618764 h 1801829"/>
                  <a:gd name="connsiteX107" fmla="*/ 1024604 w 1692811"/>
                  <a:gd name="connsiteY107" fmla="*/ 618764 h 1801829"/>
                  <a:gd name="connsiteX108" fmla="*/ 684522 w 1692811"/>
                  <a:gd name="connsiteY108" fmla="*/ 475081 h 1801829"/>
                  <a:gd name="connsiteX109" fmla="*/ 992744 w 1692811"/>
                  <a:gd name="connsiteY109" fmla="*/ 475081 h 1801829"/>
                  <a:gd name="connsiteX110" fmla="*/ 992744 w 1692811"/>
                  <a:gd name="connsiteY110" fmla="*/ 618764 h 1801829"/>
                  <a:gd name="connsiteX111" fmla="*/ 684522 w 1692811"/>
                  <a:gd name="connsiteY111" fmla="*/ 618764 h 1801829"/>
                  <a:gd name="connsiteX112" fmla="*/ 342116 w 1692811"/>
                  <a:gd name="connsiteY112" fmla="*/ 475081 h 1801829"/>
                  <a:gd name="connsiteX113" fmla="*/ 650338 w 1692811"/>
                  <a:gd name="connsiteY113" fmla="*/ 475081 h 1801829"/>
                  <a:gd name="connsiteX114" fmla="*/ 650338 w 1692811"/>
                  <a:gd name="connsiteY114" fmla="*/ 618764 h 1801829"/>
                  <a:gd name="connsiteX115" fmla="*/ 342116 w 1692811"/>
                  <a:gd name="connsiteY115" fmla="*/ 618764 h 1801829"/>
                  <a:gd name="connsiteX116" fmla="*/ 0 w 1692811"/>
                  <a:gd name="connsiteY116" fmla="*/ 475081 h 1801829"/>
                  <a:gd name="connsiteX117" fmla="*/ 308222 w 1692811"/>
                  <a:gd name="connsiteY117" fmla="*/ 475081 h 1801829"/>
                  <a:gd name="connsiteX118" fmla="*/ 308222 w 1692811"/>
                  <a:gd name="connsiteY118" fmla="*/ 618764 h 1801829"/>
                  <a:gd name="connsiteX119" fmla="*/ 0 w 1692811"/>
                  <a:gd name="connsiteY119" fmla="*/ 618764 h 1801829"/>
                  <a:gd name="connsiteX120" fmla="*/ 1384589 w 1692811"/>
                  <a:gd name="connsiteY120" fmla="*/ 237541 h 1801829"/>
                  <a:gd name="connsiteX121" fmla="*/ 1692811 w 1692811"/>
                  <a:gd name="connsiteY121" fmla="*/ 237541 h 1801829"/>
                  <a:gd name="connsiteX122" fmla="*/ 1692811 w 1692811"/>
                  <a:gd name="connsiteY122" fmla="*/ 380065 h 1801829"/>
                  <a:gd name="connsiteX123" fmla="*/ 1384589 w 1692811"/>
                  <a:gd name="connsiteY123" fmla="*/ 380065 h 1801829"/>
                  <a:gd name="connsiteX124" fmla="*/ 1024604 w 1692811"/>
                  <a:gd name="connsiteY124" fmla="*/ 237541 h 1801829"/>
                  <a:gd name="connsiteX125" fmla="*/ 1332826 w 1692811"/>
                  <a:gd name="connsiteY125" fmla="*/ 237541 h 1801829"/>
                  <a:gd name="connsiteX126" fmla="*/ 1332826 w 1692811"/>
                  <a:gd name="connsiteY126" fmla="*/ 380065 h 1801829"/>
                  <a:gd name="connsiteX127" fmla="*/ 1024604 w 1692811"/>
                  <a:gd name="connsiteY127" fmla="*/ 380065 h 1801829"/>
                  <a:gd name="connsiteX128" fmla="*/ 686465 w 1692811"/>
                  <a:gd name="connsiteY128" fmla="*/ 237541 h 1801829"/>
                  <a:gd name="connsiteX129" fmla="*/ 994687 w 1692811"/>
                  <a:gd name="connsiteY129" fmla="*/ 237541 h 1801829"/>
                  <a:gd name="connsiteX130" fmla="*/ 994687 w 1692811"/>
                  <a:gd name="connsiteY130" fmla="*/ 380065 h 1801829"/>
                  <a:gd name="connsiteX131" fmla="*/ 686465 w 1692811"/>
                  <a:gd name="connsiteY131" fmla="*/ 380065 h 1801829"/>
                  <a:gd name="connsiteX132" fmla="*/ 342116 w 1692811"/>
                  <a:gd name="connsiteY132" fmla="*/ 237541 h 1801829"/>
                  <a:gd name="connsiteX133" fmla="*/ 650338 w 1692811"/>
                  <a:gd name="connsiteY133" fmla="*/ 237541 h 1801829"/>
                  <a:gd name="connsiteX134" fmla="*/ 650338 w 1692811"/>
                  <a:gd name="connsiteY134" fmla="*/ 380065 h 1801829"/>
                  <a:gd name="connsiteX135" fmla="*/ 342116 w 1692811"/>
                  <a:gd name="connsiteY135" fmla="*/ 380065 h 1801829"/>
                  <a:gd name="connsiteX136" fmla="*/ 0 w 1692811"/>
                  <a:gd name="connsiteY136" fmla="*/ 237541 h 1801829"/>
                  <a:gd name="connsiteX137" fmla="*/ 308222 w 1692811"/>
                  <a:gd name="connsiteY137" fmla="*/ 237541 h 1801829"/>
                  <a:gd name="connsiteX138" fmla="*/ 308222 w 1692811"/>
                  <a:gd name="connsiteY138" fmla="*/ 380065 h 1801829"/>
                  <a:gd name="connsiteX139" fmla="*/ 0 w 1692811"/>
                  <a:gd name="connsiteY139" fmla="*/ 380065 h 1801829"/>
                  <a:gd name="connsiteX140" fmla="*/ 1384589 w 1692811"/>
                  <a:gd name="connsiteY140" fmla="*/ 0 h 1801829"/>
                  <a:gd name="connsiteX141" fmla="*/ 1692811 w 1692811"/>
                  <a:gd name="connsiteY141" fmla="*/ 0 h 1801829"/>
                  <a:gd name="connsiteX142" fmla="*/ 1692811 w 1692811"/>
                  <a:gd name="connsiteY142" fmla="*/ 143683 h 1801829"/>
                  <a:gd name="connsiteX143" fmla="*/ 1384589 w 1692811"/>
                  <a:gd name="connsiteY143" fmla="*/ 143683 h 1801829"/>
                  <a:gd name="connsiteX144" fmla="*/ 1024604 w 1692811"/>
                  <a:gd name="connsiteY144" fmla="*/ 0 h 1801829"/>
                  <a:gd name="connsiteX145" fmla="*/ 1332826 w 1692811"/>
                  <a:gd name="connsiteY145" fmla="*/ 0 h 1801829"/>
                  <a:gd name="connsiteX146" fmla="*/ 1332826 w 1692811"/>
                  <a:gd name="connsiteY146" fmla="*/ 143683 h 1801829"/>
                  <a:gd name="connsiteX147" fmla="*/ 1024604 w 1692811"/>
                  <a:gd name="connsiteY147" fmla="*/ 143683 h 1801829"/>
                  <a:gd name="connsiteX148" fmla="*/ 686465 w 1692811"/>
                  <a:gd name="connsiteY148" fmla="*/ 0 h 1801829"/>
                  <a:gd name="connsiteX149" fmla="*/ 994687 w 1692811"/>
                  <a:gd name="connsiteY149" fmla="*/ 0 h 1801829"/>
                  <a:gd name="connsiteX150" fmla="*/ 994687 w 1692811"/>
                  <a:gd name="connsiteY150" fmla="*/ 143683 h 1801829"/>
                  <a:gd name="connsiteX151" fmla="*/ 686465 w 1692811"/>
                  <a:gd name="connsiteY151" fmla="*/ 143683 h 1801829"/>
                  <a:gd name="connsiteX152" fmla="*/ 342116 w 1692811"/>
                  <a:gd name="connsiteY152" fmla="*/ 0 h 1801829"/>
                  <a:gd name="connsiteX153" fmla="*/ 650338 w 1692811"/>
                  <a:gd name="connsiteY153" fmla="*/ 0 h 1801829"/>
                  <a:gd name="connsiteX154" fmla="*/ 650338 w 1692811"/>
                  <a:gd name="connsiteY154" fmla="*/ 143683 h 1801829"/>
                  <a:gd name="connsiteX155" fmla="*/ 342116 w 1692811"/>
                  <a:gd name="connsiteY155" fmla="*/ 143683 h 1801829"/>
                  <a:gd name="connsiteX156" fmla="*/ 0 w 1692811"/>
                  <a:gd name="connsiteY156" fmla="*/ 0 h 1801829"/>
                  <a:gd name="connsiteX157" fmla="*/ 308222 w 1692811"/>
                  <a:gd name="connsiteY157" fmla="*/ 0 h 1801829"/>
                  <a:gd name="connsiteX158" fmla="*/ 308222 w 1692811"/>
                  <a:gd name="connsiteY158" fmla="*/ 143683 h 1801829"/>
                  <a:gd name="connsiteX159" fmla="*/ 0 w 1692811"/>
                  <a:gd name="connsiteY159" fmla="*/ 143683 h 1801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</a:cxnLst>
                <a:rect l="l" t="t" r="r" b="b"/>
                <a:pathLst>
                  <a:path w="1692811" h="1801829">
                    <a:moveTo>
                      <a:pt x="1384589" y="1658146"/>
                    </a:moveTo>
                    <a:lnTo>
                      <a:pt x="1692811" y="1658146"/>
                    </a:lnTo>
                    <a:lnTo>
                      <a:pt x="1692811" y="1801829"/>
                    </a:lnTo>
                    <a:lnTo>
                      <a:pt x="1384589" y="1801829"/>
                    </a:lnTo>
                    <a:close/>
                    <a:moveTo>
                      <a:pt x="1025762" y="1658146"/>
                    </a:moveTo>
                    <a:lnTo>
                      <a:pt x="1332826" y="1658146"/>
                    </a:lnTo>
                    <a:lnTo>
                      <a:pt x="1332826" y="1801829"/>
                    </a:lnTo>
                    <a:lnTo>
                      <a:pt x="1025762" y="1801829"/>
                    </a:lnTo>
                    <a:close/>
                    <a:moveTo>
                      <a:pt x="684522" y="1658146"/>
                    </a:moveTo>
                    <a:lnTo>
                      <a:pt x="992744" y="1658146"/>
                    </a:lnTo>
                    <a:lnTo>
                      <a:pt x="992744" y="1801829"/>
                    </a:lnTo>
                    <a:lnTo>
                      <a:pt x="684522" y="1801829"/>
                    </a:lnTo>
                    <a:close/>
                    <a:moveTo>
                      <a:pt x="342116" y="1658146"/>
                    </a:moveTo>
                    <a:lnTo>
                      <a:pt x="650338" y="1658146"/>
                    </a:lnTo>
                    <a:lnTo>
                      <a:pt x="650338" y="1801829"/>
                    </a:lnTo>
                    <a:lnTo>
                      <a:pt x="342116" y="1801829"/>
                    </a:lnTo>
                    <a:close/>
                    <a:moveTo>
                      <a:pt x="0" y="1658146"/>
                    </a:moveTo>
                    <a:lnTo>
                      <a:pt x="308222" y="1658146"/>
                    </a:lnTo>
                    <a:lnTo>
                      <a:pt x="308222" y="1801829"/>
                    </a:lnTo>
                    <a:lnTo>
                      <a:pt x="0" y="1801829"/>
                    </a:lnTo>
                    <a:close/>
                    <a:moveTo>
                      <a:pt x="1384589" y="1421764"/>
                    </a:moveTo>
                    <a:lnTo>
                      <a:pt x="1692811" y="1421764"/>
                    </a:lnTo>
                    <a:lnTo>
                      <a:pt x="1692811" y="1565447"/>
                    </a:lnTo>
                    <a:lnTo>
                      <a:pt x="1384589" y="1565447"/>
                    </a:lnTo>
                    <a:close/>
                    <a:moveTo>
                      <a:pt x="1025762" y="1421764"/>
                    </a:moveTo>
                    <a:lnTo>
                      <a:pt x="1332826" y="1421764"/>
                    </a:lnTo>
                    <a:lnTo>
                      <a:pt x="1332826" y="1565447"/>
                    </a:lnTo>
                    <a:lnTo>
                      <a:pt x="1025762" y="1565447"/>
                    </a:lnTo>
                    <a:close/>
                    <a:moveTo>
                      <a:pt x="684522" y="1421764"/>
                    </a:moveTo>
                    <a:lnTo>
                      <a:pt x="992744" y="1421764"/>
                    </a:lnTo>
                    <a:lnTo>
                      <a:pt x="992744" y="1565447"/>
                    </a:lnTo>
                    <a:lnTo>
                      <a:pt x="684522" y="1565447"/>
                    </a:lnTo>
                    <a:close/>
                    <a:moveTo>
                      <a:pt x="342116" y="1421764"/>
                    </a:moveTo>
                    <a:lnTo>
                      <a:pt x="650338" y="1421764"/>
                    </a:lnTo>
                    <a:lnTo>
                      <a:pt x="650338" y="1565447"/>
                    </a:lnTo>
                    <a:lnTo>
                      <a:pt x="342116" y="1565447"/>
                    </a:lnTo>
                    <a:close/>
                    <a:moveTo>
                      <a:pt x="0" y="1421764"/>
                    </a:moveTo>
                    <a:lnTo>
                      <a:pt x="308222" y="1421764"/>
                    </a:lnTo>
                    <a:lnTo>
                      <a:pt x="308222" y="1565447"/>
                    </a:lnTo>
                    <a:lnTo>
                      <a:pt x="0" y="1565447"/>
                    </a:lnTo>
                    <a:close/>
                    <a:moveTo>
                      <a:pt x="1384589" y="1185383"/>
                    </a:moveTo>
                    <a:lnTo>
                      <a:pt x="1692811" y="1185383"/>
                    </a:lnTo>
                    <a:lnTo>
                      <a:pt x="1692811" y="1329066"/>
                    </a:lnTo>
                    <a:lnTo>
                      <a:pt x="1384589" y="1329066"/>
                    </a:lnTo>
                    <a:close/>
                    <a:moveTo>
                      <a:pt x="1025762" y="1185383"/>
                    </a:moveTo>
                    <a:lnTo>
                      <a:pt x="1332826" y="1185383"/>
                    </a:lnTo>
                    <a:lnTo>
                      <a:pt x="1332826" y="1329066"/>
                    </a:lnTo>
                    <a:lnTo>
                      <a:pt x="1025762" y="1329066"/>
                    </a:lnTo>
                    <a:close/>
                    <a:moveTo>
                      <a:pt x="684522" y="1185383"/>
                    </a:moveTo>
                    <a:lnTo>
                      <a:pt x="992744" y="1185383"/>
                    </a:lnTo>
                    <a:lnTo>
                      <a:pt x="992744" y="1329066"/>
                    </a:lnTo>
                    <a:lnTo>
                      <a:pt x="684522" y="1329066"/>
                    </a:lnTo>
                    <a:close/>
                    <a:moveTo>
                      <a:pt x="342116" y="1185383"/>
                    </a:moveTo>
                    <a:lnTo>
                      <a:pt x="650338" y="1185383"/>
                    </a:lnTo>
                    <a:lnTo>
                      <a:pt x="650338" y="1329066"/>
                    </a:lnTo>
                    <a:lnTo>
                      <a:pt x="342116" y="1329066"/>
                    </a:lnTo>
                    <a:close/>
                    <a:moveTo>
                      <a:pt x="0" y="1185383"/>
                    </a:moveTo>
                    <a:lnTo>
                      <a:pt x="308222" y="1185383"/>
                    </a:lnTo>
                    <a:lnTo>
                      <a:pt x="308222" y="1329066"/>
                    </a:lnTo>
                    <a:lnTo>
                      <a:pt x="0" y="1329066"/>
                    </a:lnTo>
                    <a:close/>
                    <a:moveTo>
                      <a:pt x="1384589" y="949002"/>
                    </a:moveTo>
                    <a:lnTo>
                      <a:pt x="1692811" y="949002"/>
                    </a:lnTo>
                    <a:lnTo>
                      <a:pt x="1692811" y="1091526"/>
                    </a:lnTo>
                    <a:lnTo>
                      <a:pt x="1384589" y="1091526"/>
                    </a:lnTo>
                    <a:close/>
                    <a:moveTo>
                      <a:pt x="1025762" y="949002"/>
                    </a:moveTo>
                    <a:lnTo>
                      <a:pt x="1332826" y="949002"/>
                    </a:lnTo>
                    <a:lnTo>
                      <a:pt x="1332826" y="1091526"/>
                    </a:lnTo>
                    <a:lnTo>
                      <a:pt x="1025762" y="1091526"/>
                    </a:lnTo>
                    <a:close/>
                    <a:moveTo>
                      <a:pt x="684522" y="949002"/>
                    </a:moveTo>
                    <a:lnTo>
                      <a:pt x="992744" y="949002"/>
                    </a:lnTo>
                    <a:lnTo>
                      <a:pt x="992744" y="1091526"/>
                    </a:lnTo>
                    <a:lnTo>
                      <a:pt x="684522" y="1091526"/>
                    </a:lnTo>
                    <a:close/>
                    <a:moveTo>
                      <a:pt x="342116" y="949002"/>
                    </a:moveTo>
                    <a:lnTo>
                      <a:pt x="650338" y="949002"/>
                    </a:lnTo>
                    <a:lnTo>
                      <a:pt x="650338" y="1091526"/>
                    </a:lnTo>
                    <a:lnTo>
                      <a:pt x="342116" y="1091526"/>
                    </a:lnTo>
                    <a:close/>
                    <a:moveTo>
                      <a:pt x="0" y="949002"/>
                    </a:moveTo>
                    <a:lnTo>
                      <a:pt x="308222" y="949002"/>
                    </a:lnTo>
                    <a:lnTo>
                      <a:pt x="308222" y="1091526"/>
                    </a:lnTo>
                    <a:lnTo>
                      <a:pt x="0" y="1091526"/>
                    </a:lnTo>
                    <a:close/>
                    <a:moveTo>
                      <a:pt x="1384589" y="711462"/>
                    </a:moveTo>
                    <a:lnTo>
                      <a:pt x="1692811" y="711462"/>
                    </a:lnTo>
                    <a:lnTo>
                      <a:pt x="1692811" y="855145"/>
                    </a:lnTo>
                    <a:lnTo>
                      <a:pt x="1384589" y="855145"/>
                    </a:lnTo>
                    <a:close/>
                    <a:moveTo>
                      <a:pt x="1025762" y="711462"/>
                    </a:moveTo>
                    <a:lnTo>
                      <a:pt x="1332826" y="711462"/>
                    </a:lnTo>
                    <a:lnTo>
                      <a:pt x="1332826" y="855145"/>
                    </a:lnTo>
                    <a:lnTo>
                      <a:pt x="1025762" y="855145"/>
                    </a:lnTo>
                    <a:close/>
                    <a:moveTo>
                      <a:pt x="684522" y="711462"/>
                    </a:moveTo>
                    <a:lnTo>
                      <a:pt x="992744" y="711462"/>
                    </a:lnTo>
                    <a:lnTo>
                      <a:pt x="992744" y="855145"/>
                    </a:lnTo>
                    <a:lnTo>
                      <a:pt x="684522" y="855145"/>
                    </a:lnTo>
                    <a:close/>
                    <a:moveTo>
                      <a:pt x="342116" y="711462"/>
                    </a:moveTo>
                    <a:lnTo>
                      <a:pt x="650338" y="711462"/>
                    </a:lnTo>
                    <a:lnTo>
                      <a:pt x="650338" y="855145"/>
                    </a:lnTo>
                    <a:lnTo>
                      <a:pt x="342116" y="855145"/>
                    </a:lnTo>
                    <a:close/>
                    <a:moveTo>
                      <a:pt x="0" y="711462"/>
                    </a:moveTo>
                    <a:lnTo>
                      <a:pt x="308222" y="711462"/>
                    </a:lnTo>
                    <a:lnTo>
                      <a:pt x="308222" y="855145"/>
                    </a:lnTo>
                    <a:lnTo>
                      <a:pt x="0" y="855145"/>
                    </a:lnTo>
                    <a:close/>
                    <a:moveTo>
                      <a:pt x="1384589" y="475081"/>
                    </a:moveTo>
                    <a:lnTo>
                      <a:pt x="1692811" y="475081"/>
                    </a:lnTo>
                    <a:lnTo>
                      <a:pt x="1692811" y="618764"/>
                    </a:lnTo>
                    <a:lnTo>
                      <a:pt x="1384589" y="618764"/>
                    </a:lnTo>
                    <a:close/>
                    <a:moveTo>
                      <a:pt x="1024604" y="475081"/>
                    </a:moveTo>
                    <a:lnTo>
                      <a:pt x="1332826" y="475081"/>
                    </a:lnTo>
                    <a:lnTo>
                      <a:pt x="1332826" y="618764"/>
                    </a:lnTo>
                    <a:lnTo>
                      <a:pt x="1024604" y="618764"/>
                    </a:lnTo>
                    <a:close/>
                    <a:moveTo>
                      <a:pt x="684522" y="475081"/>
                    </a:moveTo>
                    <a:lnTo>
                      <a:pt x="992744" y="475081"/>
                    </a:lnTo>
                    <a:lnTo>
                      <a:pt x="992744" y="618764"/>
                    </a:lnTo>
                    <a:lnTo>
                      <a:pt x="684522" y="618764"/>
                    </a:lnTo>
                    <a:close/>
                    <a:moveTo>
                      <a:pt x="342116" y="475081"/>
                    </a:moveTo>
                    <a:lnTo>
                      <a:pt x="650338" y="475081"/>
                    </a:lnTo>
                    <a:lnTo>
                      <a:pt x="650338" y="618764"/>
                    </a:lnTo>
                    <a:lnTo>
                      <a:pt x="342116" y="618764"/>
                    </a:lnTo>
                    <a:close/>
                    <a:moveTo>
                      <a:pt x="0" y="475081"/>
                    </a:moveTo>
                    <a:lnTo>
                      <a:pt x="308222" y="475081"/>
                    </a:lnTo>
                    <a:lnTo>
                      <a:pt x="308222" y="618764"/>
                    </a:lnTo>
                    <a:lnTo>
                      <a:pt x="0" y="618764"/>
                    </a:lnTo>
                    <a:close/>
                    <a:moveTo>
                      <a:pt x="1384589" y="237541"/>
                    </a:moveTo>
                    <a:lnTo>
                      <a:pt x="1692811" y="237541"/>
                    </a:lnTo>
                    <a:lnTo>
                      <a:pt x="1692811" y="380065"/>
                    </a:lnTo>
                    <a:lnTo>
                      <a:pt x="1384589" y="380065"/>
                    </a:lnTo>
                    <a:close/>
                    <a:moveTo>
                      <a:pt x="1024604" y="237541"/>
                    </a:moveTo>
                    <a:lnTo>
                      <a:pt x="1332826" y="237541"/>
                    </a:lnTo>
                    <a:lnTo>
                      <a:pt x="1332826" y="380065"/>
                    </a:lnTo>
                    <a:lnTo>
                      <a:pt x="1024604" y="380065"/>
                    </a:lnTo>
                    <a:close/>
                    <a:moveTo>
                      <a:pt x="686465" y="237541"/>
                    </a:moveTo>
                    <a:lnTo>
                      <a:pt x="994687" y="237541"/>
                    </a:lnTo>
                    <a:lnTo>
                      <a:pt x="994687" y="380065"/>
                    </a:lnTo>
                    <a:lnTo>
                      <a:pt x="686465" y="380065"/>
                    </a:lnTo>
                    <a:close/>
                    <a:moveTo>
                      <a:pt x="342116" y="237541"/>
                    </a:moveTo>
                    <a:lnTo>
                      <a:pt x="650338" y="237541"/>
                    </a:lnTo>
                    <a:lnTo>
                      <a:pt x="650338" y="380065"/>
                    </a:lnTo>
                    <a:lnTo>
                      <a:pt x="342116" y="380065"/>
                    </a:lnTo>
                    <a:close/>
                    <a:moveTo>
                      <a:pt x="0" y="237541"/>
                    </a:moveTo>
                    <a:lnTo>
                      <a:pt x="308222" y="237541"/>
                    </a:lnTo>
                    <a:lnTo>
                      <a:pt x="308222" y="380065"/>
                    </a:lnTo>
                    <a:lnTo>
                      <a:pt x="0" y="380065"/>
                    </a:lnTo>
                    <a:close/>
                    <a:moveTo>
                      <a:pt x="1384589" y="0"/>
                    </a:moveTo>
                    <a:lnTo>
                      <a:pt x="1692811" y="0"/>
                    </a:lnTo>
                    <a:lnTo>
                      <a:pt x="1692811" y="143683"/>
                    </a:lnTo>
                    <a:lnTo>
                      <a:pt x="1384589" y="143683"/>
                    </a:lnTo>
                    <a:close/>
                    <a:moveTo>
                      <a:pt x="1024604" y="0"/>
                    </a:moveTo>
                    <a:lnTo>
                      <a:pt x="1332826" y="0"/>
                    </a:lnTo>
                    <a:lnTo>
                      <a:pt x="1332826" y="143683"/>
                    </a:lnTo>
                    <a:lnTo>
                      <a:pt x="1024604" y="143683"/>
                    </a:lnTo>
                    <a:close/>
                    <a:moveTo>
                      <a:pt x="686465" y="0"/>
                    </a:moveTo>
                    <a:lnTo>
                      <a:pt x="994687" y="0"/>
                    </a:lnTo>
                    <a:lnTo>
                      <a:pt x="994687" y="143683"/>
                    </a:lnTo>
                    <a:lnTo>
                      <a:pt x="686465" y="143683"/>
                    </a:lnTo>
                    <a:close/>
                    <a:moveTo>
                      <a:pt x="342116" y="0"/>
                    </a:moveTo>
                    <a:lnTo>
                      <a:pt x="650338" y="0"/>
                    </a:lnTo>
                    <a:lnTo>
                      <a:pt x="650338" y="143683"/>
                    </a:lnTo>
                    <a:lnTo>
                      <a:pt x="342116" y="143683"/>
                    </a:lnTo>
                    <a:close/>
                    <a:moveTo>
                      <a:pt x="0" y="0"/>
                    </a:moveTo>
                    <a:lnTo>
                      <a:pt x="308222" y="0"/>
                    </a:lnTo>
                    <a:lnTo>
                      <a:pt x="308222" y="143683"/>
                    </a:lnTo>
                    <a:lnTo>
                      <a:pt x="0" y="143683"/>
                    </a:lnTo>
                    <a:close/>
                  </a:path>
                </a:pathLst>
              </a:custGeom>
              <a:gradFill flip="none" rotWithShape="1">
                <a:gsLst>
                  <a:gs pos="58000">
                    <a:schemeClr val="bg1">
                      <a:lumMod val="95000"/>
                      <a:alpha val="47000"/>
                    </a:schemeClr>
                  </a:gs>
                  <a:gs pos="5000">
                    <a:srgbClr val="D9D9D9"/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B81AD8A5-9BF4-499A-89FF-ACC91B1736B3}"/>
                </a:ext>
              </a:extLst>
            </p:cNvPr>
            <p:cNvGrpSpPr/>
            <p:nvPr/>
          </p:nvGrpSpPr>
          <p:grpSpPr>
            <a:xfrm>
              <a:off x="5712243" y="3355276"/>
              <a:ext cx="767514" cy="767520"/>
              <a:chOff x="5712243" y="3355276"/>
              <a:chExt cx="767514" cy="767520"/>
            </a:xfrm>
          </p:grpSpPr>
          <p:sp>
            <p:nvSpPr>
              <p:cNvPr id="24" name="椭圆 23">
                <a:extLst>
                  <a:ext uri="{FF2B5EF4-FFF2-40B4-BE49-F238E27FC236}">
                    <a16:creationId xmlns:a16="http://schemas.microsoft.com/office/drawing/2014/main" id="{7B116EFC-9290-4D35-A9B8-E690D8306646}"/>
                  </a:ext>
                </a:extLst>
              </p:cNvPr>
              <p:cNvSpPr/>
              <p:nvPr/>
            </p:nvSpPr>
            <p:spPr>
              <a:xfrm>
                <a:off x="5712243" y="3355276"/>
                <a:ext cx="767514" cy="767520"/>
              </a:xfrm>
              <a:prstGeom prst="ellipse">
                <a:avLst/>
              </a:prstGeom>
              <a:solidFill>
                <a:schemeClr val="accent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 dirty="0">
                  <a:cs typeface="+mn-ea"/>
                  <a:sym typeface="+mn-lt"/>
                </a:endParaRPr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664182BB-551D-458C-B3DF-705453FCFC94}"/>
                  </a:ext>
                </a:extLst>
              </p:cNvPr>
              <p:cNvSpPr/>
              <p:nvPr/>
            </p:nvSpPr>
            <p:spPr bwMode="auto">
              <a:xfrm>
                <a:off x="5900321" y="3562943"/>
                <a:ext cx="391358" cy="352182"/>
              </a:xfrm>
              <a:custGeom>
                <a:avLst/>
                <a:gdLst>
                  <a:gd name="connsiteX0" fmla="*/ 225929 w 608344"/>
                  <a:gd name="connsiteY0" fmla="*/ 296304 h 547447"/>
                  <a:gd name="connsiteX1" fmla="*/ 225929 w 608344"/>
                  <a:gd name="connsiteY1" fmla="*/ 341046 h 547447"/>
                  <a:gd name="connsiteX2" fmla="*/ 44891 w 608344"/>
                  <a:gd name="connsiteY2" fmla="*/ 420403 h 547447"/>
                  <a:gd name="connsiteX3" fmla="*/ 287412 w 608344"/>
                  <a:gd name="connsiteY3" fmla="*/ 502613 h 547447"/>
                  <a:gd name="connsiteX4" fmla="*/ 530026 w 608344"/>
                  <a:gd name="connsiteY4" fmla="*/ 420403 h 547447"/>
                  <a:gd name="connsiteX5" fmla="*/ 351292 w 608344"/>
                  <a:gd name="connsiteY5" fmla="*/ 341322 h 547447"/>
                  <a:gd name="connsiteX6" fmla="*/ 351292 w 608344"/>
                  <a:gd name="connsiteY6" fmla="*/ 296488 h 547447"/>
                  <a:gd name="connsiteX7" fmla="*/ 574825 w 608344"/>
                  <a:gd name="connsiteY7" fmla="*/ 420403 h 547447"/>
                  <a:gd name="connsiteX8" fmla="*/ 287412 w 608344"/>
                  <a:gd name="connsiteY8" fmla="*/ 547447 h 547447"/>
                  <a:gd name="connsiteX9" fmla="*/ 0 w 608344"/>
                  <a:gd name="connsiteY9" fmla="*/ 420403 h 547447"/>
                  <a:gd name="connsiteX10" fmla="*/ 225929 w 608344"/>
                  <a:gd name="connsiteY10" fmla="*/ 296304 h 547447"/>
                  <a:gd name="connsiteX11" fmla="*/ 288618 w 608344"/>
                  <a:gd name="connsiteY11" fmla="*/ 0 h 547447"/>
                  <a:gd name="connsiteX12" fmla="*/ 311206 w 608344"/>
                  <a:gd name="connsiteY12" fmla="*/ 22551 h 547447"/>
                  <a:gd name="connsiteX13" fmla="*/ 311206 w 608344"/>
                  <a:gd name="connsiteY13" fmla="*/ 36174 h 547447"/>
                  <a:gd name="connsiteX14" fmla="*/ 370947 w 608344"/>
                  <a:gd name="connsiteY14" fmla="*/ 21079 h 547447"/>
                  <a:gd name="connsiteX15" fmla="*/ 428291 w 608344"/>
                  <a:gd name="connsiteY15" fmla="*/ 34978 h 547447"/>
                  <a:gd name="connsiteX16" fmla="*/ 486004 w 608344"/>
                  <a:gd name="connsiteY16" fmla="*/ 48969 h 547447"/>
                  <a:gd name="connsiteX17" fmla="*/ 540766 w 608344"/>
                  <a:gd name="connsiteY17" fmla="*/ 36450 h 547447"/>
                  <a:gd name="connsiteX18" fmla="*/ 578012 w 608344"/>
                  <a:gd name="connsiteY18" fmla="*/ 18409 h 547447"/>
                  <a:gd name="connsiteX19" fmla="*/ 587232 w 608344"/>
                  <a:gd name="connsiteY19" fmla="*/ 16292 h 547447"/>
                  <a:gd name="connsiteX20" fmla="*/ 598479 w 608344"/>
                  <a:gd name="connsiteY20" fmla="*/ 19514 h 547447"/>
                  <a:gd name="connsiteX21" fmla="*/ 608344 w 608344"/>
                  <a:gd name="connsiteY21" fmla="*/ 37371 h 547447"/>
                  <a:gd name="connsiteX22" fmla="*/ 608344 w 608344"/>
                  <a:gd name="connsiteY22" fmla="*/ 174520 h 547447"/>
                  <a:gd name="connsiteX23" fmla="*/ 596451 w 608344"/>
                  <a:gd name="connsiteY23" fmla="*/ 193481 h 547447"/>
                  <a:gd name="connsiteX24" fmla="*/ 540766 w 608344"/>
                  <a:gd name="connsiteY24" fmla="*/ 220451 h 547447"/>
                  <a:gd name="connsiteX25" fmla="*/ 486004 w 608344"/>
                  <a:gd name="connsiteY25" fmla="*/ 232969 h 547447"/>
                  <a:gd name="connsiteX26" fmla="*/ 428291 w 608344"/>
                  <a:gd name="connsiteY26" fmla="*/ 218978 h 547447"/>
                  <a:gd name="connsiteX27" fmla="*/ 370947 w 608344"/>
                  <a:gd name="connsiteY27" fmla="*/ 205079 h 547447"/>
                  <a:gd name="connsiteX28" fmla="*/ 311206 w 608344"/>
                  <a:gd name="connsiteY28" fmla="*/ 220175 h 547447"/>
                  <a:gd name="connsiteX29" fmla="*/ 311206 w 608344"/>
                  <a:gd name="connsiteY29" fmla="*/ 426267 h 547447"/>
                  <a:gd name="connsiteX30" fmla="*/ 288618 w 608344"/>
                  <a:gd name="connsiteY30" fmla="*/ 448726 h 547447"/>
                  <a:gd name="connsiteX31" fmla="*/ 266031 w 608344"/>
                  <a:gd name="connsiteY31" fmla="*/ 426267 h 547447"/>
                  <a:gd name="connsiteX32" fmla="*/ 266031 w 608344"/>
                  <a:gd name="connsiteY32" fmla="*/ 22551 h 547447"/>
                  <a:gd name="connsiteX33" fmla="*/ 288618 w 608344"/>
                  <a:gd name="connsiteY33" fmla="*/ 0 h 547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608344" h="547447">
                    <a:moveTo>
                      <a:pt x="225929" y="296304"/>
                    </a:moveTo>
                    <a:lnTo>
                      <a:pt x="225929" y="341046"/>
                    </a:lnTo>
                    <a:cubicBezTo>
                      <a:pt x="112458" y="351817"/>
                      <a:pt x="44891" y="391035"/>
                      <a:pt x="44891" y="420403"/>
                    </a:cubicBezTo>
                    <a:cubicBezTo>
                      <a:pt x="44891" y="454741"/>
                      <a:pt x="137162" y="502613"/>
                      <a:pt x="287412" y="502613"/>
                    </a:cubicBezTo>
                    <a:cubicBezTo>
                      <a:pt x="437663" y="502613"/>
                      <a:pt x="530026" y="454741"/>
                      <a:pt x="530026" y="420403"/>
                    </a:cubicBezTo>
                    <a:cubicBezTo>
                      <a:pt x="530026" y="391219"/>
                      <a:pt x="463289" y="352369"/>
                      <a:pt x="351292" y="341322"/>
                    </a:cubicBezTo>
                    <a:lnTo>
                      <a:pt x="351292" y="296488"/>
                    </a:lnTo>
                    <a:cubicBezTo>
                      <a:pt x="468543" y="307904"/>
                      <a:pt x="574825" y="350436"/>
                      <a:pt x="574825" y="420403"/>
                    </a:cubicBezTo>
                    <a:cubicBezTo>
                      <a:pt x="574825" y="502889"/>
                      <a:pt x="426786" y="547447"/>
                      <a:pt x="287412" y="547447"/>
                    </a:cubicBezTo>
                    <a:cubicBezTo>
                      <a:pt x="148131" y="547447"/>
                      <a:pt x="0" y="502889"/>
                      <a:pt x="0" y="420403"/>
                    </a:cubicBezTo>
                    <a:cubicBezTo>
                      <a:pt x="0" y="349976"/>
                      <a:pt x="107757" y="307351"/>
                      <a:pt x="225929" y="296304"/>
                    </a:cubicBezTo>
                    <a:close/>
                    <a:moveTo>
                      <a:pt x="288618" y="0"/>
                    </a:moveTo>
                    <a:cubicBezTo>
                      <a:pt x="301064" y="0"/>
                      <a:pt x="311206" y="10033"/>
                      <a:pt x="311206" y="22551"/>
                    </a:cubicBezTo>
                    <a:lnTo>
                      <a:pt x="311206" y="36174"/>
                    </a:lnTo>
                    <a:cubicBezTo>
                      <a:pt x="329829" y="26141"/>
                      <a:pt x="350388" y="21079"/>
                      <a:pt x="370947" y="21079"/>
                    </a:cubicBezTo>
                    <a:cubicBezTo>
                      <a:pt x="390584" y="21079"/>
                      <a:pt x="410313" y="25681"/>
                      <a:pt x="428291" y="34978"/>
                    </a:cubicBezTo>
                    <a:cubicBezTo>
                      <a:pt x="446361" y="44366"/>
                      <a:pt x="466182" y="48969"/>
                      <a:pt x="486004" y="48969"/>
                    </a:cubicBezTo>
                    <a:cubicBezTo>
                      <a:pt x="504719" y="48969"/>
                      <a:pt x="523526" y="44827"/>
                      <a:pt x="540766" y="36450"/>
                    </a:cubicBezTo>
                    <a:lnTo>
                      <a:pt x="578012" y="18409"/>
                    </a:lnTo>
                    <a:cubicBezTo>
                      <a:pt x="580963" y="17029"/>
                      <a:pt x="584097" y="16292"/>
                      <a:pt x="587232" y="16292"/>
                    </a:cubicBezTo>
                    <a:cubicBezTo>
                      <a:pt x="591104" y="16292"/>
                      <a:pt x="594976" y="17397"/>
                      <a:pt x="598479" y="19514"/>
                    </a:cubicBezTo>
                    <a:cubicBezTo>
                      <a:pt x="604564" y="23380"/>
                      <a:pt x="608344" y="30099"/>
                      <a:pt x="608344" y="37371"/>
                    </a:cubicBezTo>
                    <a:lnTo>
                      <a:pt x="608344" y="174520"/>
                    </a:lnTo>
                    <a:cubicBezTo>
                      <a:pt x="608344" y="182620"/>
                      <a:pt x="603734" y="189984"/>
                      <a:pt x="596451" y="193481"/>
                    </a:cubicBezTo>
                    <a:lnTo>
                      <a:pt x="540766" y="220451"/>
                    </a:lnTo>
                    <a:cubicBezTo>
                      <a:pt x="523434" y="228827"/>
                      <a:pt x="504719" y="232969"/>
                      <a:pt x="486004" y="232969"/>
                    </a:cubicBezTo>
                    <a:cubicBezTo>
                      <a:pt x="466182" y="232969"/>
                      <a:pt x="446361" y="228367"/>
                      <a:pt x="428291" y="218978"/>
                    </a:cubicBezTo>
                    <a:cubicBezTo>
                      <a:pt x="410313" y="209774"/>
                      <a:pt x="390584" y="205079"/>
                      <a:pt x="370947" y="205079"/>
                    </a:cubicBezTo>
                    <a:cubicBezTo>
                      <a:pt x="350388" y="205079"/>
                      <a:pt x="329829" y="210142"/>
                      <a:pt x="311206" y="220175"/>
                    </a:cubicBezTo>
                    <a:lnTo>
                      <a:pt x="311206" y="426267"/>
                    </a:lnTo>
                    <a:cubicBezTo>
                      <a:pt x="311206" y="438693"/>
                      <a:pt x="301064" y="448726"/>
                      <a:pt x="288618" y="448726"/>
                    </a:cubicBezTo>
                    <a:cubicBezTo>
                      <a:pt x="276172" y="448726"/>
                      <a:pt x="266031" y="438693"/>
                      <a:pt x="266031" y="426267"/>
                    </a:cubicBezTo>
                    <a:lnTo>
                      <a:pt x="266031" y="22551"/>
                    </a:lnTo>
                    <a:cubicBezTo>
                      <a:pt x="266031" y="10033"/>
                      <a:pt x="276172" y="0"/>
                      <a:pt x="28861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 sz="7198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826314C0-AB5C-4632-A10E-945915EFF422}"/>
                </a:ext>
              </a:extLst>
            </p:cNvPr>
            <p:cNvGrpSpPr/>
            <p:nvPr/>
          </p:nvGrpSpPr>
          <p:grpSpPr>
            <a:xfrm>
              <a:off x="673100" y="4741690"/>
              <a:ext cx="2594502" cy="1405110"/>
              <a:chOff x="8563614" y="4934816"/>
              <a:chExt cx="2955286" cy="1405110"/>
            </a:xfrm>
          </p:grpSpPr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73D61A32-B76E-47E0-89FE-8786A0281FDE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>
                    <a:cs typeface="+mn-ea"/>
                    <a:sym typeface="+mn-lt"/>
                  </a:rPr>
                  <a:t>Text 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cs typeface="+mn-ea"/>
                    <a:sym typeface="+mn-lt"/>
                  </a:rPr>
                  <a:t>here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  <p:sp>
            <p:nvSpPr>
              <p:cNvPr id="23" name="矩形 22">
                <a:extLst>
                  <a:ext uri="{FF2B5EF4-FFF2-40B4-BE49-F238E27FC236}">
                    <a16:creationId xmlns:a16="http://schemas.microsoft.com/office/drawing/2014/main" id="{693C97FB-F1E6-4A33-AA5E-EF9FDB6C766F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9248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</a:t>
                </a:r>
                <a:r>
                  <a:rPr lang="en-US" altLang="zh-CN" sz="1100">
                    <a:cs typeface="+mn-ea"/>
                    <a:sym typeface="+mn-lt"/>
                  </a:rPr>
                  <a:t>only opt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ion </a:t>
                </a:r>
                <a:r>
                  <a:rPr lang="en-US" altLang="zh-CN" sz="1100" dirty="0">
                    <a:cs typeface="+mn-ea"/>
                    <a:sym typeface="+mn-lt"/>
                  </a:rPr>
                  <a:t>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 …</a:t>
                </a: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6D603848-BFD0-484D-B088-F12223F59E11}"/>
                </a:ext>
              </a:extLst>
            </p:cNvPr>
            <p:cNvGrpSpPr/>
            <p:nvPr/>
          </p:nvGrpSpPr>
          <p:grpSpPr>
            <a:xfrm>
              <a:off x="3423533" y="4741690"/>
              <a:ext cx="2594502" cy="1405110"/>
              <a:chOff x="8563614" y="4934816"/>
              <a:chExt cx="2955286" cy="1405110"/>
            </a:xfrm>
          </p:grpSpPr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4280360F-A4B1-45A9-A4B7-8C03D8F624A5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>
                    <a:cs typeface="+mn-ea"/>
                    <a:sym typeface="+mn-lt"/>
                  </a:rPr>
                  <a:t>Text 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cs typeface="+mn-ea"/>
                    <a:sym typeface="+mn-lt"/>
                  </a:rPr>
                  <a:t>here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4A6B9980-732C-41D4-9BCE-B29D3A2E7523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9248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</a:t>
                </a:r>
                <a:r>
                  <a:rPr lang="en-US" altLang="zh-CN" sz="1100">
                    <a:cs typeface="+mn-ea"/>
                    <a:sym typeface="+mn-lt"/>
                  </a:rPr>
                  <a:t>only opt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ion </a:t>
                </a:r>
                <a:r>
                  <a:rPr lang="en-US" altLang="zh-CN" sz="1100" dirty="0">
                    <a:cs typeface="+mn-ea"/>
                    <a:sym typeface="+mn-lt"/>
                  </a:rPr>
                  <a:t>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 …</a:t>
                </a: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DDAA79B4-00A5-4D97-A7B0-248BAAB08DFE}"/>
                </a:ext>
              </a:extLst>
            </p:cNvPr>
            <p:cNvGrpSpPr/>
            <p:nvPr/>
          </p:nvGrpSpPr>
          <p:grpSpPr>
            <a:xfrm>
              <a:off x="6173965" y="4741690"/>
              <a:ext cx="2594502" cy="1405110"/>
              <a:chOff x="8563614" y="4934816"/>
              <a:chExt cx="2955286" cy="1405110"/>
            </a:xfrm>
          </p:grpSpPr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B002188E-8768-4BA0-A4DC-DA041360FD45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>
                    <a:cs typeface="+mn-ea"/>
                    <a:sym typeface="+mn-lt"/>
                  </a:rPr>
                  <a:t>Text 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cs typeface="+mn-ea"/>
                    <a:sym typeface="+mn-lt"/>
                  </a:rPr>
                  <a:t>here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C9968A13-3C83-4D54-A3A5-F9C129CC5169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9248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</a:t>
                </a:r>
                <a:r>
                  <a:rPr lang="en-US" altLang="zh-CN" sz="1100">
                    <a:cs typeface="+mn-ea"/>
                    <a:sym typeface="+mn-lt"/>
                  </a:rPr>
                  <a:t>only opt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ion </a:t>
                </a:r>
                <a:r>
                  <a:rPr lang="en-US" altLang="zh-CN" sz="1100" dirty="0">
                    <a:cs typeface="+mn-ea"/>
                    <a:sym typeface="+mn-lt"/>
                  </a:rPr>
                  <a:t>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 …</a:t>
                </a:r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E78189AD-D29C-47AC-A038-B773E3E2006D}"/>
                </a:ext>
              </a:extLst>
            </p:cNvPr>
            <p:cNvGrpSpPr/>
            <p:nvPr/>
          </p:nvGrpSpPr>
          <p:grpSpPr>
            <a:xfrm>
              <a:off x="8924398" y="4741690"/>
              <a:ext cx="2594502" cy="1405110"/>
              <a:chOff x="8563614" y="4934816"/>
              <a:chExt cx="2955286" cy="1405110"/>
            </a:xfrm>
          </p:grpSpPr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2E8AD77C-C146-4233-8AD9-50D40483773B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>
                    <a:cs typeface="+mn-ea"/>
                    <a:sym typeface="+mn-lt"/>
                  </a:rPr>
                  <a:t>Text 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cs typeface="+mn-ea"/>
                    <a:sym typeface="+mn-lt"/>
                  </a:rPr>
                  <a:t>here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11999563-BE26-4B91-B16D-EFA792BBCE8B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9248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</a:t>
                </a:r>
                <a:r>
                  <a:rPr lang="en-US" altLang="zh-CN" sz="1100">
                    <a:cs typeface="+mn-ea"/>
                    <a:sym typeface="+mn-lt"/>
                  </a:rPr>
                  <a:t>only opt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ion </a:t>
                </a:r>
                <a:r>
                  <a:rPr lang="en-US" altLang="zh-CN" sz="1100" dirty="0">
                    <a:cs typeface="+mn-ea"/>
                    <a:sym typeface="+mn-lt"/>
                  </a:rPr>
                  <a:t>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 …</a:t>
                </a:r>
              </a:p>
            </p:txBody>
          </p:sp>
        </p:grpSp>
        <p:cxnSp>
          <p:nvCxnSpPr>
            <p:cNvPr id="12" name="连接符: 肘形 11">
              <a:extLst>
                <a:ext uri="{FF2B5EF4-FFF2-40B4-BE49-F238E27FC236}">
                  <a16:creationId xmlns:a16="http://schemas.microsoft.com/office/drawing/2014/main" id="{6B483CC7-3C87-4BAF-9DAB-1842AB938351}"/>
                </a:ext>
              </a:extLst>
            </p:cNvPr>
            <p:cNvCxnSpPr>
              <a:cxnSpLocks/>
              <a:stCxn id="24" idx="4"/>
              <a:endCxn id="22" idx="0"/>
            </p:cNvCxnSpPr>
            <p:nvPr/>
          </p:nvCxnSpPr>
          <p:spPr>
            <a:xfrm rot="5400000">
              <a:off x="3723729" y="2369419"/>
              <a:ext cx="618894" cy="4125649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连接符: 肘形 12">
              <a:extLst>
                <a:ext uri="{FF2B5EF4-FFF2-40B4-BE49-F238E27FC236}">
                  <a16:creationId xmlns:a16="http://schemas.microsoft.com/office/drawing/2014/main" id="{5C827049-A3D6-4553-AB7E-99264E72E161}"/>
                </a:ext>
              </a:extLst>
            </p:cNvPr>
            <p:cNvCxnSpPr>
              <a:cxnSpLocks/>
              <a:stCxn id="24" idx="4"/>
              <a:endCxn id="20" idx="0"/>
            </p:cNvCxnSpPr>
            <p:nvPr/>
          </p:nvCxnSpPr>
          <p:spPr>
            <a:xfrm rot="5400000">
              <a:off x="5098945" y="3744635"/>
              <a:ext cx="618894" cy="1375216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连接符: 肘形 13">
              <a:extLst>
                <a:ext uri="{FF2B5EF4-FFF2-40B4-BE49-F238E27FC236}">
                  <a16:creationId xmlns:a16="http://schemas.microsoft.com/office/drawing/2014/main" id="{B3354A50-1A96-459E-988D-458EA71A9533}"/>
                </a:ext>
              </a:extLst>
            </p:cNvPr>
            <p:cNvCxnSpPr>
              <a:cxnSpLocks/>
              <a:stCxn id="24" idx="4"/>
              <a:endCxn id="18" idx="0"/>
            </p:cNvCxnSpPr>
            <p:nvPr/>
          </p:nvCxnSpPr>
          <p:spPr>
            <a:xfrm rot="16200000" flipH="1">
              <a:off x="6474161" y="3744635"/>
              <a:ext cx="618894" cy="1375216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连接符: 肘形 14">
              <a:extLst>
                <a:ext uri="{FF2B5EF4-FFF2-40B4-BE49-F238E27FC236}">
                  <a16:creationId xmlns:a16="http://schemas.microsoft.com/office/drawing/2014/main" id="{E5553042-8F65-470B-968E-0ED48F17EEC7}"/>
                </a:ext>
              </a:extLst>
            </p:cNvPr>
            <p:cNvCxnSpPr>
              <a:cxnSpLocks/>
              <a:stCxn id="24" idx="4"/>
              <a:endCxn id="16" idx="0"/>
            </p:cNvCxnSpPr>
            <p:nvPr/>
          </p:nvCxnSpPr>
          <p:spPr>
            <a:xfrm rot="16200000" flipH="1">
              <a:off x="7849377" y="2369418"/>
              <a:ext cx="618894" cy="4125649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764617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轻症发热病例的居家隔离建议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7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5466" y="1403352"/>
            <a:ext cx="10861068" cy="4743448"/>
            <a:chOff x="665466" y="1403352"/>
            <a:chExt cx="10861068" cy="4743448"/>
          </a:xfrm>
        </p:grpSpPr>
        <p:grpSp>
          <p:nvGrpSpPr>
            <p:cNvPr id="6" name="组合 5"/>
            <p:cNvGrpSpPr/>
            <p:nvPr/>
          </p:nvGrpSpPr>
          <p:grpSpPr>
            <a:xfrm>
              <a:off x="665466" y="1403352"/>
              <a:ext cx="10861068" cy="4743448"/>
              <a:chOff x="-346376" y="1114426"/>
              <a:chExt cx="13151059" cy="5743574"/>
            </a:xfrm>
            <a:solidFill>
              <a:schemeClr val="bg1">
                <a:lumMod val="95000"/>
              </a:schemeClr>
            </a:solidFill>
          </p:grpSpPr>
          <p:sp>
            <p:nvSpPr>
              <p:cNvPr id="45" name="任意多边形: 形状 44"/>
              <p:cNvSpPr/>
              <p:nvPr/>
            </p:nvSpPr>
            <p:spPr>
              <a:xfrm flipH="1">
                <a:off x="-346376" y="1114426"/>
                <a:ext cx="13151059" cy="574357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984" y="17"/>
                    </a:moveTo>
                    <a:lnTo>
                      <a:pt x="0" y="21590"/>
                    </a:lnTo>
                    <a:lnTo>
                      <a:pt x="7324" y="21600"/>
                    </a:lnTo>
                    <a:lnTo>
                      <a:pt x="21600" y="0"/>
                    </a:lnTo>
                    <a:lnTo>
                      <a:pt x="20984" y="17"/>
                    </a:lnTo>
                    <a:close/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0" tIns="0" rIns="0" bIns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>
                  <a:lnSpc>
                    <a:spcPct val="100000"/>
                  </a:lnSpc>
                  <a:defRPr sz="3200">
                    <a:solidFill>
                      <a:srgbClr val="FFFFFF"/>
                    </a:solidFill>
                  </a:defRPr>
                </a:pPr>
                <a:endParaRPr sz="2400">
                  <a:cs typeface="+mn-ea"/>
                  <a:sym typeface="+mn-lt"/>
                </a:endParaRPr>
              </a:p>
            </p:txBody>
          </p:sp>
          <p:sp>
            <p:nvSpPr>
              <p:cNvPr id="46" name="直接连接符 45"/>
              <p:cNvSpPr/>
              <p:nvPr/>
            </p:nvSpPr>
            <p:spPr>
              <a:xfrm flipH="1" flipV="1">
                <a:off x="54664" y="1262480"/>
                <a:ext cx="10321731" cy="5492765"/>
              </a:xfrm>
              <a:prstGeom prst="line">
                <a:avLst/>
              </a:prstGeom>
              <a:grpFill/>
              <a:ln w="38100">
                <a:solidFill>
                  <a:srgbClr val="FFFFFF"/>
                </a:solidFill>
                <a:custDash>
                  <a:ds d="600000" sp="600000"/>
                </a:custDash>
                <a:miter lim="400000"/>
              </a:ln>
            </p:spPr>
            <p:txBody>
              <a:bodyPr lIns="38100" tIns="38100" rIns="38100" bIns="3810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342900">
                  <a:defRPr sz="1200">
                    <a:solidFill>
                      <a:srgbClr val="000000"/>
                    </a:solidFill>
                  </a:defRPr>
                </a:pPr>
                <a:endParaRPr sz="9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cs typeface="+mn-ea"/>
                  <a:sym typeface="+mn-lt"/>
                </a:endParaRPr>
              </a:p>
            </p:txBody>
          </p:sp>
        </p:grpSp>
        <p:grpSp>
          <p:nvGrpSpPr>
            <p:cNvPr id="7" name="组合 6"/>
            <p:cNvGrpSpPr/>
            <p:nvPr/>
          </p:nvGrpSpPr>
          <p:grpSpPr>
            <a:xfrm>
              <a:off x="6912540" y="3834858"/>
              <a:ext cx="793188" cy="1035732"/>
              <a:chOff x="6912538" y="3749441"/>
              <a:chExt cx="793188" cy="1035732"/>
            </a:xfrm>
          </p:grpSpPr>
          <p:grpSp>
            <p:nvGrpSpPr>
              <p:cNvPr id="41" name="组合 40"/>
              <p:cNvGrpSpPr/>
              <p:nvPr/>
            </p:nvGrpSpPr>
            <p:grpSpPr>
              <a:xfrm>
                <a:off x="6912538" y="3749441"/>
                <a:ext cx="793188" cy="1035732"/>
                <a:chOff x="6912538" y="3749441"/>
                <a:chExt cx="793188" cy="1035732"/>
              </a:xfrm>
            </p:grpSpPr>
            <p:sp>
              <p:nvSpPr>
                <p:cNvPr id="43" name="直接连接符 42"/>
                <p:cNvSpPr/>
                <p:nvPr/>
              </p:nvSpPr>
              <p:spPr>
                <a:xfrm flipV="1">
                  <a:off x="7309131" y="4401071"/>
                  <a:ext cx="0" cy="384102"/>
                </a:xfrm>
                <a:prstGeom prst="line">
                  <a:avLst/>
                </a:prstGeom>
                <a:noFill/>
                <a:ln w="25400" cap="flat">
                  <a:solidFill>
                    <a:schemeClr val="accent1"/>
                  </a:solidFill>
                  <a:prstDash val="solid"/>
                  <a:miter lim="400000"/>
                  <a:headEnd type="triangle" w="med" len="sm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000000"/>
                      </a:solidFill>
                    </a:defRPr>
                  </a:pPr>
                  <a:endParaRPr sz="2400">
                    <a:cs typeface="+mn-ea"/>
                    <a:sym typeface="+mn-lt"/>
                  </a:endParaRPr>
                </a:p>
              </p:txBody>
            </p:sp>
            <p:sp>
              <p:nvSpPr>
                <p:cNvPr id="44" name="任意多边形: 形状 43"/>
                <p:cNvSpPr/>
                <p:nvPr/>
              </p:nvSpPr>
              <p:spPr>
                <a:xfrm>
                  <a:off x="6912538" y="3749441"/>
                  <a:ext cx="793188" cy="91589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0"/>
                      </a:moveTo>
                      <a:lnTo>
                        <a:pt x="21600" y="5400"/>
                      </a:lnTo>
                      <a:lnTo>
                        <a:pt x="21600" y="16200"/>
                      </a:lnTo>
                      <a:lnTo>
                        <a:pt x="10800" y="21600"/>
                      </a:lnTo>
                      <a:lnTo>
                        <a:pt x="0" y="16200"/>
                      </a:lnTo>
                      <a:lnTo>
                        <a:pt x="0" y="540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FFFFFF"/>
                      </a:solidFill>
                    </a:defRPr>
                  </a:pPr>
                  <a:endParaRPr sz="240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930E5361-E6FA-460C-8097-354E825A0668}"/>
                  </a:ext>
                </a:extLst>
              </p:cNvPr>
              <p:cNvSpPr/>
              <p:nvPr/>
            </p:nvSpPr>
            <p:spPr bwMode="auto">
              <a:xfrm>
                <a:off x="7103038" y="4027932"/>
                <a:ext cx="412188" cy="358910"/>
              </a:xfrm>
              <a:custGeom>
                <a:avLst/>
                <a:gdLst/>
                <a:ahLst/>
                <a:cxnLst>
                  <a:cxn ang="0">
                    <a:pos x="68" y="18"/>
                  </a:cxn>
                  <a:cxn ang="0">
                    <a:pos x="68" y="50"/>
                  </a:cxn>
                  <a:cxn ang="0">
                    <a:pos x="59" y="59"/>
                  </a:cxn>
                  <a:cxn ang="0">
                    <a:pos x="9" y="59"/>
                  </a:cxn>
                  <a:cxn ang="0">
                    <a:pos x="0" y="50"/>
                  </a:cxn>
                  <a:cxn ang="0">
                    <a:pos x="0" y="18"/>
                  </a:cxn>
                  <a:cxn ang="0">
                    <a:pos x="9" y="9"/>
                  </a:cxn>
                  <a:cxn ang="0">
                    <a:pos x="17" y="9"/>
                  </a:cxn>
                  <a:cxn ang="0">
                    <a:pos x="19" y="4"/>
                  </a:cxn>
                  <a:cxn ang="0">
                    <a:pos x="25" y="0"/>
                  </a:cxn>
                  <a:cxn ang="0">
                    <a:pos x="43" y="0"/>
                  </a:cxn>
                  <a:cxn ang="0">
                    <a:pos x="49" y="4"/>
                  </a:cxn>
                  <a:cxn ang="0">
                    <a:pos x="51" y="9"/>
                  </a:cxn>
                  <a:cxn ang="0">
                    <a:pos x="59" y="9"/>
                  </a:cxn>
                  <a:cxn ang="0">
                    <a:pos x="68" y="18"/>
                  </a:cxn>
                  <a:cxn ang="0">
                    <a:pos x="50" y="34"/>
                  </a:cxn>
                  <a:cxn ang="0">
                    <a:pos x="34" y="18"/>
                  </a:cxn>
                  <a:cxn ang="0">
                    <a:pos x="18" y="34"/>
                  </a:cxn>
                  <a:cxn ang="0">
                    <a:pos x="34" y="50"/>
                  </a:cxn>
                  <a:cxn ang="0">
                    <a:pos x="50" y="34"/>
                  </a:cxn>
                  <a:cxn ang="0">
                    <a:pos x="44" y="34"/>
                  </a:cxn>
                  <a:cxn ang="0">
                    <a:pos x="34" y="44"/>
                  </a:cxn>
                  <a:cxn ang="0">
                    <a:pos x="24" y="34"/>
                  </a:cxn>
                  <a:cxn ang="0">
                    <a:pos x="34" y="24"/>
                  </a:cxn>
                  <a:cxn ang="0">
                    <a:pos x="44" y="34"/>
                  </a:cxn>
                </a:cxnLst>
                <a:rect l="0" t="0" r="r" b="b"/>
                <a:pathLst>
                  <a:path w="68" h="59">
                    <a:moveTo>
                      <a:pt x="68" y="18"/>
                    </a:moveTo>
                    <a:cubicBezTo>
                      <a:pt x="68" y="50"/>
                      <a:pt x="68" y="50"/>
                      <a:pt x="68" y="50"/>
                    </a:cubicBezTo>
                    <a:cubicBezTo>
                      <a:pt x="68" y="55"/>
                      <a:pt x="64" y="59"/>
                      <a:pt x="59" y="59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4" y="59"/>
                      <a:pt x="0" y="55"/>
                      <a:pt x="0" y="5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4" y="9"/>
                      <a:pt x="9" y="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20" y="2"/>
                      <a:pt x="22" y="0"/>
                      <a:pt x="25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6" y="0"/>
                      <a:pt x="48" y="2"/>
                      <a:pt x="49" y="4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59" y="9"/>
                      <a:pt x="59" y="9"/>
                      <a:pt x="59" y="9"/>
                    </a:cubicBezTo>
                    <a:cubicBezTo>
                      <a:pt x="64" y="9"/>
                      <a:pt x="68" y="13"/>
                      <a:pt x="68" y="18"/>
                    </a:cubicBezTo>
                    <a:close/>
                    <a:moveTo>
                      <a:pt x="50" y="34"/>
                    </a:moveTo>
                    <a:cubicBezTo>
                      <a:pt x="50" y="25"/>
                      <a:pt x="43" y="18"/>
                      <a:pt x="34" y="18"/>
                    </a:cubicBezTo>
                    <a:cubicBezTo>
                      <a:pt x="25" y="18"/>
                      <a:pt x="18" y="25"/>
                      <a:pt x="18" y="34"/>
                    </a:cubicBezTo>
                    <a:cubicBezTo>
                      <a:pt x="18" y="43"/>
                      <a:pt x="25" y="50"/>
                      <a:pt x="34" y="50"/>
                    </a:cubicBezTo>
                    <a:cubicBezTo>
                      <a:pt x="43" y="50"/>
                      <a:pt x="50" y="43"/>
                      <a:pt x="50" y="34"/>
                    </a:cubicBezTo>
                    <a:close/>
                    <a:moveTo>
                      <a:pt x="44" y="34"/>
                    </a:moveTo>
                    <a:cubicBezTo>
                      <a:pt x="44" y="40"/>
                      <a:pt x="40" y="44"/>
                      <a:pt x="34" y="44"/>
                    </a:cubicBezTo>
                    <a:cubicBezTo>
                      <a:pt x="28" y="44"/>
                      <a:pt x="24" y="40"/>
                      <a:pt x="24" y="34"/>
                    </a:cubicBezTo>
                    <a:cubicBezTo>
                      <a:pt x="24" y="28"/>
                      <a:pt x="28" y="24"/>
                      <a:pt x="34" y="24"/>
                    </a:cubicBezTo>
                    <a:cubicBezTo>
                      <a:pt x="40" y="24"/>
                      <a:pt x="44" y="28"/>
                      <a:pt x="44" y="3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8575037" y="3982467"/>
              <a:ext cx="2951497" cy="888123"/>
              <a:chOff x="8216413" y="3823623"/>
              <a:chExt cx="3310120" cy="888123"/>
            </a:xfrm>
          </p:grpSpPr>
          <p:sp>
            <p:nvSpPr>
              <p:cNvPr id="39" name="矩形 38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 flipH="1">
                <a:off x="8216414" y="4203161"/>
                <a:ext cx="3310119" cy="5085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</a:t>
                </a:r>
                <a:r>
                  <a:rPr lang="en-US" altLang="zh-CN" sz="1100">
                    <a:cs typeface="+mn-ea"/>
                    <a:sym typeface="+mn-lt"/>
                  </a:rPr>
                  <a:t>only opt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ion </a:t>
                </a:r>
                <a:r>
                  <a:rPr lang="en-US" altLang="zh-CN" sz="1100" dirty="0">
                    <a:cs typeface="+mn-ea"/>
                    <a:sym typeface="+mn-lt"/>
                  </a:rPr>
                  <a:t>to retain text……</a:t>
                </a:r>
              </a:p>
            </p:txBody>
          </p:sp>
          <p:sp>
            <p:nvSpPr>
              <p:cNvPr id="40" name="文本框 39">
                <a:extLst>
                  <a:ext uri="{FF2B5EF4-FFF2-40B4-BE49-F238E27FC236}">
                    <a16:creationId xmlns:a16="http://schemas.microsoft.com/office/drawing/2014/main" id="{6FA8394A-C750-42B5-8172-8693CBBD3803}"/>
                  </a:ext>
                </a:extLst>
              </p:cNvPr>
              <p:cNvSpPr txBox="1"/>
              <p:nvPr/>
            </p:nvSpPr>
            <p:spPr bwMode="auto">
              <a:xfrm flipH="1">
                <a:off x="8216413" y="3823623"/>
                <a:ext cx="3310119" cy="379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>
                    <a:cs typeface="+mn-ea"/>
                    <a:sym typeface="+mn-lt"/>
                  </a:rPr>
                  <a:t>Text 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sz="2000" b="1">
                    <a:cs typeface="+mn-ea"/>
                    <a:sym typeface="+mn-lt"/>
                  </a:rPr>
                  <a:t>here</a:t>
                </a:r>
                <a:endParaRPr lang="en-US" altLang="zh-CN" sz="2000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5296162" y="3006604"/>
              <a:ext cx="747068" cy="1009106"/>
              <a:chOff x="5547166" y="3060023"/>
              <a:chExt cx="747068" cy="1009106"/>
            </a:xfrm>
          </p:grpSpPr>
          <p:grpSp>
            <p:nvGrpSpPr>
              <p:cNvPr id="35" name="组合 34"/>
              <p:cNvGrpSpPr/>
              <p:nvPr/>
            </p:nvGrpSpPr>
            <p:grpSpPr>
              <a:xfrm>
                <a:off x="5547166" y="3060023"/>
                <a:ext cx="747068" cy="1009106"/>
                <a:chOff x="5547166" y="3060023"/>
                <a:chExt cx="747068" cy="1009106"/>
              </a:xfrm>
            </p:grpSpPr>
            <p:sp>
              <p:nvSpPr>
                <p:cNvPr id="37" name="直接连接符 36"/>
                <p:cNvSpPr/>
                <p:nvPr/>
              </p:nvSpPr>
              <p:spPr>
                <a:xfrm flipV="1">
                  <a:off x="5920700" y="3685026"/>
                  <a:ext cx="0" cy="384103"/>
                </a:xfrm>
                <a:prstGeom prst="line">
                  <a:avLst/>
                </a:prstGeom>
                <a:noFill/>
                <a:ln w="25400" cap="flat">
                  <a:solidFill>
                    <a:schemeClr val="bg1">
                      <a:lumMod val="85000"/>
                    </a:schemeClr>
                  </a:solidFill>
                  <a:prstDash val="solid"/>
                  <a:miter lim="400000"/>
                  <a:headEnd type="triangle" w="med" len="sm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000000"/>
                      </a:solidFill>
                    </a:defRPr>
                  </a:pPr>
                  <a:endParaRPr sz="2400">
                    <a:cs typeface="+mn-ea"/>
                    <a:sym typeface="+mn-lt"/>
                  </a:endParaRPr>
                </a:p>
              </p:txBody>
            </p:sp>
            <p:sp>
              <p:nvSpPr>
                <p:cNvPr id="38" name="任意多边形: 形状 37"/>
                <p:cNvSpPr/>
                <p:nvPr/>
              </p:nvSpPr>
              <p:spPr>
                <a:xfrm>
                  <a:off x="5547166" y="3060023"/>
                  <a:ext cx="747068" cy="86264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0"/>
                      </a:moveTo>
                      <a:lnTo>
                        <a:pt x="21600" y="5400"/>
                      </a:lnTo>
                      <a:lnTo>
                        <a:pt x="21600" y="16200"/>
                      </a:lnTo>
                      <a:lnTo>
                        <a:pt x="10800" y="21600"/>
                      </a:lnTo>
                      <a:lnTo>
                        <a:pt x="0" y="16200"/>
                      </a:lnTo>
                      <a:lnTo>
                        <a:pt x="0" y="540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28575" cap="flat">
                  <a:solidFill>
                    <a:schemeClr val="accent2"/>
                  </a:solidFill>
                  <a:miter lim="400000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FFFFFF"/>
                      </a:solidFill>
                    </a:defRPr>
                  </a:pPr>
                  <a:endParaRPr sz="240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83DE6770-C823-4644-B62B-526FBA778978}"/>
                  </a:ext>
                </a:extLst>
              </p:cNvPr>
              <p:cNvSpPr/>
              <p:nvPr/>
            </p:nvSpPr>
            <p:spPr bwMode="auto">
              <a:xfrm>
                <a:off x="5716825" y="3315536"/>
                <a:ext cx="407750" cy="351614"/>
              </a:xfrm>
              <a:custGeom>
                <a:avLst/>
                <a:gdLst/>
                <a:ahLst/>
                <a:cxnLst>
                  <a:cxn ang="0">
                    <a:pos x="64" y="51"/>
                  </a:cxn>
                  <a:cxn ang="0">
                    <a:pos x="60" y="55"/>
                  </a:cxn>
                  <a:cxn ang="0">
                    <a:pos x="49" y="55"/>
                  </a:cxn>
                  <a:cxn ang="0">
                    <a:pos x="45" y="51"/>
                  </a:cxn>
                  <a:cxn ang="0">
                    <a:pos x="45" y="40"/>
                  </a:cxn>
                  <a:cxn ang="0">
                    <a:pos x="49" y="36"/>
                  </a:cxn>
                  <a:cxn ang="0">
                    <a:pos x="52" y="36"/>
                  </a:cxn>
                  <a:cxn ang="0">
                    <a:pos x="52" y="30"/>
                  </a:cxn>
                  <a:cxn ang="0">
                    <a:pos x="34" y="30"/>
                  </a:cxn>
                  <a:cxn ang="0">
                    <a:pos x="34" y="36"/>
                  </a:cxn>
                  <a:cxn ang="0">
                    <a:pos x="37" y="36"/>
                  </a:cxn>
                  <a:cxn ang="0">
                    <a:pos x="41" y="40"/>
                  </a:cxn>
                  <a:cxn ang="0">
                    <a:pos x="41" y="51"/>
                  </a:cxn>
                  <a:cxn ang="0">
                    <a:pos x="37" y="55"/>
                  </a:cxn>
                  <a:cxn ang="0">
                    <a:pos x="26" y="55"/>
                  </a:cxn>
                  <a:cxn ang="0">
                    <a:pos x="23" y="51"/>
                  </a:cxn>
                  <a:cxn ang="0">
                    <a:pos x="23" y="40"/>
                  </a:cxn>
                  <a:cxn ang="0">
                    <a:pos x="26" y="36"/>
                  </a:cxn>
                  <a:cxn ang="0">
                    <a:pos x="29" y="36"/>
                  </a:cxn>
                  <a:cxn ang="0">
                    <a:pos x="29" y="30"/>
                  </a:cxn>
                  <a:cxn ang="0">
                    <a:pos x="11" y="30"/>
                  </a:cxn>
                  <a:cxn ang="0">
                    <a:pos x="11" y="36"/>
                  </a:cxn>
                  <a:cxn ang="0">
                    <a:pos x="15" y="36"/>
                  </a:cxn>
                  <a:cxn ang="0">
                    <a:pos x="18" y="40"/>
                  </a:cxn>
                  <a:cxn ang="0">
                    <a:pos x="18" y="51"/>
                  </a:cxn>
                  <a:cxn ang="0">
                    <a:pos x="15" y="55"/>
                  </a:cxn>
                  <a:cxn ang="0">
                    <a:pos x="3" y="55"/>
                  </a:cxn>
                  <a:cxn ang="0">
                    <a:pos x="0" y="51"/>
                  </a:cxn>
                  <a:cxn ang="0">
                    <a:pos x="0" y="40"/>
                  </a:cxn>
                  <a:cxn ang="0">
                    <a:pos x="3" y="36"/>
                  </a:cxn>
                  <a:cxn ang="0">
                    <a:pos x="7" y="36"/>
                  </a:cxn>
                  <a:cxn ang="0">
                    <a:pos x="7" y="30"/>
                  </a:cxn>
                  <a:cxn ang="0">
                    <a:pos x="11" y="25"/>
                  </a:cxn>
                  <a:cxn ang="0">
                    <a:pos x="29" y="25"/>
                  </a:cxn>
                  <a:cxn ang="0">
                    <a:pos x="29" y="18"/>
                  </a:cxn>
                  <a:cxn ang="0">
                    <a:pos x="26" y="18"/>
                  </a:cxn>
                  <a:cxn ang="0">
                    <a:pos x="23" y="15"/>
                  </a:cxn>
                  <a:cxn ang="0">
                    <a:pos x="23" y="3"/>
                  </a:cxn>
                  <a:cxn ang="0">
                    <a:pos x="26" y="0"/>
                  </a:cxn>
                  <a:cxn ang="0">
                    <a:pos x="37" y="0"/>
                  </a:cxn>
                  <a:cxn ang="0">
                    <a:pos x="41" y="3"/>
                  </a:cxn>
                  <a:cxn ang="0">
                    <a:pos x="41" y="15"/>
                  </a:cxn>
                  <a:cxn ang="0">
                    <a:pos x="37" y="18"/>
                  </a:cxn>
                  <a:cxn ang="0">
                    <a:pos x="34" y="18"/>
                  </a:cxn>
                  <a:cxn ang="0">
                    <a:pos x="34" y="25"/>
                  </a:cxn>
                  <a:cxn ang="0">
                    <a:pos x="52" y="25"/>
                  </a:cxn>
                  <a:cxn ang="0">
                    <a:pos x="57" y="30"/>
                  </a:cxn>
                  <a:cxn ang="0">
                    <a:pos x="57" y="36"/>
                  </a:cxn>
                  <a:cxn ang="0">
                    <a:pos x="60" y="36"/>
                  </a:cxn>
                  <a:cxn ang="0">
                    <a:pos x="64" y="40"/>
                  </a:cxn>
                  <a:cxn ang="0">
                    <a:pos x="64" y="51"/>
                  </a:cxn>
                </a:cxnLst>
                <a:rect l="0" t="0" r="r" b="b"/>
                <a:pathLst>
                  <a:path w="64" h="55">
                    <a:moveTo>
                      <a:pt x="64" y="51"/>
                    </a:moveTo>
                    <a:cubicBezTo>
                      <a:pt x="64" y="53"/>
                      <a:pt x="62" y="55"/>
                      <a:pt x="60" y="55"/>
                    </a:cubicBezTo>
                    <a:cubicBezTo>
                      <a:pt x="49" y="55"/>
                      <a:pt x="49" y="55"/>
                      <a:pt x="49" y="55"/>
                    </a:cubicBezTo>
                    <a:cubicBezTo>
                      <a:pt x="47" y="55"/>
                      <a:pt x="45" y="53"/>
                      <a:pt x="45" y="51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45" y="38"/>
                      <a:pt x="47" y="36"/>
                      <a:pt x="49" y="36"/>
                    </a:cubicBezTo>
                    <a:cubicBezTo>
                      <a:pt x="52" y="36"/>
                      <a:pt x="52" y="36"/>
                      <a:pt x="52" y="36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4" y="36"/>
                      <a:pt x="34" y="36"/>
                      <a:pt x="34" y="36"/>
                    </a:cubicBezTo>
                    <a:cubicBezTo>
                      <a:pt x="37" y="36"/>
                      <a:pt x="37" y="36"/>
                      <a:pt x="37" y="36"/>
                    </a:cubicBezTo>
                    <a:cubicBezTo>
                      <a:pt x="39" y="36"/>
                      <a:pt x="41" y="38"/>
                      <a:pt x="41" y="40"/>
                    </a:cubicBezTo>
                    <a:cubicBezTo>
                      <a:pt x="41" y="51"/>
                      <a:pt x="41" y="51"/>
                      <a:pt x="41" y="51"/>
                    </a:cubicBezTo>
                    <a:cubicBezTo>
                      <a:pt x="41" y="53"/>
                      <a:pt x="39" y="55"/>
                      <a:pt x="37" y="55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4" y="55"/>
                      <a:pt x="23" y="53"/>
                      <a:pt x="23" y="51"/>
                    </a:cubicBezTo>
                    <a:cubicBezTo>
                      <a:pt x="23" y="40"/>
                      <a:pt x="23" y="40"/>
                      <a:pt x="23" y="40"/>
                    </a:cubicBezTo>
                    <a:cubicBezTo>
                      <a:pt x="23" y="38"/>
                      <a:pt x="24" y="36"/>
                      <a:pt x="26" y="36"/>
                    </a:cubicBezTo>
                    <a:cubicBezTo>
                      <a:pt x="29" y="36"/>
                      <a:pt x="29" y="36"/>
                      <a:pt x="29" y="36"/>
                    </a:cubicBezTo>
                    <a:cubicBezTo>
                      <a:pt x="29" y="30"/>
                      <a:pt x="29" y="30"/>
                      <a:pt x="29" y="30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36"/>
                      <a:pt x="11" y="36"/>
                      <a:pt x="11" y="36"/>
                    </a:cubicBezTo>
                    <a:cubicBezTo>
                      <a:pt x="15" y="36"/>
                      <a:pt x="15" y="36"/>
                      <a:pt x="15" y="36"/>
                    </a:cubicBezTo>
                    <a:cubicBezTo>
                      <a:pt x="17" y="36"/>
                      <a:pt x="18" y="38"/>
                      <a:pt x="18" y="40"/>
                    </a:cubicBezTo>
                    <a:cubicBezTo>
                      <a:pt x="18" y="51"/>
                      <a:pt x="18" y="51"/>
                      <a:pt x="18" y="51"/>
                    </a:cubicBezTo>
                    <a:cubicBezTo>
                      <a:pt x="18" y="53"/>
                      <a:pt x="17" y="55"/>
                      <a:pt x="15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1" y="55"/>
                      <a:pt x="0" y="53"/>
                      <a:pt x="0" y="51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38"/>
                      <a:pt x="1" y="36"/>
                      <a:pt x="3" y="36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27"/>
                      <a:pt x="9" y="25"/>
                      <a:pt x="11" y="25"/>
                    </a:cubicBezTo>
                    <a:cubicBezTo>
                      <a:pt x="29" y="25"/>
                      <a:pt x="29" y="25"/>
                      <a:pt x="29" y="25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26" y="18"/>
                      <a:pt x="26" y="18"/>
                      <a:pt x="26" y="18"/>
                    </a:cubicBezTo>
                    <a:cubicBezTo>
                      <a:pt x="24" y="18"/>
                      <a:pt x="23" y="17"/>
                      <a:pt x="23" y="15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23" y="1"/>
                      <a:pt x="24" y="0"/>
                      <a:pt x="26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9" y="0"/>
                      <a:pt x="41" y="1"/>
                      <a:pt x="41" y="3"/>
                    </a:cubicBezTo>
                    <a:cubicBezTo>
                      <a:pt x="41" y="15"/>
                      <a:pt x="41" y="15"/>
                      <a:pt x="41" y="15"/>
                    </a:cubicBezTo>
                    <a:cubicBezTo>
                      <a:pt x="41" y="17"/>
                      <a:pt x="39" y="18"/>
                      <a:pt x="37" y="18"/>
                    </a:cubicBezTo>
                    <a:cubicBezTo>
                      <a:pt x="34" y="18"/>
                      <a:pt x="34" y="18"/>
                      <a:pt x="34" y="18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52" y="25"/>
                      <a:pt x="52" y="25"/>
                      <a:pt x="52" y="25"/>
                    </a:cubicBezTo>
                    <a:cubicBezTo>
                      <a:pt x="55" y="25"/>
                      <a:pt x="57" y="27"/>
                      <a:pt x="57" y="30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60" y="36"/>
                      <a:pt x="60" y="36"/>
                      <a:pt x="60" y="36"/>
                    </a:cubicBezTo>
                    <a:cubicBezTo>
                      <a:pt x="62" y="36"/>
                      <a:pt x="64" y="38"/>
                      <a:pt x="64" y="40"/>
                    </a:cubicBezTo>
                    <a:lnTo>
                      <a:pt x="64" y="51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6545381" y="3126238"/>
              <a:ext cx="4715567" cy="698664"/>
              <a:chOff x="6804919" y="3134205"/>
              <a:chExt cx="4715567" cy="698664"/>
            </a:xfrm>
          </p:grpSpPr>
          <p:sp>
            <p:nvSpPr>
              <p:cNvPr id="33" name="矩形 32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 flipH="1">
                <a:off x="6804919" y="3513744"/>
                <a:ext cx="4715565" cy="319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</a:t>
                </a:r>
                <a:r>
                  <a:rPr lang="en-US" altLang="zh-CN" sz="1100">
                    <a:cs typeface="+mn-ea"/>
                    <a:sym typeface="+mn-lt"/>
                  </a:rPr>
                  <a:t>only opt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ion </a:t>
                </a:r>
                <a:r>
                  <a:rPr lang="en-US" altLang="zh-CN" sz="1100" dirty="0">
                    <a:cs typeface="+mn-ea"/>
                    <a:sym typeface="+mn-lt"/>
                  </a:rPr>
                  <a:t>to retain text……</a:t>
                </a:r>
              </a:p>
            </p:txBody>
          </p:sp>
          <p:sp>
            <p:nvSpPr>
              <p:cNvPr id="34" name="文本框 33">
                <a:extLst>
                  <a:ext uri="{FF2B5EF4-FFF2-40B4-BE49-F238E27FC236}">
                    <a16:creationId xmlns:a16="http://schemas.microsoft.com/office/drawing/2014/main" id="{6FA8394A-C750-42B5-8172-8693CBBD3803}"/>
                  </a:ext>
                </a:extLst>
              </p:cNvPr>
              <p:cNvSpPr txBox="1"/>
              <p:nvPr/>
            </p:nvSpPr>
            <p:spPr bwMode="auto">
              <a:xfrm flipH="1">
                <a:off x="6804921" y="3134205"/>
                <a:ext cx="4715565" cy="379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>
                    <a:cs typeface="+mn-ea"/>
                    <a:sym typeface="+mn-lt"/>
                  </a:rPr>
                  <a:t>Text 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sz="2000" b="1">
                    <a:cs typeface="+mn-ea"/>
                    <a:sym typeface="+mn-lt"/>
                  </a:rPr>
                  <a:t>here</a:t>
                </a:r>
                <a:endParaRPr lang="en-US" altLang="zh-CN" sz="2000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3798375" y="2246820"/>
              <a:ext cx="628478" cy="940636"/>
              <a:chOff x="4300384" y="2439076"/>
              <a:chExt cx="628478" cy="940636"/>
            </a:xfrm>
          </p:grpSpPr>
          <p:grpSp>
            <p:nvGrpSpPr>
              <p:cNvPr id="29" name="组合 28"/>
              <p:cNvGrpSpPr/>
              <p:nvPr/>
            </p:nvGrpSpPr>
            <p:grpSpPr>
              <a:xfrm>
                <a:off x="4300384" y="2439076"/>
                <a:ext cx="628478" cy="940636"/>
                <a:chOff x="4300384" y="2439076"/>
                <a:chExt cx="628478" cy="940636"/>
              </a:xfrm>
            </p:grpSpPr>
            <p:sp>
              <p:nvSpPr>
                <p:cNvPr id="31" name="直接连接符 30"/>
                <p:cNvSpPr/>
                <p:nvPr/>
              </p:nvSpPr>
              <p:spPr>
                <a:xfrm flipV="1">
                  <a:off x="4614622" y="2995610"/>
                  <a:ext cx="0" cy="384102"/>
                </a:xfrm>
                <a:prstGeom prst="line">
                  <a:avLst/>
                </a:prstGeom>
                <a:noFill/>
                <a:ln w="25400" cap="flat">
                  <a:solidFill>
                    <a:schemeClr val="bg1">
                      <a:lumMod val="85000"/>
                    </a:schemeClr>
                  </a:solidFill>
                  <a:prstDash val="solid"/>
                  <a:miter lim="400000"/>
                  <a:headEnd type="triangle" w="med" len="sm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000000"/>
                      </a:solidFill>
                    </a:defRPr>
                  </a:pPr>
                  <a:endParaRPr sz="2400">
                    <a:cs typeface="+mn-ea"/>
                    <a:sym typeface="+mn-lt"/>
                  </a:endParaRPr>
                </a:p>
              </p:txBody>
            </p:sp>
            <p:sp>
              <p:nvSpPr>
                <p:cNvPr id="32" name="任意多边形: 形状 31"/>
                <p:cNvSpPr/>
                <p:nvPr/>
              </p:nvSpPr>
              <p:spPr>
                <a:xfrm>
                  <a:off x="4300384" y="2439076"/>
                  <a:ext cx="628478" cy="72570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0"/>
                      </a:moveTo>
                      <a:lnTo>
                        <a:pt x="21600" y="5400"/>
                      </a:lnTo>
                      <a:lnTo>
                        <a:pt x="21600" y="16200"/>
                      </a:lnTo>
                      <a:lnTo>
                        <a:pt x="10800" y="21600"/>
                      </a:lnTo>
                      <a:lnTo>
                        <a:pt x="0" y="16200"/>
                      </a:lnTo>
                      <a:lnTo>
                        <a:pt x="0" y="540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28575" cap="flat">
                  <a:solidFill>
                    <a:schemeClr val="accent2"/>
                  </a:solidFill>
                  <a:miter lim="400000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FFFFFF"/>
                      </a:solidFill>
                    </a:defRPr>
                  </a:pPr>
                  <a:endParaRPr sz="240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D1DCEE3C-B3C5-4830-B9B3-CFB80D73F65F}"/>
                  </a:ext>
                </a:extLst>
              </p:cNvPr>
              <p:cNvSpPr/>
              <p:nvPr/>
            </p:nvSpPr>
            <p:spPr bwMode="auto">
              <a:xfrm>
                <a:off x="4424065" y="2660629"/>
                <a:ext cx="381116" cy="282596"/>
              </a:xfrm>
              <a:custGeom>
                <a:avLst/>
                <a:gdLst/>
                <a:ahLst/>
                <a:cxnLst>
                  <a:cxn ang="0">
                    <a:pos x="55" y="50"/>
                  </a:cxn>
                  <a:cxn ang="0">
                    <a:pos x="16" y="50"/>
                  </a:cxn>
                  <a:cxn ang="0">
                    <a:pos x="0" y="34"/>
                  </a:cxn>
                  <a:cxn ang="0">
                    <a:pos x="9" y="20"/>
                  </a:cxn>
                  <a:cxn ang="0">
                    <a:pos x="9" y="18"/>
                  </a:cxn>
                  <a:cxn ang="0">
                    <a:pos x="27" y="0"/>
                  </a:cxn>
                  <a:cxn ang="0">
                    <a:pos x="44" y="11"/>
                  </a:cxn>
                  <a:cxn ang="0">
                    <a:pos x="50" y="9"/>
                  </a:cxn>
                  <a:cxn ang="0">
                    <a:pos x="59" y="18"/>
                  </a:cxn>
                  <a:cxn ang="0">
                    <a:pos x="58" y="23"/>
                  </a:cxn>
                  <a:cxn ang="0">
                    <a:pos x="68" y="36"/>
                  </a:cxn>
                  <a:cxn ang="0">
                    <a:pos x="55" y="50"/>
                  </a:cxn>
                  <a:cxn ang="0">
                    <a:pos x="45" y="25"/>
                  </a:cxn>
                  <a:cxn ang="0">
                    <a:pos x="33" y="13"/>
                  </a:cxn>
                  <a:cxn ang="0">
                    <a:pos x="32" y="12"/>
                  </a:cxn>
                  <a:cxn ang="0">
                    <a:pos x="31" y="13"/>
                  </a:cxn>
                  <a:cxn ang="0">
                    <a:pos x="18" y="25"/>
                  </a:cxn>
                  <a:cxn ang="0">
                    <a:pos x="18" y="26"/>
                  </a:cxn>
                  <a:cxn ang="0">
                    <a:pos x="19" y="27"/>
                  </a:cxn>
                  <a:cxn ang="0">
                    <a:pos x="27" y="27"/>
                  </a:cxn>
                  <a:cxn ang="0">
                    <a:pos x="27" y="40"/>
                  </a:cxn>
                  <a:cxn ang="0">
                    <a:pos x="28" y="41"/>
                  </a:cxn>
                  <a:cxn ang="0">
                    <a:pos x="35" y="41"/>
                  </a:cxn>
                  <a:cxn ang="0">
                    <a:pos x="36" y="40"/>
                  </a:cxn>
                  <a:cxn ang="0">
                    <a:pos x="36" y="27"/>
                  </a:cxn>
                  <a:cxn ang="0">
                    <a:pos x="44" y="27"/>
                  </a:cxn>
                  <a:cxn ang="0">
                    <a:pos x="45" y="26"/>
                  </a:cxn>
                  <a:cxn ang="0">
                    <a:pos x="45" y="25"/>
                  </a:cxn>
                </a:cxnLst>
                <a:rect l="0" t="0" r="r" b="b"/>
                <a:pathLst>
                  <a:path w="68" h="50">
                    <a:moveTo>
                      <a:pt x="55" y="50"/>
                    </a:moveTo>
                    <a:cubicBezTo>
                      <a:pt x="16" y="50"/>
                      <a:pt x="16" y="50"/>
                      <a:pt x="16" y="50"/>
                    </a:cubicBezTo>
                    <a:cubicBezTo>
                      <a:pt x="7" y="50"/>
                      <a:pt x="0" y="43"/>
                      <a:pt x="0" y="34"/>
                    </a:cubicBezTo>
                    <a:cubicBezTo>
                      <a:pt x="0" y="28"/>
                      <a:pt x="3" y="22"/>
                      <a:pt x="9" y="20"/>
                    </a:cubicBezTo>
                    <a:cubicBezTo>
                      <a:pt x="9" y="19"/>
                      <a:pt x="9" y="19"/>
                      <a:pt x="9" y="18"/>
                    </a:cubicBezTo>
                    <a:cubicBezTo>
                      <a:pt x="9" y="8"/>
                      <a:pt x="17" y="0"/>
                      <a:pt x="27" y="0"/>
                    </a:cubicBezTo>
                    <a:cubicBezTo>
                      <a:pt x="35" y="0"/>
                      <a:pt x="41" y="4"/>
                      <a:pt x="44" y="11"/>
                    </a:cubicBezTo>
                    <a:cubicBezTo>
                      <a:pt x="46" y="10"/>
                      <a:pt x="48" y="9"/>
                      <a:pt x="50" y="9"/>
                    </a:cubicBezTo>
                    <a:cubicBezTo>
                      <a:pt x="55" y="9"/>
                      <a:pt x="59" y="13"/>
                      <a:pt x="59" y="18"/>
                    </a:cubicBezTo>
                    <a:cubicBezTo>
                      <a:pt x="59" y="20"/>
                      <a:pt x="59" y="22"/>
                      <a:pt x="58" y="23"/>
                    </a:cubicBezTo>
                    <a:cubicBezTo>
                      <a:pt x="64" y="25"/>
                      <a:pt x="68" y="30"/>
                      <a:pt x="68" y="36"/>
                    </a:cubicBezTo>
                    <a:cubicBezTo>
                      <a:pt x="68" y="44"/>
                      <a:pt x="62" y="50"/>
                      <a:pt x="55" y="50"/>
                    </a:cubicBezTo>
                    <a:close/>
                    <a:moveTo>
                      <a:pt x="45" y="25"/>
                    </a:moveTo>
                    <a:cubicBezTo>
                      <a:pt x="33" y="13"/>
                      <a:pt x="33" y="13"/>
                      <a:pt x="33" y="13"/>
                    </a:cubicBezTo>
                    <a:cubicBezTo>
                      <a:pt x="32" y="13"/>
                      <a:pt x="32" y="12"/>
                      <a:pt x="32" y="12"/>
                    </a:cubicBezTo>
                    <a:cubicBezTo>
                      <a:pt x="31" y="12"/>
                      <a:pt x="31" y="13"/>
                      <a:pt x="31" y="13"/>
                    </a:cubicBezTo>
                    <a:cubicBezTo>
                      <a:pt x="18" y="25"/>
                      <a:pt x="18" y="25"/>
                      <a:pt x="18" y="25"/>
                    </a:cubicBezTo>
                    <a:cubicBezTo>
                      <a:pt x="18" y="26"/>
                      <a:pt x="18" y="26"/>
                      <a:pt x="18" y="26"/>
                    </a:cubicBezTo>
                    <a:cubicBezTo>
                      <a:pt x="18" y="27"/>
                      <a:pt x="19" y="27"/>
                      <a:pt x="19" y="27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27" y="40"/>
                      <a:pt x="27" y="40"/>
                      <a:pt x="27" y="40"/>
                    </a:cubicBezTo>
                    <a:cubicBezTo>
                      <a:pt x="27" y="41"/>
                      <a:pt x="28" y="41"/>
                      <a:pt x="28" y="41"/>
                    </a:cubicBezTo>
                    <a:cubicBezTo>
                      <a:pt x="35" y="41"/>
                      <a:pt x="35" y="41"/>
                      <a:pt x="35" y="41"/>
                    </a:cubicBezTo>
                    <a:cubicBezTo>
                      <a:pt x="36" y="41"/>
                      <a:pt x="36" y="41"/>
                      <a:pt x="36" y="40"/>
                    </a:cubicBezTo>
                    <a:cubicBezTo>
                      <a:pt x="36" y="27"/>
                      <a:pt x="36" y="27"/>
                      <a:pt x="36" y="27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45" y="27"/>
                      <a:pt x="45" y="27"/>
                      <a:pt x="45" y="26"/>
                    </a:cubicBezTo>
                    <a:cubicBezTo>
                      <a:pt x="45" y="26"/>
                      <a:pt x="45" y="26"/>
                      <a:pt x="45" y="2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4903863" y="2270008"/>
              <a:ext cx="6086982" cy="698664"/>
              <a:chOff x="5439551" y="2513258"/>
              <a:chExt cx="6086982" cy="698664"/>
            </a:xfrm>
          </p:grpSpPr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 flipH="1">
                <a:off x="5439551" y="2892797"/>
                <a:ext cx="6086982" cy="319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</a:t>
                </a:r>
                <a:r>
                  <a:rPr lang="en-US" altLang="zh-CN" sz="1100">
                    <a:cs typeface="+mn-ea"/>
                    <a:sym typeface="+mn-lt"/>
                  </a:rPr>
                  <a:t>only opt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ion </a:t>
                </a:r>
                <a:r>
                  <a:rPr lang="en-US" altLang="zh-CN" sz="1100" dirty="0">
                    <a:cs typeface="+mn-ea"/>
                    <a:sym typeface="+mn-lt"/>
                  </a:rPr>
                  <a:t>to retain text……</a:t>
                </a:r>
              </a:p>
            </p:txBody>
          </p:sp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6FA8394A-C750-42B5-8172-8693CBBD3803}"/>
                  </a:ext>
                </a:extLst>
              </p:cNvPr>
              <p:cNvSpPr txBox="1"/>
              <p:nvPr/>
            </p:nvSpPr>
            <p:spPr bwMode="auto">
              <a:xfrm flipH="1">
                <a:off x="5439551" y="2513258"/>
                <a:ext cx="6086982" cy="379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>
                    <a:cs typeface="+mn-ea"/>
                    <a:sym typeface="+mn-lt"/>
                  </a:rPr>
                  <a:t>Text 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sz="2000" b="1">
                    <a:cs typeface="+mn-ea"/>
                    <a:sym typeface="+mn-lt"/>
                  </a:rPr>
                  <a:t>here</a:t>
                </a:r>
                <a:endParaRPr lang="en-US" altLang="zh-CN" sz="2000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2346706" y="1513658"/>
              <a:ext cx="582360" cy="914014"/>
              <a:chOff x="3099720" y="1844751"/>
              <a:chExt cx="582360" cy="914014"/>
            </a:xfrm>
          </p:grpSpPr>
          <p:grpSp>
            <p:nvGrpSpPr>
              <p:cNvPr id="23" name="组合 22"/>
              <p:cNvGrpSpPr/>
              <p:nvPr/>
            </p:nvGrpSpPr>
            <p:grpSpPr>
              <a:xfrm>
                <a:off x="3099720" y="1844751"/>
                <a:ext cx="582360" cy="914014"/>
                <a:chOff x="3099720" y="1844751"/>
                <a:chExt cx="582360" cy="914014"/>
              </a:xfrm>
            </p:grpSpPr>
            <p:sp>
              <p:nvSpPr>
                <p:cNvPr id="25" name="直接连接符 24"/>
                <p:cNvSpPr/>
                <p:nvPr/>
              </p:nvSpPr>
              <p:spPr>
                <a:xfrm flipV="1">
                  <a:off x="3390899" y="2374661"/>
                  <a:ext cx="0" cy="384104"/>
                </a:xfrm>
                <a:prstGeom prst="line">
                  <a:avLst/>
                </a:prstGeom>
                <a:noFill/>
                <a:ln w="25400" cap="flat">
                  <a:solidFill>
                    <a:schemeClr val="bg1">
                      <a:lumMod val="85000"/>
                    </a:schemeClr>
                  </a:solidFill>
                  <a:prstDash val="solid"/>
                  <a:miter lim="400000"/>
                  <a:headEnd type="triangle" w="med" len="sm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000000"/>
                      </a:solidFill>
                    </a:defRPr>
                  </a:pPr>
                  <a:endParaRPr sz="2400">
                    <a:cs typeface="+mn-ea"/>
                    <a:sym typeface="+mn-lt"/>
                  </a:endParaRPr>
                </a:p>
              </p:txBody>
            </p:sp>
            <p:sp>
              <p:nvSpPr>
                <p:cNvPr id="26" name="任意多边形: 形状 25"/>
                <p:cNvSpPr/>
                <p:nvPr/>
              </p:nvSpPr>
              <p:spPr>
                <a:xfrm>
                  <a:off x="3099720" y="1844751"/>
                  <a:ext cx="582360" cy="67245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0"/>
                      </a:moveTo>
                      <a:lnTo>
                        <a:pt x="21600" y="5400"/>
                      </a:lnTo>
                      <a:lnTo>
                        <a:pt x="21600" y="16200"/>
                      </a:lnTo>
                      <a:lnTo>
                        <a:pt x="10800" y="21600"/>
                      </a:lnTo>
                      <a:lnTo>
                        <a:pt x="0" y="16200"/>
                      </a:lnTo>
                      <a:lnTo>
                        <a:pt x="0" y="540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28575" cap="flat">
                  <a:solidFill>
                    <a:schemeClr val="accent2"/>
                  </a:solidFill>
                  <a:miter lim="400000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FFFFFF"/>
                      </a:solidFill>
                    </a:defRPr>
                  </a:pPr>
                  <a:endParaRPr sz="240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AFB1C86E-5398-4C70-98E2-78296E0D2DCD}"/>
                  </a:ext>
                </a:extLst>
              </p:cNvPr>
              <p:cNvSpPr/>
              <p:nvPr/>
            </p:nvSpPr>
            <p:spPr bwMode="auto">
              <a:xfrm>
                <a:off x="3215608" y="2018802"/>
                <a:ext cx="350584" cy="324348"/>
              </a:xfrm>
              <a:custGeom>
                <a:avLst/>
                <a:gdLst/>
                <a:ahLst/>
                <a:cxnLst>
                  <a:cxn ang="0">
                    <a:pos x="39" y="36"/>
                  </a:cxn>
                  <a:cxn ang="0">
                    <a:pos x="41" y="44"/>
                  </a:cxn>
                  <a:cxn ang="0">
                    <a:pos x="35" y="50"/>
                  </a:cxn>
                  <a:cxn ang="0">
                    <a:pos x="27" y="53"/>
                  </a:cxn>
                  <a:cxn ang="0">
                    <a:pos x="18" y="53"/>
                  </a:cxn>
                  <a:cxn ang="0">
                    <a:pos x="11" y="50"/>
                  </a:cxn>
                  <a:cxn ang="0">
                    <a:pos x="4" y="44"/>
                  </a:cxn>
                  <a:cxn ang="0">
                    <a:pos x="6" y="36"/>
                  </a:cxn>
                  <a:cxn ang="0">
                    <a:pos x="0" y="28"/>
                  </a:cxn>
                  <a:cxn ang="0">
                    <a:pos x="7" y="23"/>
                  </a:cxn>
                  <a:cxn ang="0">
                    <a:pos x="4" y="18"/>
                  </a:cxn>
                  <a:cxn ang="0">
                    <a:pos x="15" y="16"/>
                  </a:cxn>
                  <a:cxn ang="0">
                    <a:pos x="19" y="8"/>
                  </a:cxn>
                  <a:cxn ang="0">
                    <a:pos x="28" y="15"/>
                  </a:cxn>
                  <a:cxn ang="0">
                    <a:pos x="35" y="12"/>
                  </a:cxn>
                  <a:cxn ang="0">
                    <a:pos x="41" y="19"/>
                  </a:cxn>
                  <a:cxn ang="0">
                    <a:pos x="45" y="27"/>
                  </a:cxn>
                  <a:cxn ang="0">
                    <a:pos x="23" y="22"/>
                  </a:cxn>
                  <a:cxn ang="0">
                    <a:pos x="32" y="31"/>
                  </a:cxn>
                  <a:cxn ang="0">
                    <a:pos x="63" y="16"/>
                  </a:cxn>
                  <a:cxn ang="0">
                    <a:pos x="64" y="24"/>
                  </a:cxn>
                  <a:cxn ang="0">
                    <a:pos x="55" y="22"/>
                  </a:cxn>
                  <a:cxn ang="0">
                    <a:pos x="46" y="24"/>
                  </a:cxn>
                  <a:cxn ang="0">
                    <a:pos x="46" y="16"/>
                  </a:cxn>
                  <a:cxn ang="0">
                    <a:pos x="46" y="9"/>
                  </a:cxn>
                  <a:cxn ang="0">
                    <a:pos x="46" y="2"/>
                  </a:cxn>
                  <a:cxn ang="0">
                    <a:pos x="55" y="4"/>
                  </a:cxn>
                  <a:cxn ang="0">
                    <a:pos x="59" y="0"/>
                  </a:cxn>
                  <a:cxn ang="0">
                    <a:pos x="62" y="7"/>
                  </a:cxn>
                  <a:cxn ang="0">
                    <a:pos x="68" y="15"/>
                  </a:cxn>
                  <a:cxn ang="0">
                    <a:pos x="62" y="55"/>
                  </a:cxn>
                  <a:cxn ang="0">
                    <a:pos x="59" y="63"/>
                  </a:cxn>
                  <a:cxn ang="0">
                    <a:pos x="54" y="59"/>
                  </a:cxn>
                  <a:cxn ang="0">
                    <a:pos x="45" y="60"/>
                  </a:cxn>
                  <a:cxn ang="0">
                    <a:pos x="41" y="52"/>
                  </a:cxn>
                  <a:cxn ang="0">
                    <a:pos x="47" y="44"/>
                  </a:cxn>
                  <a:cxn ang="0">
                    <a:pos x="50" y="36"/>
                  </a:cxn>
                  <a:cxn ang="0">
                    <a:pos x="56" y="40"/>
                  </a:cxn>
                  <a:cxn ang="0">
                    <a:pos x="64" y="39"/>
                  </a:cxn>
                  <a:cxn ang="0">
                    <a:pos x="63" y="46"/>
                  </a:cxn>
                  <a:cxn ang="0">
                    <a:pos x="55" y="8"/>
                  </a:cxn>
                  <a:cxn ang="0">
                    <a:pos x="59" y="13"/>
                  </a:cxn>
                  <a:cxn ang="0">
                    <a:pos x="50" y="49"/>
                  </a:cxn>
                  <a:cxn ang="0">
                    <a:pos x="55" y="45"/>
                  </a:cxn>
                </a:cxnLst>
                <a:rect l="0" t="0" r="r" b="b"/>
                <a:pathLst>
                  <a:path w="68" h="63">
                    <a:moveTo>
                      <a:pt x="45" y="35"/>
                    </a:moveTo>
                    <a:cubicBezTo>
                      <a:pt x="45" y="35"/>
                      <a:pt x="45" y="36"/>
                      <a:pt x="45" y="36"/>
                    </a:cubicBezTo>
                    <a:cubicBezTo>
                      <a:pt x="39" y="36"/>
                      <a:pt x="39" y="36"/>
                      <a:pt x="39" y="36"/>
                    </a:cubicBezTo>
                    <a:cubicBezTo>
                      <a:pt x="39" y="37"/>
                      <a:pt x="38" y="38"/>
                      <a:pt x="38" y="39"/>
                    </a:cubicBezTo>
                    <a:cubicBezTo>
                      <a:pt x="39" y="41"/>
                      <a:pt x="40" y="42"/>
                      <a:pt x="41" y="43"/>
                    </a:cubicBezTo>
                    <a:cubicBezTo>
                      <a:pt x="41" y="43"/>
                      <a:pt x="41" y="44"/>
                      <a:pt x="41" y="44"/>
                    </a:cubicBezTo>
                    <a:cubicBezTo>
                      <a:pt x="41" y="44"/>
                      <a:pt x="41" y="44"/>
                      <a:pt x="41" y="45"/>
                    </a:cubicBezTo>
                    <a:cubicBezTo>
                      <a:pt x="40" y="46"/>
                      <a:pt x="36" y="50"/>
                      <a:pt x="35" y="50"/>
                    </a:cubicBezTo>
                    <a:cubicBezTo>
                      <a:pt x="35" y="50"/>
                      <a:pt x="35" y="50"/>
                      <a:pt x="35" y="50"/>
                    </a:cubicBezTo>
                    <a:cubicBezTo>
                      <a:pt x="31" y="47"/>
                      <a:pt x="31" y="47"/>
                      <a:pt x="31" y="47"/>
                    </a:cubicBezTo>
                    <a:cubicBezTo>
                      <a:pt x="30" y="47"/>
                      <a:pt x="29" y="47"/>
                      <a:pt x="28" y="48"/>
                    </a:cubicBezTo>
                    <a:cubicBezTo>
                      <a:pt x="28" y="49"/>
                      <a:pt x="27" y="51"/>
                      <a:pt x="27" y="53"/>
                    </a:cubicBezTo>
                    <a:cubicBezTo>
                      <a:pt x="27" y="54"/>
                      <a:pt x="26" y="54"/>
                      <a:pt x="26" y="54"/>
                    </a:cubicBezTo>
                    <a:cubicBezTo>
                      <a:pt x="19" y="54"/>
                      <a:pt x="19" y="54"/>
                      <a:pt x="19" y="54"/>
                    </a:cubicBezTo>
                    <a:cubicBezTo>
                      <a:pt x="19" y="54"/>
                      <a:pt x="18" y="54"/>
                      <a:pt x="18" y="53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6" y="47"/>
                      <a:pt x="16" y="47"/>
                      <a:pt x="15" y="47"/>
                    </a:cubicBezTo>
                    <a:cubicBezTo>
                      <a:pt x="11" y="50"/>
                      <a:pt x="11" y="50"/>
                      <a:pt x="11" y="50"/>
                    </a:cubicBezTo>
                    <a:cubicBezTo>
                      <a:pt x="10" y="50"/>
                      <a:pt x="10" y="50"/>
                      <a:pt x="10" y="50"/>
                    </a:cubicBezTo>
                    <a:cubicBezTo>
                      <a:pt x="10" y="50"/>
                      <a:pt x="9" y="50"/>
                      <a:pt x="9" y="50"/>
                    </a:cubicBezTo>
                    <a:cubicBezTo>
                      <a:pt x="8" y="49"/>
                      <a:pt x="4" y="45"/>
                      <a:pt x="4" y="44"/>
                    </a:cubicBezTo>
                    <a:cubicBezTo>
                      <a:pt x="4" y="44"/>
                      <a:pt x="4" y="44"/>
                      <a:pt x="4" y="43"/>
                    </a:cubicBezTo>
                    <a:cubicBezTo>
                      <a:pt x="5" y="42"/>
                      <a:pt x="6" y="41"/>
                      <a:pt x="7" y="39"/>
                    </a:cubicBezTo>
                    <a:cubicBezTo>
                      <a:pt x="7" y="38"/>
                      <a:pt x="6" y="37"/>
                      <a:pt x="6" y="36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0" y="35"/>
                      <a:pt x="0" y="35"/>
                      <a:pt x="0" y="3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7"/>
                      <a:pt x="0" y="27"/>
                      <a:pt x="1" y="27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6" y="25"/>
                      <a:pt x="7" y="24"/>
                      <a:pt x="7" y="23"/>
                    </a:cubicBezTo>
                    <a:cubicBezTo>
                      <a:pt x="6" y="22"/>
                      <a:pt x="5" y="20"/>
                      <a:pt x="4" y="19"/>
                    </a:cubicBezTo>
                    <a:cubicBezTo>
                      <a:pt x="4" y="19"/>
                      <a:pt x="4" y="19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5" y="17"/>
                      <a:pt x="9" y="12"/>
                      <a:pt x="10" y="12"/>
                    </a:cubicBezTo>
                    <a:cubicBezTo>
                      <a:pt x="10" y="12"/>
                      <a:pt x="10" y="12"/>
                      <a:pt x="11" y="13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6" y="15"/>
                      <a:pt x="16" y="15"/>
                      <a:pt x="17" y="15"/>
                    </a:cubicBezTo>
                    <a:cubicBezTo>
                      <a:pt x="18" y="13"/>
                      <a:pt x="18" y="11"/>
                      <a:pt x="18" y="9"/>
                    </a:cubicBezTo>
                    <a:cubicBezTo>
                      <a:pt x="18" y="9"/>
                      <a:pt x="19" y="8"/>
                      <a:pt x="19" y="8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6" y="8"/>
                      <a:pt x="27" y="9"/>
                      <a:pt x="27" y="9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9" y="15"/>
                      <a:pt x="30" y="15"/>
                      <a:pt x="31" y="16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6" y="12"/>
                      <a:pt x="36" y="12"/>
                      <a:pt x="36" y="13"/>
                    </a:cubicBezTo>
                    <a:cubicBezTo>
                      <a:pt x="37" y="13"/>
                      <a:pt x="41" y="17"/>
                      <a:pt x="41" y="18"/>
                    </a:cubicBezTo>
                    <a:cubicBezTo>
                      <a:pt x="41" y="19"/>
                      <a:pt x="41" y="19"/>
                      <a:pt x="41" y="19"/>
                    </a:cubicBezTo>
                    <a:cubicBezTo>
                      <a:pt x="40" y="20"/>
                      <a:pt x="39" y="22"/>
                      <a:pt x="38" y="23"/>
                    </a:cubicBezTo>
                    <a:cubicBezTo>
                      <a:pt x="38" y="24"/>
                      <a:pt x="39" y="25"/>
                      <a:pt x="39" y="26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45" y="27"/>
                      <a:pt x="45" y="27"/>
                      <a:pt x="45" y="28"/>
                    </a:cubicBezTo>
                    <a:lnTo>
                      <a:pt x="45" y="35"/>
                    </a:lnTo>
                    <a:close/>
                    <a:moveTo>
                      <a:pt x="23" y="22"/>
                    </a:moveTo>
                    <a:cubicBezTo>
                      <a:pt x="18" y="22"/>
                      <a:pt x="13" y="26"/>
                      <a:pt x="13" y="31"/>
                    </a:cubicBezTo>
                    <a:cubicBezTo>
                      <a:pt x="13" y="36"/>
                      <a:pt x="18" y="40"/>
                      <a:pt x="23" y="40"/>
                    </a:cubicBezTo>
                    <a:cubicBezTo>
                      <a:pt x="28" y="40"/>
                      <a:pt x="32" y="36"/>
                      <a:pt x="32" y="31"/>
                    </a:cubicBezTo>
                    <a:cubicBezTo>
                      <a:pt x="32" y="26"/>
                      <a:pt x="28" y="22"/>
                      <a:pt x="23" y="22"/>
                    </a:cubicBezTo>
                    <a:close/>
                    <a:moveTo>
                      <a:pt x="68" y="15"/>
                    </a:moveTo>
                    <a:cubicBezTo>
                      <a:pt x="68" y="16"/>
                      <a:pt x="64" y="16"/>
                      <a:pt x="63" y="16"/>
                    </a:cubicBezTo>
                    <a:cubicBezTo>
                      <a:pt x="63" y="17"/>
                      <a:pt x="62" y="18"/>
                      <a:pt x="62" y="18"/>
                    </a:cubicBezTo>
                    <a:cubicBezTo>
                      <a:pt x="62" y="19"/>
                      <a:pt x="64" y="23"/>
                      <a:pt x="64" y="23"/>
                    </a:cubicBezTo>
                    <a:cubicBezTo>
                      <a:pt x="64" y="23"/>
                      <a:pt x="64" y="23"/>
                      <a:pt x="64" y="24"/>
                    </a:cubicBezTo>
                    <a:cubicBezTo>
                      <a:pt x="63" y="24"/>
                      <a:pt x="59" y="26"/>
                      <a:pt x="59" y="26"/>
                    </a:cubicBezTo>
                    <a:cubicBezTo>
                      <a:pt x="59" y="26"/>
                      <a:pt x="56" y="22"/>
                      <a:pt x="56" y="22"/>
                    </a:cubicBezTo>
                    <a:cubicBezTo>
                      <a:pt x="55" y="22"/>
                      <a:pt x="55" y="22"/>
                      <a:pt x="55" y="22"/>
                    </a:cubicBezTo>
                    <a:cubicBezTo>
                      <a:pt x="54" y="22"/>
                      <a:pt x="54" y="22"/>
                      <a:pt x="54" y="22"/>
                    </a:cubicBezTo>
                    <a:cubicBezTo>
                      <a:pt x="53" y="22"/>
                      <a:pt x="50" y="26"/>
                      <a:pt x="50" y="26"/>
                    </a:cubicBezTo>
                    <a:cubicBezTo>
                      <a:pt x="50" y="26"/>
                      <a:pt x="46" y="24"/>
                      <a:pt x="46" y="24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23"/>
                      <a:pt x="47" y="19"/>
                      <a:pt x="47" y="18"/>
                    </a:cubicBezTo>
                    <a:cubicBezTo>
                      <a:pt x="47" y="18"/>
                      <a:pt x="46" y="17"/>
                      <a:pt x="46" y="16"/>
                    </a:cubicBezTo>
                    <a:cubicBezTo>
                      <a:pt x="45" y="16"/>
                      <a:pt x="41" y="16"/>
                      <a:pt x="41" y="15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10"/>
                      <a:pt x="45" y="9"/>
                      <a:pt x="46" y="9"/>
                    </a:cubicBezTo>
                    <a:cubicBezTo>
                      <a:pt x="46" y="9"/>
                      <a:pt x="47" y="8"/>
                      <a:pt x="47" y="7"/>
                    </a:cubicBezTo>
                    <a:cubicBezTo>
                      <a:pt x="47" y="7"/>
                      <a:pt x="45" y="3"/>
                      <a:pt x="45" y="2"/>
                    </a:cubicBezTo>
                    <a:cubicBezTo>
                      <a:pt x="45" y="2"/>
                      <a:pt x="45" y="2"/>
                      <a:pt x="46" y="2"/>
                    </a:cubicBezTo>
                    <a:cubicBezTo>
                      <a:pt x="46" y="2"/>
                      <a:pt x="50" y="0"/>
                      <a:pt x="50" y="0"/>
                    </a:cubicBezTo>
                    <a:cubicBezTo>
                      <a:pt x="50" y="0"/>
                      <a:pt x="53" y="3"/>
                      <a:pt x="54" y="4"/>
                    </a:cubicBezTo>
                    <a:cubicBezTo>
                      <a:pt x="54" y="4"/>
                      <a:pt x="54" y="4"/>
                      <a:pt x="55" y="4"/>
                    </a:cubicBezTo>
                    <a:cubicBezTo>
                      <a:pt x="55" y="4"/>
                      <a:pt x="55" y="4"/>
                      <a:pt x="56" y="4"/>
                    </a:cubicBezTo>
                    <a:cubicBezTo>
                      <a:pt x="57" y="2"/>
                      <a:pt x="58" y="1"/>
                      <a:pt x="59" y="0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59" y="0"/>
                      <a:pt x="63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ubicBezTo>
                      <a:pt x="64" y="3"/>
                      <a:pt x="62" y="7"/>
                      <a:pt x="62" y="7"/>
                    </a:cubicBezTo>
                    <a:cubicBezTo>
                      <a:pt x="62" y="8"/>
                      <a:pt x="63" y="9"/>
                      <a:pt x="63" y="9"/>
                    </a:cubicBezTo>
                    <a:cubicBezTo>
                      <a:pt x="64" y="9"/>
                      <a:pt x="68" y="10"/>
                      <a:pt x="68" y="10"/>
                    </a:cubicBezTo>
                    <a:lnTo>
                      <a:pt x="68" y="15"/>
                    </a:lnTo>
                    <a:close/>
                    <a:moveTo>
                      <a:pt x="68" y="52"/>
                    </a:moveTo>
                    <a:cubicBezTo>
                      <a:pt x="68" y="52"/>
                      <a:pt x="64" y="53"/>
                      <a:pt x="63" y="53"/>
                    </a:cubicBezTo>
                    <a:cubicBezTo>
                      <a:pt x="63" y="54"/>
                      <a:pt x="62" y="54"/>
                      <a:pt x="62" y="55"/>
                    </a:cubicBezTo>
                    <a:cubicBezTo>
                      <a:pt x="62" y="56"/>
                      <a:pt x="64" y="59"/>
                      <a:pt x="64" y="60"/>
                    </a:cubicBezTo>
                    <a:cubicBezTo>
                      <a:pt x="64" y="60"/>
                      <a:pt x="64" y="60"/>
                      <a:pt x="64" y="60"/>
                    </a:cubicBezTo>
                    <a:cubicBezTo>
                      <a:pt x="63" y="60"/>
                      <a:pt x="59" y="63"/>
                      <a:pt x="59" y="63"/>
                    </a:cubicBezTo>
                    <a:cubicBezTo>
                      <a:pt x="59" y="63"/>
                      <a:pt x="56" y="59"/>
                      <a:pt x="56" y="59"/>
                    </a:cubicBezTo>
                    <a:cubicBezTo>
                      <a:pt x="55" y="59"/>
                      <a:pt x="55" y="59"/>
                      <a:pt x="55" y="59"/>
                    </a:cubicBezTo>
                    <a:cubicBezTo>
                      <a:pt x="54" y="59"/>
                      <a:pt x="54" y="59"/>
                      <a:pt x="54" y="59"/>
                    </a:cubicBezTo>
                    <a:cubicBezTo>
                      <a:pt x="53" y="59"/>
                      <a:pt x="50" y="63"/>
                      <a:pt x="50" y="63"/>
                    </a:cubicBezTo>
                    <a:cubicBezTo>
                      <a:pt x="50" y="63"/>
                      <a:pt x="46" y="60"/>
                      <a:pt x="46" y="60"/>
                    </a:cubicBezTo>
                    <a:cubicBezTo>
                      <a:pt x="45" y="60"/>
                      <a:pt x="45" y="60"/>
                      <a:pt x="45" y="60"/>
                    </a:cubicBezTo>
                    <a:cubicBezTo>
                      <a:pt x="45" y="59"/>
                      <a:pt x="47" y="56"/>
                      <a:pt x="47" y="55"/>
                    </a:cubicBezTo>
                    <a:cubicBezTo>
                      <a:pt x="47" y="54"/>
                      <a:pt x="46" y="54"/>
                      <a:pt x="46" y="53"/>
                    </a:cubicBezTo>
                    <a:cubicBezTo>
                      <a:pt x="45" y="53"/>
                      <a:pt x="41" y="52"/>
                      <a:pt x="41" y="52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41" y="46"/>
                      <a:pt x="45" y="46"/>
                      <a:pt x="46" y="46"/>
                    </a:cubicBezTo>
                    <a:cubicBezTo>
                      <a:pt x="46" y="45"/>
                      <a:pt x="47" y="45"/>
                      <a:pt x="47" y="44"/>
                    </a:cubicBezTo>
                    <a:cubicBezTo>
                      <a:pt x="47" y="43"/>
                      <a:pt x="45" y="40"/>
                      <a:pt x="45" y="39"/>
                    </a:cubicBezTo>
                    <a:cubicBezTo>
                      <a:pt x="45" y="39"/>
                      <a:pt x="45" y="39"/>
                      <a:pt x="46" y="39"/>
                    </a:cubicBezTo>
                    <a:cubicBezTo>
                      <a:pt x="46" y="39"/>
                      <a:pt x="50" y="36"/>
                      <a:pt x="50" y="36"/>
                    </a:cubicBezTo>
                    <a:cubicBezTo>
                      <a:pt x="50" y="36"/>
                      <a:pt x="53" y="40"/>
                      <a:pt x="54" y="40"/>
                    </a:cubicBezTo>
                    <a:cubicBezTo>
                      <a:pt x="54" y="40"/>
                      <a:pt x="54" y="40"/>
                      <a:pt x="55" y="40"/>
                    </a:cubicBezTo>
                    <a:cubicBezTo>
                      <a:pt x="55" y="40"/>
                      <a:pt x="55" y="40"/>
                      <a:pt x="56" y="40"/>
                    </a:cubicBezTo>
                    <a:cubicBezTo>
                      <a:pt x="57" y="39"/>
                      <a:pt x="58" y="38"/>
                      <a:pt x="59" y="36"/>
                    </a:cubicBezTo>
                    <a:cubicBezTo>
                      <a:pt x="59" y="36"/>
                      <a:pt x="59" y="36"/>
                      <a:pt x="59" y="36"/>
                    </a:cubicBezTo>
                    <a:cubicBezTo>
                      <a:pt x="59" y="36"/>
                      <a:pt x="63" y="39"/>
                      <a:pt x="64" y="39"/>
                    </a:cubicBezTo>
                    <a:cubicBezTo>
                      <a:pt x="64" y="39"/>
                      <a:pt x="64" y="39"/>
                      <a:pt x="64" y="39"/>
                    </a:cubicBezTo>
                    <a:cubicBezTo>
                      <a:pt x="64" y="40"/>
                      <a:pt x="62" y="43"/>
                      <a:pt x="62" y="44"/>
                    </a:cubicBezTo>
                    <a:cubicBezTo>
                      <a:pt x="62" y="45"/>
                      <a:pt x="63" y="45"/>
                      <a:pt x="63" y="46"/>
                    </a:cubicBezTo>
                    <a:cubicBezTo>
                      <a:pt x="64" y="46"/>
                      <a:pt x="68" y="46"/>
                      <a:pt x="68" y="47"/>
                    </a:cubicBezTo>
                    <a:lnTo>
                      <a:pt x="68" y="52"/>
                    </a:lnTo>
                    <a:close/>
                    <a:moveTo>
                      <a:pt x="55" y="8"/>
                    </a:moveTo>
                    <a:cubicBezTo>
                      <a:pt x="52" y="8"/>
                      <a:pt x="50" y="10"/>
                      <a:pt x="50" y="13"/>
                    </a:cubicBezTo>
                    <a:cubicBezTo>
                      <a:pt x="50" y="15"/>
                      <a:pt x="52" y="17"/>
                      <a:pt x="55" y="17"/>
                    </a:cubicBezTo>
                    <a:cubicBezTo>
                      <a:pt x="57" y="17"/>
                      <a:pt x="59" y="15"/>
                      <a:pt x="59" y="13"/>
                    </a:cubicBezTo>
                    <a:cubicBezTo>
                      <a:pt x="59" y="10"/>
                      <a:pt x="57" y="8"/>
                      <a:pt x="55" y="8"/>
                    </a:cubicBezTo>
                    <a:close/>
                    <a:moveTo>
                      <a:pt x="55" y="45"/>
                    </a:moveTo>
                    <a:cubicBezTo>
                      <a:pt x="52" y="45"/>
                      <a:pt x="50" y="47"/>
                      <a:pt x="50" y="49"/>
                    </a:cubicBezTo>
                    <a:cubicBezTo>
                      <a:pt x="50" y="52"/>
                      <a:pt x="52" y="54"/>
                      <a:pt x="55" y="54"/>
                    </a:cubicBezTo>
                    <a:cubicBezTo>
                      <a:pt x="57" y="54"/>
                      <a:pt x="59" y="52"/>
                      <a:pt x="59" y="49"/>
                    </a:cubicBezTo>
                    <a:cubicBezTo>
                      <a:pt x="59" y="47"/>
                      <a:pt x="57" y="45"/>
                      <a:pt x="55" y="45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4" name="组合 13"/>
            <p:cNvGrpSpPr/>
            <p:nvPr/>
          </p:nvGrpSpPr>
          <p:grpSpPr>
            <a:xfrm>
              <a:off x="3439755" y="1413778"/>
              <a:ext cx="7333764" cy="698664"/>
              <a:chOff x="4192769" y="1918933"/>
              <a:chExt cx="7333764" cy="698664"/>
            </a:xfrm>
          </p:grpSpPr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 flipH="1">
                <a:off x="4192769" y="2298472"/>
                <a:ext cx="7333764" cy="319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</a:t>
                </a:r>
                <a:r>
                  <a:rPr lang="en-US" altLang="zh-CN" sz="1100">
                    <a:cs typeface="+mn-ea"/>
                    <a:sym typeface="+mn-lt"/>
                  </a:rPr>
                  <a:t>only opt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ion </a:t>
                </a:r>
                <a:r>
                  <a:rPr lang="en-US" altLang="zh-CN" sz="1100" dirty="0">
                    <a:cs typeface="+mn-ea"/>
                    <a:sym typeface="+mn-lt"/>
                  </a:rPr>
                  <a:t>to retain text……</a:t>
                </a:r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6FA8394A-C750-42B5-8172-8693CBBD3803}"/>
                  </a:ext>
                </a:extLst>
              </p:cNvPr>
              <p:cNvSpPr txBox="1"/>
              <p:nvPr/>
            </p:nvSpPr>
            <p:spPr bwMode="auto">
              <a:xfrm flipH="1">
                <a:off x="4192769" y="1918933"/>
                <a:ext cx="7333764" cy="379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>
                    <a:cs typeface="+mn-ea"/>
                    <a:sym typeface="+mn-lt"/>
                  </a:rPr>
                  <a:t>Text 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sz="2000" b="1">
                    <a:cs typeface="+mn-ea"/>
                    <a:sym typeface="+mn-lt"/>
                  </a:rPr>
                  <a:t>here</a:t>
                </a:r>
                <a:endParaRPr lang="en-US" altLang="zh-CN" sz="2000" b="1" dirty="0">
                  <a:cs typeface="+mn-ea"/>
                  <a:sym typeface="+mn-lt"/>
                </a:endParaRPr>
              </a:p>
            </p:txBody>
          </p:sp>
        </p:grpSp>
        <p:cxnSp>
          <p:nvCxnSpPr>
            <p:cNvPr id="15" name="直接连接符 14"/>
            <p:cNvCxnSpPr/>
            <p:nvPr/>
          </p:nvCxnSpPr>
          <p:spPr>
            <a:xfrm>
              <a:off x="3543300" y="2115025"/>
              <a:ext cx="798323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/>
            <p:cNvCxnSpPr/>
            <p:nvPr/>
          </p:nvCxnSpPr>
          <p:spPr>
            <a:xfrm>
              <a:off x="5000625" y="2971255"/>
              <a:ext cx="652590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/>
            <p:cNvCxnSpPr/>
            <p:nvPr/>
          </p:nvCxnSpPr>
          <p:spPr>
            <a:xfrm>
              <a:off x="6657975" y="3827485"/>
              <a:ext cx="486855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组合 17"/>
            <p:cNvGrpSpPr/>
            <p:nvPr/>
          </p:nvGrpSpPr>
          <p:grpSpPr>
            <a:xfrm>
              <a:off x="673099" y="3923423"/>
              <a:ext cx="4120909" cy="1894333"/>
              <a:chOff x="673100" y="2010776"/>
              <a:chExt cx="3579804" cy="1894333"/>
            </a:xfrm>
          </p:grpSpPr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1AA88852-8B07-4CC8-A41B-7F624B7DFF69}"/>
                  </a:ext>
                </a:extLst>
              </p:cNvPr>
              <p:cNvSpPr txBox="1"/>
              <p:nvPr/>
            </p:nvSpPr>
            <p:spPr>
              <a:xfrm>
                <a:off x="673100" y="2010776"/>
                <a:ext cx="3579803" cy="8521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buSzPct val="25000"/>
                </a:pPr>
                <a:r>
                  <a:rPr lang="en-US" sz="2000" b="1" dirty="0">
                    <a:cs typeface="+mn-ea"/>
                    <a:sym typeface="+mn-lt"/>
                  </a:rPr>
                  <a:t>Unified fonts make</a:t>
                </a:r>
              </a:p>
              <a:p>
                <a:pPr>
                  <a:buSzPct val="25000"/>
                </a:pPr>
                <a:r>
                  <a:rPr lang="en-US" sz="2000" b="1">
                    <a:cs typeface="+mn-ea"/>
                    <a:sym typeface="+mn-lt"/>
                  </a:rPr>
                  <a:t>readin</a:t>
                </a:r>
                <a:r>
                  <a:rPr lang="en-US" sz="100" b="1">
                    <a:cs typeface="+mn-ea"/>
                    <a:sym typeface="+mn-lt"/>
                  </a:rPr>
                  <a:t> </a:t>
                </a:r>
                <a:r>
                  <a:rPr lang="en-US" sz="2000" b="1">
                    <a:cs typeface="+mn-ea"/>
                    <a:sym typeface="+mn-lt"/>
                  </a:rPr>
                  <a:t>g </a:t>
                </a:r>
                <a:r>
                  <a:rPr lang="en-US" sz="2000" b="1" dirty="0">
                    <a:cs typeface="+mn-ea"/>
                    <a:sym typeface="+mn-lt"/>
                  </a:rPr>
                  <a:t>more fluent.</a:t>
                </a:r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C05E9FE2-9963-41EC-927A-E0555CECBB6C}"/>
                  </a:ext>
                </a:extLst>
              </p:cNvPr>
              <p:cNvSpPr txBox="1"/>
              <p:nvPr/>
            </p:nvSpPr>
            <p:spPr>
              <a:xfrm>
                <a:off x="673100" y="2862937"/>
                <a:ext cx="3579804" cy="10421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100" dirty="0">
                    <a:cs typeface="+mn-ea"/>
                    <a:sym typeface="+mn-lt"/>
                  </a:rPr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100" dirty="0">
                    <a:cs typeface="+mn-ea"/>
                    <a:sym typeface="+mn-lt"/>
                  </a:rPr>
                  <a:t>Adjust the spacing to adapt </a:t>
                </a:r>
                <a:r>
                  <a:rPr lang="en-US" sz="1100">
                    <a:cs typeface="+mn-ea"/>
                    <a:sym typeface="+mn-lt"/>
                  </a:rPr>
                  <a:t>to Chine</a:t>
                </a:r>
                <a:r>
                  <a:rPr lang="en-US" sz="100">
                    <a:cs typeface="+mn-ea"/>
                    <a:sym typeface="+mn-lt"/>
                  </a:rPr>
                  <a:t> </a:t>
                </a:r>
                <a:r>
                  <a:rPr lang="en-US" sz="1100">
                    <a:cs typeface="+mn-ea"/>
                    <a:sym typeface="+mn-lt"/>
                  </a:rPr>
                  <a:t>se </a:t>
                </a:r>
                <a:r>
                  <a:rPr lang="en-US" sz="1100" dirty="0">
                    <a:cs typeface="+mn-ea"/>
                    <a:sym typeface="+mn-lt"/>
                  </a:rPr>
                  <a:t>typesetting, use the reference line in PPT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989231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8800" i="1" dirty="0">
                <a:latin typeface="+mn-lt"/>
                <a:ea typeface="+mn-ea"/>
                <a:cs typeface="+mn-ea"/>
                <a:sym typeface="+mn-lt"/>
              </a:rPr>
              <a:t>Thanks</a:t>
            </a:r>
            <a:br>
              <a:rPr lang="en-US" altLang="zh-CN" i="1" dirty="0"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i="1" dirty="0">
                <a:latin typeface="+mn-lt"/>
                <a:ea typeface="+mn-ea"/>
                <a:cs typeface="+mn-ea"/>
                <a:sym typeface="+mn-lt"/>
              </a:rPr>
              <a:t>And Your  Slogan Here</a:t>
            </a:r>
            <a:endParaRPr lang="zh-CN" altLang="en-US" i="1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Speaker name  and title</a:t>
            </a:r>
            <a:endParaRPr lang="en-US" altLang="zh-CN" dirty="0">
              <a:cs typeface="+mn-ea"/>
              <a:sym typeface="+mn-lt"/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1BF5F8EB-56FB-474A-B34F-6C419D40490F}"/>
              </a:ext>
            </a:extLst>
          </p:cNvPr>
          <p:cNvGrpSpPr/>
          <p:nvPr/>
        </p:nvGrpSpPr>
        <p:grpSpPr>
          <a:xfrm>
            <a:off x="669925" y="1081407"/>
            <a:ext cx="2688737" cy="461665"/>
            <a:chOff x="669925" y="1012706"/>
            <a:chExt cx="3327400" cy="571326"/>
          </a:xfrm>
        </p:grpSpPr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1F7A9E1F-B5FD-4134-A610-A8904CFE83E1}"/>
                </a:ext>
              </a:extLst>
            </p:cNvPr>
            <p:cNvSpPr/>
            <p:nvPr/>
          </p:nvSpPr>
          <p:spPr>
            <a:xfrm>
              <a:off x="669925" y="1012706"/>
              <a:ext cx="488636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cs typeface="+mn-ea"/>
                  <a:sym typeface="+mn-lt"/>
                </a:rPr>
                <a:t>武</a:t>
              </a:r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2032A23D-A450-4164-80C3-3F8A1D699A73}"/>
                </a:ext>
              </a:extLst>
            </p:cNvPr>
            <p:cNvSpPr/>
            <p:nvPr/>
          </p:nvSpPr>
          <p:spPr>
            <a:xfrm>
              <a:off x="1075463" y="1012706"/>
              <a:ext cx="488636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cs typeface="+mn-ea"/>
                  <a:sym typeface="+mn-lt"/>
                </a:rPr>
                <a:t>汉</a:t>
              </a:r>
            </a:p>
          </p:txBody>
        </p:sp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F7CB38C1-7DBF-449E-A9BE-6410D4FB76D0}"/>
                </a:ext>
              </a:extLst>
            </p:cNvPr>
            <p:cNvSpPr/>
            <p:nvPr/>
          </p:nvSpPr>
          <p:spPr>
            <a:xfrm>
              <a:off x="1481001" y="1012706"/>
              <a:ext cx="488636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cs typeface="+mn-ea"/>
                  <a:sym typeface="+mn-lt"/>
                </a:rPr>
                <a:t>加</a:t>
              </a: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319763B2-07E2-4CE5-BB21-6FBB8D6030A8}"/>
                </a:ext>
              </a:extLst>
            </p:cNvPr>
            <p:cNvSpPr/>
            <p:nvPr/>
          </p:nvSpPr>
          <p:spPr>
            <a:xfrm>
              <a:off x="1886538" y="1012706"/>
              <a:ext cx="488636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cs typeface="+mn-ea"/>
                  <a:sym typeface="+mn-lt"/>
                </a:rPr>
                <a:t>油</a:t>
              </a: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8EC9D0C2-68EB-478C-8120-25785AD19499}"/>
                </a:ext>
              </a:extLst>
            </p:cNvPr>
            <p:cNvSpPr>
              <a:spLocks/>
            </p:cNvSpPr>
            <p:nvPr/>
          </p:nvSpPr>
          <p:spPr>
            <a:xfrm>
              <a:off x="2292077" y="1012706"/>
              <a:ext cx="488636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cs typeface="+mn-ea"/>
                  <a:sym typeface="+mn-lt"/>
                </a:rPr>
                <a:t>中</a:t>
              </a: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4FFAF0A4-2F60-40F7-8612-4C5D2D742408}"/>
                </a:ext>
              </a:extLst>
            </p:cNvPr>
            <p:cNvSpPr>
              <a:spLocks/>
            </p:cNvSpPr>
            <p:nvPr/>
          </p:nvSpPr>
          <p:spPr>
            <a:xfrm>
              <a:off x="2697615" y="1012706"/>
              <a:ext cx="488635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cs typeface="+mn-ea"/>
                  <a:sym typeface="+mn-lt"/>
                </a:rPr>
                <a:t>国</a:t>
              </a: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A34379AC-9340-471C-862B-C510C90A2700}"/>
                </a:ext>
              </a:extLst>
            </p:cNvPr>
            <p:cNvSpPr>
              <a:spLocks/>
            </p:cNvSpPr>
            <p:nvPr/>
          </p:nvSpPr>
          <p:spPr>
            <a:xfrm>
              <a:off x="3103152" y="1012706"/>
              <a:ext cx="488635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cs typeface="+mn-ea"/>
                  <a:sym typeface="+mn-lt"/>
                </a:rPr>
                <a:t>加</a:t>
              </a: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93869789-0BB9-4210-A427-ED6E2E98E08E}"/>
                </a:ext>
              </a:extLst>
            </p:cNvPr>
            <p:cNvSpPr/>
            <p:nvPr/>
          </p:nvSpPr>
          <p:spPr>
            <a:xfrm>
              <a:off x="3508690" y="1012706"/>
              <a:ext cx="488635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cs typeface="+mn-ea"/>
                  <a:sym typeface="+mn-lt"/>
                </a:rPr>
                <a:t>油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1929251" y="0"/>
            <a:ext cx="8307209" cy="5535655"/>
            <a:chOff x="1929251" y="0"/>
            <a:chExt cx="8307209" cy="5535655"/>
          </a:xfrm>
        </p:grpSpPr>
        <p:grpSp>
          <p:nvGrpSpPr>
            <p:cNvPr id="6" name="组合 5"/>
            <p:cNvGrpSpPr/>
            <p:nvPr/>
          </p:nvGrpSpPr>
          <p:grpSpPr>
            <a:xfrm>
              <a:off x="8436260" y="0"/>
              <a:ext cx="1800200" cy="3053928"/>
              <a:chOff x="8436260" y="0"/>
              <a:chExt cx="1800200" cy="3053928"/>
            </a:xfrm>
          </p:grpSpPr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621A18F8-9766-493F-B5BA-C6A3710D9862}"/>
                  </a:ext>
                </a:extLst>
              </p:cNvPr>
              <p:cNvSpPr/>
              <p:nvPr/>
            </p:nvSpPr>
            <p:spPr bwMode="auto">
              <a:xfrm>
                <a:off x="9300356" y="0"/>
                <a:ext cx="72008" cy="305392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FEABB9AB-2462-4605-B6C3-9164B505C850}"/>
                  </a:ext>
                </a:extLst>
              </p:cNvPr>
              <p:cNvSpPr/>
              <p:nvPr/>
            </p:nvSpPr>
            <p:spPr bwMode="auto">
              <a:xfrm>
                <a:off x="8436260" y="1937804"/>
                <a:ext cx="1800200" cy="1116124"/>
              </a:xfrm>
              <a:custGeom>
                <a:avLst/>
                <a:gdLst>
                  <a:gd name="connsiteX0" fmla="*/ 900100 w 1800200"/>
                  <a:gd name="connsiteY0" fmla="*/ 0 h 1116124"/>
                  <a:gd name="connsiteX1" fmla="*/ 1800200 w 1800200"/>
                  <a:gd name="connsiteY1" fmla="*/ 900100 h 1116124"/>
                  <a:gd name="connsiteX2" fmla="*/ 1781913 w 1800200"/>
                  <a:gd name="connsiteY2" fmla="*/ 1081502 h 1116124"/>
                  <a:gd name="connsiteX3" fmla="*/ 1773011 w 1800200"/>
                  <a:gd name="connsiteY3" fmla="*/ 1116124 h 1116124"/>
                  <a:gd name="connsiteX4" fmla="*/ 27190 w 1800200"/>
                  <a:gd name="connsiteY4" fmla="*/ 1116124 h 1116124"/>
                  <a:gd name="connsiteX5" fmla="*/ 18287 w 1800200"/>
                  <a:gd name="connsiteY5" fmla="*/ 1081502 h 1116124"/>
                  <a:gd name="connsiteX6" fmla="*/ 0 w 1800200"/>
                  <a:gd name="connsiteY6" fmla="*/ 900100 h 1116124"/>
                  <a:gd name="connsiteX7" fmla="*/ 900100 w 1800200"/>
                  <a:gd name="connsiteY7" fmla="*/ 0 h 1116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00200" h="1116124">
                    <a:moveTo>
                      <a:pt x="900100" y="0"/>
                    </a:moveTo>
                    <a:cubicBezTo>
                      <a:pt x="1397212" y="0"/>
                      <a:pt x="1800200" y="402988"/>
                      <a:pt x="1800200" y="900100"/>
                    </a:cubicBezTo>
                    <a:cubicBezTo>
                      <a:pt x="1800200" y="962239"/>
                      <a:pt x="1793903" y="1022907"/>
                      <a:pt x="1781913" y="1081502"/>
                    </a:cubicBezTo>
                    <a:lnTo>
                      <a:pt x="1773011" y="1116124"/>
                    </a:lnTo>
                    <a:lnTo>
                      <a:pt x="27190" y="1116124"/>
                    </a:lnTo>
                    <a:lnTo>
                      <a:pt x="18287" y="1081502"/>
                    </a:lnTo>
                    <a:cubicBezTo>
                      <a:pt x="6297" y="1022907"/>
                      <a:pt x="0" y="962239"/>
                      <a:pt x="0" y="900100"/>
                    </a:cubicBezTo>
                    <a:cubicBezTo>
                      <a:pt x="0" y="402988"/>
                      <a:pt x="402988" y="0"/>
                      <a:pt x="90010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FCCA2619-88CC-4F4F-88F9-34B9A413B351}"/>
                </a:ext>
              </a:extLst>
            </p:cNvPr>
            <p:cNvSpPr/>
            <p:nvPr/>
          </p:nvSpPr>
          <p:spPr>
            <a:xfrm>
              <a:off x="9372364" y="3176364"/>
              <a:ext cx="553998" cy="1972656"/>
            </a:xfrm>
            <a:prstGeom prst="rect">
              <a:avLst/>
            </a:prstGeom>
          </p:spPr>
          <p:txBody>
            <a:bodyPr vert="eaVert" wrap="square" lIns="91440" tIns="45720" rIns="91440" bIns="45720">
              <a:normAutofit/>
            </a:bodyPr>
            <a:lstStyle/>
            <a:p>
              <a:r>
                <a:rPr lang="en-US" altLang="zh-CN" sz="2400" b="1" spc="300" dirty="0">
                  <a:cs typeface="+mn-ea"/>
                  <a:sym typeface="+mn-lt"/>
                </a:rPr>
                <a:t>CON</a:t>
              </a:r>
              <a:r>
                <a:rPr lang="en-US" altLang="zh-CN" sz="100" b="1" spc="300" dirty="0">
                  <a:cs typeface="+mn-ea"/>
                  <a:sym typeface="+mn-lt"/>
                </a:rPr>
                <a:t> </a:t>
              </a:r>
              <a:r>
                <a:rPr lang="en-US" altLang="zh-CN" sz="2400" b="1" spc="300" dirty="0">
                  <a:cs typeface="+mn-ea"/>
                  <a:sym typeface="+mn-lt"/>
                </a:rPr>
                <a:t>TENT</a:t>
              </a:r>
              <a:r>
                <a:rPr lang="zh-CN" altLang="en-US" sz="2400" b="1" spc="300" dirty="0">
                  <a:cs typeface="+mn-ea"/>
                  <a:sym typeface="+mn-lt"/>
                </a:rPr>
                <a:t> </a:t>
              </a:r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1929251" y="1741445"/>
              <a:ext cx="5385949" cy="624349"/>
              <a:chOff x="2034026" y="1655335"/>
              <a:chExt cx="5385949" cy="624349"/>
            </a:xfrm>
          </p:grpSpPr>
          <p:sp>
            <p:nvSpPr>
              <p:cNvPr id="25" name="椭圆 24">
                <a:extLst>
                  <a:ext uri="{FF2B5EF4-FFF2-40B4-BE49-F238E27FC236}">
                    <a16:creationId xmlns:a16="http://schemas.microsoft.com/office/drawing/2014/main" id="{F36562D5-B8D7-48BC-A3A7-360552C37C75}"/>
                  </a:ext>
                </a:extLst>
              </p:cNvPr>
              <p:cNvSpPr/>
              <p:nvPr/>
            </p:nvSpPr>
            <p:spPr>
              <a:xfrm>
                <a:off x="2034026" y="1655335"/>
                <a:ext cx="624349" cy="62434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tx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 dirty="0">
                    <a:solidFill>
                      <a:schemeClr val="tx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dirty="0">
                    <a:solidFill>
                      <a:schemeClr val="tx1"/>
                    </a:solidFill>
                    <a:cs typeface="+mn-ea"/>
                    <a:sym typeface="+mn-lt"/>
                  </a:rPr>
                  <a:t>1</a:t>
                </a:r>
              </a:p>
            </p:txBody>
          </p:sp>
          <p:sp>
            <p:nvSpPr>
              <p:cNvPr id="26" name="矩形 25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2763151" y="1742992"/>
                <a:ext cx="4656824" cy="449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sz="1600" dirty="0">
                    <a:cs typeface="+mn-ea"/>
                    <a:sym typeface="+mn-lt"/>
                  </a:rPr>
                  <a:t>口罩的正确使用</a:t>
                </a:r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1929251" y="2533910"/>
              <a:ext cx="5385949" cy="624349"/>
              <a:chOff x="2034026" y="2490855"/>
              <a:chExt cx="5385949" cy="624349"/>
            </a:xfrm>
          </p:grpSpPr>
          <p:sp>
            <p:nvSpPr>
              <p:cNvPr id="23" name="椭圆 22">
                <a:extLst>
                  <a:ext uri="{FF2B5EF4-FFF2-40B4-BE49-F238E27FC236}">
                    <a16:creationId xmlns:a16="http://schemas.microsoft.com/office/drawing/2014/main" id="{BF091657-0F52-41A6-8843-4DF47DEFFA99}"/>
                  </a:ext>
                </a:extLst>
              </p:cNvPr>
              <p:cNvSpPr/>
              <p:nvPr/>
            </p:nvSpPr>
            <p:spPr>
              <a:xfrm>
                <a:off x="2034026" y="2490855"/>
                <a:ext cx="624349" cy="62434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tx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 dirty="0">
                    <a:solidFill>
                      <a:schemeClr val="tx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dirty="0">
                    <a:solidFill>
                      <a:schemeClr val="tx1"/>
                    </a:solidFill>
                    <a:cs typeface="+mn-ea"/>
                    <a:sym typeface="+mn-lt"/>
                  </a:rPr>
                  <a:t>2</a:t>
                </a:r>
              </a:p>
            </p:txBody>
          </p:sp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2763151" y="2578512"/>
                <a:ext cx="4656824" cy="449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sz="1600" dirty="0">
                    <a:cs typeface="+mn-ea"/>
                    <a:sym typeface="+mn-lt"/>
                  </a:rPr>
                  <a:t>在家中怎样预防新型冠状病毒</a:t>
                </a: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1929251" y="3326375"/>
              <a:ext cx="5385949" cy="624349"/>
              <a:chOff x="2034026" y="3326376"/>
              <a:chExt cx="5385949" cy="624349"/>
            </a:xfrm>
          </p:grpSpPr>
          <p:sp>
            <p:nvSpPr>
              <p:cNvPr id="21" name="椭圆 20">
                <a:extLst>
                  <a:ext uri="{FF2B5EF4-FFF2-40B4-BE49-F238E27FC236}">
                    <a16:creationId xmlns:a16="http://schemas.microsoft.com/office/drawing/2014/main" id="{ECA78BD9-F7C1-409D-94D7-257425571C16}"/>
                  </a:ext>
                </a:extLst>
              </p:cNvPr>
              <p:cNvSpPr/>
              <p:nvPr/>
            </p:nvSpPr>
            <p:spPr>
              <a:xfrm>
                <a:off x="2034026" y="3326376"/>
                <a:ext cx="624349" cy="62434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77500" lnSpcReduction="20000"/>
              </a:bodyPr>
              <a:lstStyle/>
              <a:p>
                <a:pPr algn="ctr"/>
                <a:r>
                  <a:rPr lang="en-US" altLang="zh-CN">
                    <a:solidFill>
                      <a:schemeClr val="tx1"/>
                    </a:solidFill>
                    <a:cs typeface="+mn-ea"/>
                    <a:sym typeface="+mn-lt"/>
                  </a:rPr>
                  <a:t>0 3</a:t>
                </a:r>
              </a:p>
            </p:txBody>
          </p:sp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2763151" y="3414033"/>
                <a:ext cx="4656824" cy="449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sz="1600" dirty="0">
                    <a:cs typeface="+mn-ea"/>
                    <a:sym typeface="+mn-lt"/>
                  </a:rPr>
                  <a:t>新型冠状病毒感染的肺炎流行期间的饮食卫生</a:t>
                </a:r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1929251" y="4118840"/>
              <a:ext cx="5385949" cy="624349"/>
              <a:chOff x="2034026" y="4161896"/>
              <a:chExt cx="5385949" cy="624349"/>
            </a:xfrm>
          </p:grpSpPr>
          <p:sp>
            <p:nvSpPr>
              <p:cNvPr id="19" name="椭圆 18">
                <a:extLst>
                  <a:ext uri="{FF2B5EF4-FFF2-40B4-BE49-F238E27FC236}">
                    <a16:creationId xmlns:a16="http://schemas.microsoft.com/office/drawing/2014/main" id="{079269CC-7A56-4192-95A0-277015060725}"/>
                  </a:ext>
                </a:extLst>
              </p:cNvPr>
              <p:cNvSpPr/>
              <p:nvPr/>
            </p:nvSpPr>
            <p:spPr>
              <a:xfrm>
                <a:off x="2034026" y="4161896"/>
                <a:ext cx="624349" cy="62434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>
                    <a:solidFill>
                      <a:schemeClr val="tx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>
                    <a:solidFill>
                      <a:schemeClr val="tx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>
                    <a:solidFill>
                      <a:schemeClr val="tx1"/>
                    </a:solidFill>
                    <a:cs typeface="+mn-ea"/>
                    <a:sym typeface="+mn-lt"/>
                  </a:rPr>
                  <a:t>4</a:t>
                </a:r>
                <a:endParaRPr lang="en-US" altLang="zh-CN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2763151" y="4249553"/>
                <a:ext cx="4656824" cy="449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sz="1600" dirty="0">
                    <a:cs typeface="+mn-ea"/>
                    <a:sym typeface="+mn-lt"/>
                  </a:rPr>
                  <a:t>前往公共场所应该怎样预防</a:t>
                </a:r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1929251" y="4911306"/>
              <a:ext cx="5385949" cy="624349"/>
              <a:chOff x="2034026" y="4997416"/>
              <a:chExt cx="5385949" cy="624349"/>
            </a:xfrm>
          </p:grpSpPr>
          <p:sp>
            <p:nvSpPr>
              <p:cNvPr id="17" name="椭圆 16">
                <a:extLst>
                  <a:ext uri="{FF2B5EF4-FFF2-40B4-BE49-F238E27FC236}">
                    <a16:creationId xmlns:a16="http://schemas.microsoft.com/office/drawing/2014/main" id="{7686EEC6-7317-4F3B-A67F-21B039799D83}"/>
                  </a:ext>
                </a:extLst>
              </p:cNvPr>
              <p:cNvSpPr/>
              <p:nvPr/>
            </p:nvSpPr>
            <p:spPr>
              <a:xfrm>
                <a:off x="2034026" y="4997416"/>
                <a:ext cx="624349" cy="62434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>
                    <a:solidFill>
                      <a:schemeClr val="tx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>
                    <a:solidFill>
                      <a:schemeClr val="tx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>
                    <a:solidFill>
                      <a:schemeClr val="tx1"/>
                    </a:solidFill>
                    <a:cs typeface="+mn-ea"/>
                    <a:sym typeface="+mn-lt"/>
                  </a:rPr>
                  <a:t>5</a:t>
                </a:r>
                <a:endParaRPr lang="en-US" altLang="zh-CN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2763151" y="5085073"/>
                <a:ext cx="4656824" cy="449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sz="1600" dirty="0">
                    <a:cs typeface="+mn-ea"/>
                    <a:sym typeface="+mn-lt"/>
                  </a:rPr>
                  <a:t>轻症发热病例的居家隔离建议</a:t>
                </a:r>
              </a:p>
            </p:txBody>
          </p:sp>
        </p:grpSp>
        <p:cxnSp>
          <p:nvCxnSpPr>
            <p:cNvPr id="13" name="直接连接符 12"/>
            <p:cNvCxnSpPr/>
            <p:nvPr/>
          </p:nvCxnSpPr>
          <p:spPr>
            <a:xfrm>
              <a:off x="2762250" y="2449852"/>
              <a:ext cx="36004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/>
            <p:nvPr/>
          </p:nvCxnSpPr>
          <p:spPr>
            <a:xfrm>
              <a:off x="2762250" y="3242317"/>
              <a:ext cx="36004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/>
            <p:cNvCxnSpPr/>
            <p:nvPr/>
          </p:nvCxnSpPr>
          <p:spPr>
            <a:xfrm>
              <a:off x="2762250" y="4034782"/>
              <a:ext cx="36004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/>
            <p:cNvCxnSpPr/>
            <p:nvPr/>
          </p:nvCxnSpPr>
          <p:spPr>
            <a:xfrm>
              <a:off x="2762250" y="4827247"/>
              <a:ext cx="36004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394989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512149" y="2951599"/>
            <a:ext cx="5572087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口罩的正确使用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653575" y="23868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01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口罩的正确使用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1243199" y="1158875"/>
            <a:ext cx="9705602" cy="4806950"/>
            <a:chOff x="1243199" y="1158875"/>
            <a:chExt cx="9705602" cy="4806950"/>
          </a:xfrm>
        </p:grpSpPr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14D988CC-A576-405D-8C4A-CD8ABF4832F4}"/>
                </a:ext>
              </a:extLst>
            </p:cNvPr>
            <p:cNvSpPr txBox="1"/>
            <p:nvPr/>
          </p:nvSpPr>
          <p:spPr>
            <a:xfrm>
              <a:off x="4142118" y="1158875"/>
              <a:ext cx="3907764" cy="90214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buSzPct val="25000"/>
              </a:pPr>
              <a:r>
                <a:rPr lang="en-US" sz="2400">
                  <a:cs typeface="+mn-ea"/>
                  <a:sym typeface="+mn-lt"/>
                </a:rPr>
                <a:t>Unified fo</a:t>
              </a:r>
              <a:r>
                <a:rPr lang="en-US" sz="100">
                  <a:cs typeface="+mn-ea"/>
                  <a:sym typeface="+mn-lt"/>
                </a:rPr>
                <a:t> </a:t>
              </a:r>
              <a:r>
                <a:rPr lang="en-US" sz="2400">
                  <a:cs typeface="+mn-ea"/>
                  <a:sym typeface="+mn-lt"/>
                </a:rPr>
                <a:t>nts </a:t>
              </a:r>
              <a:r>
                <a:rPr lang="en-US" sz="2400" dirty="0">
                  <a:cs typeface="+mn-ea"/>
                  <a:sym typeface="+mn-lt"/>
                </a:rPr>
                <a:t>make reading</a:t>
              </a:r>
            </a:p>
            <a:p>
              <a:pPr algn="ctr">
                <a:buSzPct val="25000"/>
              </a:pPr>
              <a:r>
                <a:rPr lang="en-US" sz="2400" dirty="0">
                  <a:cs typeface="+mn-ea"/>
                  <a:sym typeface="+mn-lt"/>
                </a:rPr>
                <a:t>more fluent.</a:t>
              </a:r>
            </a:p>
          </p:txBody>
        </p:sp>
        <p:cxnSp>
          <p:nvCxnSpPr>
            <p:cNvPr id="7" name="直接连接符 6"/>
            <p:cNvCxnSpPr/>
            <p:nvPr/>
          </p:nvCxnSpPr>
          <p:spPr>
            <a:xfrm>
              <a:off x="2593275" y="2960689"/>
              <a:ext cx="70054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椭圆 7"/>
            <p:cNvSpPr/>
            <p:nvPr/>
          </p:nvSpPr>
          <p:spPr>
            <a:xfrm>
              <a:off x="2126550" y="2727326"/>
              <a:ext cx="466725" cy="466725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 lnSpcReduction="10000"/>
            </a:bodyPr>
            <a:lstStyle/>
            <a:p>
              <a:pPr algn="ctr" defTabSz="914354">
                <a:lnSpc>
                  <a:spcPct val="120000"/>
                </a:lnSpc>
              </a:pPr>
              <a:r>
                <a:rPr lang="en-US" altLang="zh-CN" sz="1600" b="1" i="1" dirty="0">
                  <a:solidFill>
                    <a:schemeClr val="bg1"/>
                  </a:solidFill>
                  <a:cs typeface="+mn-ea"/>
                  <a:sym typeface="+mn-lt"/>
                </a:rPr>
                <a:t>1</a:t>
              </a:r>
              <a:endParaRPr lang="zh-CN" altLang="en-US" sz="1600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9" name="椭圆 8"/>
            <p:cNvSpPr/>
            <p:nvPr/>
          </p:nvSpPr>
          <p:spPr>
            <a:xfrm>
              <a:off x="4617275" y="2727326"/>
              <a:ext cx="466725" cy="466725"/>
            </a:xfrm>
            <a:prstGeom prst="ellipse">
              <a:avLst/>
            </a:prstGeom>
            <a:solidFill>
              <a:schemeClr val="accent2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 lnSpcReduction="10000"/>
            </a:bodyPr>
            <a:lstStyle/>
            <a:p>
              <a:pPr algn="ctr" defTabSz="914354">
                <a:lnSpc>
                  <a:spcPct val="120000"/>
                </a:lnSpc>
              </a:pPr>
              <a:r>
                <a:rPr lang="en-US" altLang="zh-CN" sz="1600" b="1" i="1" dirty="0">
                  <a:solidFill>
                    <a:schemeClr val="bg1"/>
                  </a:solidFill>
                  <a:cs typeface="+mn-ea"/>
                  <a:sym typeface="+mn-lt"/>
                </a:rPr>
                <a:t>2</a:t>
              </a:r>
              <a:endParaRPr lang="zh-CN" altLang="en-US" sz="1600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0" name="椭圆 9"/>
            <p:cNvSpPr/>
            <p:nvPr/>
          </p:nvSpPr>
          <p:spPr>
            <a:xfrm>
              <a:off x="7108000" y="2727326"/>
              <a:ext cx="466725" cy="466725"/>
            </a:xfrm>
            <a:prstGeom prst="ellipse">
              <a:avLst/>
            </a:pr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 lnSpcReduction="10000"/>
            </a:bodyPr>
            <a:lstStyle/>
            <a:p>
              <a:pPr algn="ctr" defTabSz="914354">
                <a:lnSpc>
                  <a:spcPct val="120000"/>
                </a:lnSpc>
              </a:pPr>
              <a:r>
                <a:rPr lang="en-US" altLang="zh-CN" sz="1600" b="1" i="1" dirty="0">
                  <a:solidFill>
                    <a:schemeClr val="bg1"/>
                  </a:solidFill>
                  <a:cs typeface="+mn-ea"/>
                  <a:sym typeface="+mn-lt"/>
                </a:rPr>
                <a:t>3</a:t>
              </a:r>
              <a:endParaRPr lang="zh-CN" altLang="en-US" sz="1600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1" name="椭圆 10"/>
            <p:cNvSpPr/>
            <p:nvPr/>
          </p:nvSpPr>
          <p:spPr>
            <a:xfrm>
              <a:off x="9598725" y="2727326"/>
              <a:ext cx="466725" cy="466725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 lnSpcReduction="10000"/>
            </a:bodyPr>
            <a:lstStyle/>
            <a:p>
              <a:pPr algn="ctr" defTabSz="914354">
                <a:lnSpc>
                  <a:spcPct val="120000"/>
                </a:lnSpc>
              </a:pPr>
              <a:r>
                <a:rPr lang="en-US" altLang="zh-CN" sz="1600" b="1" i="1" dirty="0">
                  <a:solidFill>
                    <a:schemeClr val="bg1"/>
                  </a:solidFill>
                  <a:cs typeface="+mn-ea"/>
                  <a:sym typeface="+mn-lt"/>
                </a:rPr>
                <a:t>4</a:t>
              </a:r>
              <a:endParaRPr lang="zh-CN" altLang="en-US" sz="1600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677D5A0B-CFB6-41B8-8A73-9EFB25CB65AD}"/>
                </a:ext>
              </a:extLst>
            </p:cNvPr>
            <p:cNvSpPr txBox="1"/>
            <p:nvPr/>
          </p:nvSpPr>
          <p:spPr>
            <a:xfrm flipH="1">
              <a:off x="1243199" y="5099978"/>
              <a:ext cx="2233427" cy="865847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</a:t>
              </a:r>
              <a:r>
                <a:rPr lang="en-US" altLang="zh-CN" sz="1100">
                  <a:cs typeface="+mn-ea"/>
                  <a:sym typeface="+mn-lt"/>
                </a:rPr>
                <a:t>paste fon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s</a:t>
              </a:r>
              <a:r>
                <a:rPr lang="en-US" altLang="zh-CN" sz="1100" dirty="0">
                  <a:cs typeface="+mn-ea"/>
                  <a:sym typeface="+mn-lt"/>
                </a:rPr>
                <a:t>. Choose the only option to retain text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9B5F056E-198C-47B3-BC4D-CBD89576D15E}"/>
                </a:ext>
              </a:extLst>
            </p:cNvPr>
            <p:cNvSpPr/>
            <p:nvPr/>
          </p:nvSpPr>
          <p:spPr>
            <a:xfrm flipH="1">
              <a:off x="1243199" y="4687394"/>
              <a:ext cx="2233427" cy="35753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b="1" i="1">
                  <a:cs typeface="+mn-ea"/>
                  <a:sym typeface="+mn-lt"/>
                </a:rPr>
                <a:t>Te</a:t>
              </a:r>
              <a:r>
                <a:rPr lang="en-US" altLang="zh-CN" sz="100" b="1" i="1">
                  <a:cs typeface="+mn-ea"/>
                  <a:sym typeface="+mn-lt"/>
                </a:rPr>
                <a:t> </a:t>
              </a:r>
              <a:r>
                <a:rPr lang="en-US" altLang="zh-CN" b="1" i="1">
                  <a:cs typeface="+mn-ea"/>
                  <a:sym typeface="+mn-lt"/>
                </a:rPr>
                <a:t>xt </a:t>
              </a:r>
              <a:r>
                <a:rPr lang="en-US" altLang="zh-CN" b="1" i="1" dirty="0">
                  <a:cs typeface="+mn-ea"/>
                  <a:sym typeface="+mn-lt"/>
                </a:rPr>
                <a:t>here</a:t>
              </a:r>
              <a:endParaRPr lang="zh-CN" altLang="en-US" b="1" i="1" dirty="0">
                <a:cs typeface="+mn-ea"/>
                <a:sym typeface="+mn-lt"/>
              </a:endParaRP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677D5A0B-CFB6-41B8-8A73-9EFB25CB65AD}"/>
                </a:ext>
              </a:extLst>
            </p:cNvPr>
            <p:cNvSpPr txBox="1"/>
            <p:nvPr/>
          </p:nvSpPr>
          <p:spPr>
            <a:xfrm flipH="1">
              <a:off x="3733924" y="5099978"/>
              <a:ext cx="2233427" cy="865847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</a:t>
              </a:r>
              <a:r>
                <a:rPr lang="en-US" altLang="zh-CN" sz="1100">
                  <a:cs typeface="+mn-ea"/>
                  <a:sym typeface="+mn-lt"/>
                </a:rPr>
                <a:t>paste fon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s</a:t>
              </a:r>
              <a:r>
                <a:rPr lang="en-US" altLang="zh-CN" sz="1100" dirty="0">
                  <a:cs typeface="+mn-ea"/>
                  <a:sym typeface="+mn-lt"/>
                </a:rPr>
                <a:t>. Choose the only option to retain text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9B5F056E-198C-47B3-BC4D-CBD89576D15E}"/>
                </a:ext>
              </a:extLst>
            </p:cNvPr>
            <p:cNvSpPr/>
            <p:nvPr/>
          </p:nvSpPr>
          <p:spPr>
            <a:xfrm flipH="1">
              <a:off x="3733924" y="4687394"/>
              <a:ext cx="2233427" cy="35753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b="1" i="1">
                  <a:cs typeface="+mn-ea"/>
                  <a:sym typeface="+mn-lt"/>
                </a:rPr>
                <a:t>Te</a:t>
              </a:r>
              <a:r>
                <a:rPr lang="en-US" altLang="zh-CN" sz="100" b="1" i="1">
                  <a:cs typeface="+mn-ea"/>
                  <a:sym typeface="+mn-lt"/>
                </a:rPr>
                <a:t> </a:t>
              </a:r>
              <a:r>
                <a:rPr lang="en-US" altLang="zh-CN" b="1" i="1">
                  <a:cs typeface="+mn-ea"/>
                  <a:sym typeface="+mn-lt"/>
                </a:rPr>
                <a:t>xt </a:t>
              </a:r>
              <a:r>
                <a:rPr lang="en-US" altLang="zh-CN" b="1" i="1" dirty="0">
                  <a:cs typeface="+mn-ea"/>
                  <a:sym typeface="+mn-lt"/>
                </a:rPr>
                <a:t>here</a:t>
              </a:r>
              <a:endParaRPr lang="zh-CN" altLang="en-US" b="1" i="1" dirty="0">
                <a:cs typeface="+mn-ea"/>
                <a:sym typeface="+mn-lt"/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677D5A0B-CFB6-41B8-8A73-9EFB25CB65AD}"/>
                </a:ext>
              </a:extLst>
            </p:cNvPr>
            <p:cNvSpPr txBox="1"/>
            <p:nvPr/>
          </p:nvSpPr>
          <p:spPr>
            <a:xfrm flipH="1">
              <a:off x="6224649" y="5099978"/>
              <a:ext cx="2233427" cy="865847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</a:t>
              </a:r>
              <a:r>
                <a:rPr lang="en-US" altLang="zh-CN" sz="1100">
                  <a:cs typeface="+mn-ea"/>
                  <a:sym typeface="+mn-lt"/>
                </a:rPr>
                <a:t>paste fon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s</a:t>
              </a:r>
              <a:r>
                <a:rPr lang="en-US" altLang="zh-CN" sz="1100" dirty="0">
                  <a:cs typeface="+mn-ea"/>
                  <a:sym typeface="+mn-lt"/>
                </a:rPr>
                <a:t>. Choose the only option to retain text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9B5F056E-198C-47B3-BC4D-CBD89576D15E}"/>
                </a:ext>
              </a:extLst>
            </p:cNvPr>
            <p:cNvSpPr/>
            <p:nvPr/>
          </p:nvSpPr>
          <p:spPr>
            <a:xfrm flipH="1">
              <a:off x="6224649" y="4687394"/>
              <a:ext cx="2233427" cy="35753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b="1" i="1">
                  <a:cs typeface="+mn-ea"/>
                  <a:sym typeface="+mn-lt"/>
                </a:rPr>
                <a:t>Te</a:t>
              </a:r>
              <a:r>
                <a:rPr lang="en-US" altLang="zh-CN" sz="100" b="1" i="1">
                  <a:cs typeface="+mn-ea"/>
                  <a:sym typeface="+mn-lt"/>
                </a:rPr>
                <a:t> </a:t>
              </a:r>
              <a:r>
                <a:rPr lang="en-US" altLang="zh-CN" b="1" i="1">
                  <a:cs typeface="+mn-ea"/>
                  <a:sym typeface="+mn-lt"/>
                </a:rPr>
                <a:t>xt </a:t>
              </a:r>
              <a:r>
                <a:rPr lang="en-US" altLang="zh-CN" b="1" i="1" dirty="0">
                  <a:cs typeface="+mn-ea"/>
                  <a:sym typeface="+mn-lt"/>
                </a:rPr>
                <a:t>here</a:t>
              </a:r>
              <a:endParaRPr lang="zh-CN" altLang="en-US" b="1" i="1" dirty="0">
                <a:cs typeface="+mn-ea"/>
                <a:sym typeface="+mn-lt"/>
              </a:endParaRP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677D5A0B-CFB6-41B8-8A73-9EFB25CB65AD}"/>
                </a:ext>
              </a:extLst>
            </p:cNvPr>
            <p:cNvSpPr txBox="1"/>
            <p:nvPr/>
          </p:nvSpPr>
          <p:spPr>
            <a:xfrm flipH="1">
              <a:off x="8715374" y="5099978"/>
              <a:ext cx="2233427" cy="865847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</a:t>
              </a:r>
              <a:r>
                <a:rPr lang="en-US" altLang="zh-CN" sz="1100">
                  <a:cs typeface="+mn-ea"/>
                  <a:sym typeface="+mn-lt"/>
                </a:rPr>
                <a:t>paste fon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s</a:t>
              </a:r>
              <a:r>
                <a:rPr lang="en-US" altLang="zh-CN" sz="1100" dirty="0">
                  <a:cs typeface="+mn-ea"/>
                  <a:sym typeface="+mn-lt"/>
                </a:rPr>
                <a:t>. Choose the only option to retain text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9B5F056E-198C-47B3-BC4D-CBD89576D15E}"/>
                </a:ext>
              </a:extLst>
            </p:cNvPr>
            <p:cNvSpPr/>
            <p:nvPr/>
          </p:nvSpPr>
          <p:spPr>
            <a:xfrm flipH="1">
              <a:off x="8715374" y="4687394"/>
              <a:ext cx="2233427" cy="35753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b="1" i="1">
                  <a:cs typeface="+mn-ea"/>
                  <a:sym typeface="+mn-lt"/>
                </a:rPr>
                <a:t>Te</a:t>
              </a:r>
              <a:r>
                <a:rPr lang="en-US" altLang="zh-CN" sz="100" b="1" i="1">
                  <a:cs typeface="+mn-ea"/>
                  <a:sym typeface="+mn-lt"/>
                </a:rPr>
                <a:t> </a:t>
              </a:r>
              <a:r>
                <a:rPr lang="en-US" altLang="zh-CN" b="1" i="1">
                  <a:cs typeface="+mn-ea"/>
                  <a:sym typeface="+mn-lt"/>
                </a:rPr>
                <a:t>xt </a:t>
              </a:r>
              <a:r>
                <a:rPr lang="en-US" altLang="zh-CN" b="1" i="1" dirty="0">
                  <a:cs typeface="+mn-ea"/>
                  <a:sym typeface="+mn-lt"/>
                </a:rPr>
                <a:t>here</a:t>
              </a:r>
              <a:endParaRPr lang="zh-CN" altLang="en-US" b="1" i="1" dirty="0">
                <a:cs typeface="+mn-ea"/>
                <a:sym typeface="+mn-lt"/>
              </a:endParaRPr>
            </a:p>
          </p:txBody>
        </p:sp>
        <p:sp>
          <p:nvSpPr>
            <p:cNvPr id="20" name="椭圆 19"/>
            <p:cNvSpPr/>
            <p:nvPr/>
          </p:nvSpPr>
          <p:spPr>
            <a:xfrm>
              <a:off x="1943224" y="3448876"/>
              <a:ext cx="833376" cy="833376"/>
            </a:xfrm>
            <a:prstGeom prst="ellipse">
              <a:avLst/>
            </a:pr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1" name="椭圆 20"/>
            <p:cNvSpPr/>
            <p:nvPr/>
          </p:nvSpPr>
          <p:spPr>
            <a:xfrm>
              <a:off x="4433949" y="3448876"/>
              <a:ext cx="833376" cy="833376"/>
            </a:xfrm>
            <a:prstGeom prst="ellipse">
              <a:avLst/>
            </a:prstGeom>
            <a:noFill/>
            <a:ln w="12700">
              <a:solidFill>
                <a:schemeClr val="accent2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2" name="椭圆 21"/>
            <p:cNvSpPr/>
            <p:nvPr/>
          </p:nvSpPr>
          <p:spPr>
            <a:xfrm>
              <a:off x="6924674" y="3448876"/>
              <a:ext cx="833376" cy="833376"/>
            </a:xfrm>
            <a:prstGeom prst="ellipse">
              <a:avLst/>
            </a:pr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3" name="椭圆 22"/>
            <p:cNvSpPr/>
            <p:nvPr/>
          </p:nvSpPr>
          <p:spPr>
            <a:xfrm>
              <a:off x="9415399" y="3448876"/>
              <a:ext cx="833376" cy="833376"/>
            </a:xfrm>
            <a:prstGeom prst="ellipse">
              <a:avLst/>
            </a:pr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4" name="任意多边形: 形状 23"/>
            <p:cNvSpPr/>
            <p:nvPr/>
          </p:nvSpPr>
          <p:spPr>
            <a:xfrm>
              <a:off x="2168350" y="3653601"/>
              <a:ext cx="383125" cy="423926"/>
            </a:xfrm>
            <a:custGeom>
              <a:avLst/>
              <a:gdLst>
                <a:gd name="connsiteX0" fmla="*/ 481589 w 546670"/>
                <a:gd name="connsiteY0" fmla="*/ 391913 h 604887"/>
                <a:gd name="connsiteX1" fmla="*/ 451551 w 546670"/>
                <a:gd name="connsiteY1" fmla="*/ 406688 h 604887"/>
                <a:gd name="connsiteX2" fmla="*/ 375678 w 546670"/>
                <a:gd name="connsiteY2" fmla="*/ 429906 h 604887"/>
                <a:gd name="connsiteX3" fmla="*/ 352427 w 546670"/>
                <a:gd name="connsiteY3" fmla="*/ 505670 h 604887"/>
                <a:gd name="connsiteX4" fmla="*/ 337631 w 546670"/>
                <a:gd name="connsiteY4" fmla="*/ 535554 h 604887"/>
                <a:gd name="connsiteX5" fmla="*/ 481589 w 546670"/>
                <a:gd name="connsiteY5" fmla="*/ 391913 h 604887"/>
                <a:gd name="connsiteX6" fmla="*/ 384133 w 546670"/>
                <a:gd name="connsiteY6" fmla="*/ 226609 h 604887"/>
                <a:gd name="connsiteX7" fmla="*/ 388361 w 546670"/>
                <a:gd name="connsiteY7" fmla="*/ 302373 h 604887"/>
                <a:gd name="connsiteX8" fmla="*/ 384133 w 546670"/>
                <a:gd name="connsiteY8" fmla="*/ 378137 h 604887"/>
                <a:gd name="connsiteX9" fmla="*/ 432639 w 546670"/>
                <a:gd name="connsiteY9" fmla="*/ 362029 h 604887"/>
                <a:gd name="connsiteX10" fmla="*/ 498165 w 546670"/>
                <a:gd name="connsiteY10" fmla="*/ 302373 h 604887"/>
                <a:gd name="connsiteX11" fmla="*/ 432639 w 546670"/>
                <a:gd name="connsiteY11" fmla="*/ 242717 h 604887"/>
                <a:gd name="connsiteX12" fmla="*/ 384133 w 546670"/>
                <a:gd name="connsiteY12" fmla="*/ 226609 h 604887"/>
                <a:gd name="connsiteX13" fmla="*/ 135706 w 546670"/>
                <a:gd name="connsiteY13" fmla="*/ 175523 h 604887"/>
                <a:gd name="connsiteX14" fmla="*/ 126473 w 546670"/>
                <a:gd name="connsiteY14" fmla="*/ 178856 h 604887"/>
                <a:gd name="connsiteX15" fmla="*/ 123248 w 546670"/>
                <a:gd name="connsiteY15" fmla="*/ 182633 h 604887"/>
                <a:gd name="connsiteX16" fmla="*/ 123248 w 546670"/>
                <a:gd name="connsiteY16" fmla="*/ 192075 h 604887"/>
                <a:gd name="connsiteX17" fmla="*/ 121801 w 546670"/>
                <a:gd name="connsiteY17" fmla="*/ 193075 h 604887"/>
                <a:gd name="connsiteX18" fmla="*/ 120912 w 546670"/>
                <a:gd name="connsiteY18" fmla="*/ 196075 h 604887"/>
                <a:gd name="connsiteX19" fmla="*/ 122914 w 546670"/>
                <a:gd name="connsiteY19" fmla="*/ 216404 h 604887"/>
                <a:gd name="connsiteX20" fmla="*/ 125695 w 546670"/>
                <a:gd name="connsiteY20" fmla="*/ 219737 h 604887"/>
                <a:gd name="connsiteX21" fmla="*/ 126807 w 546670"/>
                <a:gd name="connsiteY21" fmla="*/ 219848 h 604887"/>
                <a:gd name="connsiteX22" fmla="*/ 129810 w 546670"/>
                <a:gd name="connsiteY22" fmla="*/ 218293 h 604887"/>
                <a:gd name="connsiteX23" fmla="*/ 140600 w 546670"/>
                <a:gd name="connsiteY23" fmla="*/ 204073 h 604887"/>
                <a:gd name="connsiteX24" fmla="*/ 141379 w 546670"/>
                <a:gd name="connsiteY24" fmla="*/ 201740 h 604887"/>
                <a:gd name="connsiteX25" fmla="*/ 141379 w 546670"/>
                <a:gd name="connsiteY25" fmla="*/ 178856 h 604887"/>
                <a:gd name="connsiteX26" fmla="*/ 139488 w 546670"/>
                <a:gd name="connsiteY26" fmla="*/ 175634 h 604887"/>
                <a:gd name="connsiteX27" fmla="*/ 135706 w 546670"/>
                <a:gd name="connsiteY27" fmla="*/ 175523 h 604887"/>
                <a:gd name="connsiteX28" fmla="*/ 87208 w 546670"/>
                <a:gd name="connsiteY28" fmla="*/ 175523 h 604887"/>
                <a:gd name="connsiteX29" fmla="*/ 83537 w 546670"/>
                <a:gd name="connsiteY29" fmla="*/ 175634 h 604887"/>
                <a:gd name="connsiteX30" fmla="*/ 81646 w 546670"/>
                <a:gd name="connsiteY30" fmla="*/ 178856 h 604887"/>
                <a:gd name="connsiteX31" fmla="*/ 81646 w 546670"/>
                <a:gd name="connsiteY31" fmla="*/ 201740 h 604887"/>
                <a:gd name="connsiteX32" fmla="*/ 82425 w 546670"/>
                <a:gd name="connsiteY32" fmla="*/ 204073 h 604887"/>
                <a:gd name="connsiteX33" fmla="*/ 93103 w 546670"/>
                <a:gd name="connsiteY33" fmla="*/ 218293 h 604887"/>
                <a:gd name="connsiteX34" fmla="*/ 96218 w 546670"/>
                <a:gd name="connsiteY34" fmla="*/ 219848 h 604887"/>
                <a:gd name="connsiteX35" fmla="*/ 97219 w 546670"/>
                <a:gd name="connsiteY35" fmla="*/ 219737 h 604887"/>
                <a:gd name="connsiteX36" fmla="*/ 100000 w 546670"/>
                <a:gd name="connsiteY36" fmla="*/ 216404 h 604887"/>
                <a:gd name="connsiteX37" fmla="*/ 102113 w 546670"/>
                <a:gd name="connsiteY37" fmla="*/ 196075 h 604887"/>
                <a:gd name="connsiteX38" fmla="*/ 101112 w 546670"/>
                <a:gd name="connsiteY38" fmla="*/ 193075 h 604887"/>
                <a:gd name="connsiteX39" fmla="*/ 99666 w 546670"/>
                <a:gd name="connsiteY39" fmla="*/ 192075 h 604887"/>
                <a:gd name="connsiteX40" fmla="*/ 99666 w 546670"/>
                <a:gd name="connsiteY40" fmla="*/ 182633 h 604887"/>
                <a:gd name="connsiteX41" fmla="*/ 96551 w 546670"/>
                <a:gd name="connsiteY41" fmla="*/ 178856 h 604887"/>
                <a:gd name="connsiteX42" fmla="*/ 87208 w 546670"/>
                <a:gd name="connsiteY42" fmla="*/ 175523 h 604887"/>
                <a:gd name="connsiteX43" fmla="*/ 93214 w 546670"/>
                <a:gd name="connsiteY43" fmla="*/ 72653 h 604887"/>
                <a:gd name="connsiteX44" fmla="*/ 66629 w 546670"/>
                <a:gd name="connsiteY44" fmla="*/ 79652 h 604887"/>
                <a:gd name="connsiteX45" fmla="*/ 64516 w 546670"/>
                <a:gd name="connsiteY45" fmla="*/ 83096 h 604887"/>
                <a:gd name="connsiteX46" fmla="*/ 64516 w 546670"/>
                <a:gd name="connsiteY46" fmla="*/ 89872 h 604887"/>
                <a:gd name="connsiteX47" fmla="*/ 62959 w 546670"/>
                <a:gd name="connsiteY47" fmla="*/ 89872 h 604887"/>
                <a:gd name="connsiteX48" fmla="*/ 59065 w 546670"/>
                <a:gd name="connsiteY48" fmla="*/ 93761 h 604887"/>
                <a:gd name="connsiteX49" fmla="*/ 59065 w 546670"/>
                <a:gd name="connsiteY49" fmla="*/ 99982 h 604887"/>
                <a:gd name="connsiteX50" fmla="*/ 60845 w 546670"/>
                <a:gd name="connsiteY50" fmla="*/ 103203 h 604887"/>
                <a:gd name="connsiteX51" fmla="*/ 64516 w 546670"/>
                <a:gd name="connsiteY51" fmla="*/ 105647 h 604887"/>
                <a:gd name="connsiteX52" fmla="*/ 64738 w 546670"/>
                <a:gd name="connsiteY52" fmla="*/ 107202 h 604887"/>
                <a:gd name="connsiteX53" fmla="*/ 78531 w 546670"/>
                <a:gd name="connsiteY53" fmla="*/ 138974 h 604887"/>
                <a:gd name="connsiteX54" fmla="*/ 101223 w 546670"/>
                <a:gd name="connsiteY54" fmla="*/ 158526 h 604887"/>
                <a:gd name="connsiteX55" fmla="*/ 121801 w 546670"/>
                <a:gd name="connsiteY55" fmla="*/ 158526 h 604887"/>
                <a:gd name="connsiteX56" fmla="*/ 144493 w 546670"/>
                <a:gd name="connsiteY56" fmla="*/ 138974 h 604887"/>
                <a:gd name="connsiteX57" fmla="*/ 158175 w 546670"/>
                <a:gd name="connsiteY57" fmla="*/ 107202 h 604887"/>
                <a:gd name="connsiteX58" fmla="*/ 158398 w 546670"/>
                <a:gd name="connsiteY58" fmla="*/ 105647 h 604887"/>
                <a:gd name="connsiteX59" fmla="*/ 162179 w 546670"/>
                <a:gd name="connsiteY59" fmla="*/ 103203 h 604887"/>
                <a:gd name="connsiteX60" fmla="*/ 163848 w 546670"/>
                <a:gd name="connsiteY60" fmla="*/ 100093 h 604887"/>
                <a:gd name="connsiteX61" fmla="*/ 163848 w 546670"/>
                <a:gd name="connsiteY61" fmla="*/ 93761 h 604887"/>
                <a:gd name="connsiteX62" fmla="*/ 160066 w 546670"/>
                <a:gd name="connsiteY62" fmla="*/ 89872 h 604887"/>
                <a:gd name="connsiteX63" fmla="*/ 157953 w 546670"/>
                <a:gd name="connsiteY63" fmla="*/ 89872 h 604887"/>
                <a:gd name="connsiteX64" fmla="*/ 156729 w 546670"/>
                <a:gd name="connsiteY64" fmla="*/ 88650 h 604887"/>
                <a:gd name="connsiteX65" fmla="*/ 153058 w 546670"/>
                <a:gd name="connsiteY65" fmla="*/ 88317 h 604887"/>
                <a:gd name="connsiteX66" fmla="*/ 137930 w 546670"/>
                <a:gd name="connsiteY66" fmla="*/ 91761 h 604887"/>
                <a:gd name="connsiteX67" fmla="*/ 114460 w 546670"/>
                <a:gd name="connsiteY67" fmla="*/ 81207 h 604887"/>
                <a:gd name="connsiteX68" fmla="*/ 93214 w 546670"/>
                <a:gd name="connsiteY68" fmla="*/ 72653 h 604887"/>
                <a:gd name="connsiteX69" fmla="*/ 337631 w 546670"/>
                <a:gd name="connsiteY69" fmla="*/ 69193 h 604887"/>
                <a:gd name="connsiteX70" fmla="*/ 352427 w 546670"/>
                <a:gd name="connsiteY70" fmla="*/ 99187 h 604887"/>
                <a:gd name="connsiteX71" fmla="*/ 375678 w 546670"/>
                <a:gd name="connsiteY71" fmla="*/ 174952 h 604887"/>
                <a:gd name="connsiteX72" fmla="*/ 451551 w 546670"/>
                <a:gd name="connsiteY72" fmla="*/ 198059 h 604887"/>
                <a:gd name="connsiteX73" fmla="*/ 481589 w 546670"/>
                <a:gd name="connsiteY73" fmla="*/ 212945 h 604887"/>
                <a:gd name="connsiteX74" fmla="*/ 337631 w 546670"/>
                <a:gd name="connsiteY74" fmla="*/ 69193 h 604887"/>
                <a:gd name="connsiteX75" fmla="*/ 247963 w 546670"/>
                <a:gd name="connsiteY75" fmla="*/ 4093 h 604887"/>
                <a:gd name="connsiteX76" fmla="*/ 546670 w 546670"/>
                <a:gd name="connsiteY76" fmla="*/ 302373 h 604887"/>
                <a:gd name="connsiteX77" fmla="*/ 247963 w 546670"/>
                <a:gd name="connsiteY77" fmla="*/ 600653 h 604887"/>
                <a:gd name="connsiteX78" fmla="*/ 242957 w 546670"/>
                <a:gd name="connsiteY78" fmla="*/ 600653 h 604887"/>
                <a:gd name="connsiteX79" fmla="*/ 242957 w 546670"/>
                <a:gd name="connsiteY79" fmla="*/ 551662 h 604887"/>
                <a:gd name="connsiteX80" fmla="*/ 247963 w 546670"/>
                <a:gd name="connsiteY80" fmla="*/ 552217 h 604887"/>
                <a:gd name="connsiteX81" fmla="*/ 307705 w 546670"/>
                <a:gd name="connsiteY81" fmla="*/ 486674 h 604887"/>
                <a:gd name="connsiteX82" fmla="*/ 323836 w 546670"/>
                <a:gd name="connsiteY82" fmla="*/ 438238 h 604887"/>
                <a:gd name="connsiteX83" fmla="*/ 247963 w 546670"/>
                <a:gd name="connsiteY83" fmla="*/ 442570 h 604887"/>
                <a:gd name="connsiteX84" fmla="*/ 242957 w 546670"/>
                <a:gd name="connsiteY84" fmla="*/ 442570 h 604887"/>
                <a:gd name="connsiteX85" fmla="*/ 242957 w 546670"/>
                <a:gd name="connsiteY85" fmla="*/ 394024 h 604887"/>
                <a:gd name="connsiteX86" fmla="*/ 247963 w 546670"/>
                <a:gd name="connsiteY86" fmla="*/ 394135 h 604887"/>
                <a:gd name="connsiteX87" fmla="*/ 333848 w 546670"/>
                <a:gd name="connsiteY87" fmla="*/ 388136 h 604887"/>
                <a:gd name="connsiteX88" fmla="*/ 339856 w 546670"/>
                <a:gd name="connsiteY88" fmla="*/ 302373 h 604887"/>
                <a:gd name="connsiteX89" fmla="*/ 333848 w 546670"/>
                <a:gd name="connsiteY89" fmla="*/ 216722 h 604887"/>
                <a:gd name="connsiteX90" fmla="*/ 247963 w 546670"/>
                <a:gd name="connsiteY90" fmla="*/ 210723 h 604887"/>
                <a:gd name="connsiteX91" fmla="*/ 242957 w 546670"/>
                <a:gd name="connsiteY91" fmla="*/ 210723 h 604887"/>
                <a:gd name="connsiteX92" fmla="*/ 242957 w 546670"/>
                <a:gd name="connsiteY92" fmla="*/ 162287 h 604887"/>
                <a:gd name="connsiteX93" fmla="*/ 247963 w 546670"/>
                <a:gd name="connsiteY93" fmla="*/ 162176 h 604887"/>
                <a:gd name="connsiteX94" fmla="*/ 323836 w 546670"/>
                <a:gd name="connsiteY94" fmla="*/ 166509 h 604887"/>
                <a:gd name="connsiteX95" fmla="*/ 307705 w 546670"/>
                <a:gd name="connsiteY95" fmla="*/ 118073 h 604887"/>
                <a:gd name="connsiteX96" fmla="*/ 247963 w 546670"/>
                <a:gd name="connsiteY96" fmla="*/ 52640 h 604887"/>
                <a:gd name="connsiteX97" fmla="*/ 242957 w 546670"/>
                <a:gd name="connsiteY97" fmla="*/ 53196 h 604887"/>
                <a:gd name="connsiteX98" fmla="*/ 242957 w 546670"/>
                <a:gd name="connsiteY98" fmla="*/ 4204 h 604887"/>
                <a:gd name="connsiteX99" fmla="*/ 247963 w 546670"/>
                <a:gd name="connsiteY99" fmla="*/ 4093 h 604887"/>
                <a:gd name="connsiteX100" fmla="*/ 101779 w 546670"/>
                <a:gd name="connsiteY100" fmla="*/ 0 h 604887"/>
                <a:gd name="connsiteX101" fmla="*/ 121134 w 546670"/>
                <a:gd name="connsiteY101" fmla="*/ 0 h 604887"/>
                <a:gd name="connsiteX102" fmla="*/ 180978 w 546670"/>
                <a:gd name="connsiteY102" fmla="*/ 59656 h 604887"/>
                <a:gd name="connsiteX103" fmla="*/ 180978 w 546670"/>
                <a:gd name="connsiteY103" fmla="*/ 78430 h 604887"/>
                <a:gd name="connsiteX104" fmla="*/ 184315 w 546670"/>
                <a:gd name="connsiteY104" fmla="*/ 89095 h 604887"/>
                <a:gd name="connsiteX105" fmla="*/ 184315 w 546670"/>
                <a:gd name="connsiteY105" fmla="*/ 102426 h 604887"/>
                <a:gd name="connsiteX106" fmla="*/ 177752 w 546670"/>
                <a:gd name="connsiteY106" fmla="*/ 116534 h 604887"/>
                <a:gd name="connsiteX107" fmla="*/ 173859 w 546670"/>
                <a:gd name="connsiteY107" fmla="*/ 126643 h 604887"/>
                <a:gd name="connsiteX108" fmla="*/ 161067 w 546670"/>
                <a:gd name="connsiteY108" fmla="*/ 150861 h 604887"/>
                <a:gd name="connsiteX109" fmla="*/ 152502 w 546670"/>
                <a:gd name="connsiteY109" fmla="*/ 161748 h 604887"/>
                <a:gd name="connsiteX110" fmla="*/ 160400 w 546670"/>
                <a:gd name="connsiteY110" fmla="*/ 167747 h 604887"/>
                <a:gd name="connsiteX111" fmla="*/ 204115 w 546670"/>
                <a:gd name="connsiteY111" fmla="*/ 176412 h 604887"/>
                <a:gd name="connsiteX112" fmla="*/ 223692 w 546670"/>
                <a:gd name="connsiteY112" fmla="*/ 200407 h 604887"/>
                <a:gd name="connsiteX113" fmla="*/ 223692 w 546670"/>
                <a:gd name="connsiteY113" fmla="*/ 358044 h 604887"/>
                <a:gd name="connsiteX114" fmla="*/ 221467 w 546670"/>
                <a:gd name="connsiteY114" fmla="*/ 368265 h 604887"/>
                <a:gd name="connsiteX115" fmla="*/ 221467 w 546670"/>
                <a:gd name="connsiteY115" fmla="*/ 385484 h 604887"/>
                <a:gd name="connsiteX116" fmla="*/ 200110 w 546670"/>
                <a:gd name="connsiteY116" fmla="*/ 406813 h 604887"/>
                <a:gd name="connsiteX117" fmla="*/ 188431 w 546670"/>
                <a:gd name="connsiteY117" fmla="*/ 403369 h 604887"/>
                <a:gd name="connsiteX118" fmla="*/ 188431 w 546670"/>
                <a:gd name="connsiteY118" fmla="*/ 566561 h 604887"/>
                <a:gd name="connsiteX119" fmla="*/ 150166 w 546670"/>
                <a:gd name="connsiteY119" fmla="*/ 604887 h 604887"/>
                <a:gd name="connsiteX120" fmla="*/ 111902 w 546670"/>
                <a:gd name="connsiteY120" fmla="*/ 566561 h 604887"/>
                <a:gd name="connsiteX121" fmla="*/ 73526 w 546670"/>
                <a:gd name="connsiteY121" fmla="*/ 604887 h 604887"/>
                <a:gd name="connsiteX122" fmla="*/ 35261 w 546670"/>
                <a:gd name="connsiteY122" fmla="*/ 566561 h 604887"/>
                <a:gd name="connsiteX123" fmla="*/ 35261 w 546670"/>
                <a:gd name="connsiteY123" fmla="*/ 403369 h 604887"/>
                <a:gd name="connsiteX124" fmla="*/ 23582 w 546670"/>
                <a:gd name="connsiteY124" fmla="*/ 406813 h 604887"/>
                <a:gd name="connsiteX125" fmla="*/ 2225 w 546670"/>
                <a:gd name="connsiteY125" fmla="*/ 385484 h 604887"/>
                <a:gd name="connsiteX126" fmla="*/ 2225 w 546670"/>
                <a:gd name="connsiteY126" fmla="*/ 368265 h 604887"/>
                <a:gd name="connsiteX127" fmla="*/ 0 w 546670"/>
                <a:gd name="connsiteY127" fmla="*/ 358044 h 604887"/>
                <a:gd name="connsiteX128" fmla="*/ 0 w 546670"/>
                <a:gd name="connsiteY128" fmla="*/ 200296 h 604887"/>
                <a:gd name="connsiteX129" fmla="*/ 19577 w 546670"/>
                <a:gd name="connsiteY129" fmla="*/ 176412 h 604887"/>
                <a:gd name="connsiteX130" fmla="*/ 62625 w 546670"/>
                <a:gd name="connsiteY130" fmla="*/ 167747 h 604887"/>
                <a:gd name="connsiteX131" fmla="*/ 70522 w 546670"/>
                <a:gd name="connsiteY131" fmla="*/ 161748 h 604887"/>
                <a:gd name="connsiteX132" fmla="*/ 61957 w 546670"/>
                <a:gd name="connsiteY132" fmla="*/ 150861 h 604887"/>
                <a:gd name="connsiteX133" fmla="*/ 49054 w 546670"/>
                <a:gd name="connsiteY133" fmla="*/ 126643 h 604887"/>
                <a:gd name="connsiteX134" fmla="*/ 45161 w 546670"/>
                <a:gd name="connsiteY134" fmla="*/ 116534 h 604887"/>
                <a:gd name="connsiteX135" fmla="*/ 38598 w 546670"/>
                <a:gd name="connsiteY135" fmla="*/ 102426 h 604887"/>
                <a:gd name="connsiteX136" fmla="*/ 38598 w 546670"/>
                <a:gd name="connsiteY136" fmla="*/ 89095 h 604887"/>
                <a:gd name="connsiteX137" fmla="*/ 42047 w 546670"/>
                <a:gd name="connsiteY137" fmla="*/ 78430 h 604887"/>
                <a:gd name="connsiteX138" fmla="*/ 42047 w 546670"/>
                <a:gd name="connsiteY138" fmla="*/ 59656 h 604887"/>
                <a:gd name="connsiteX139" fmla="*/ 101779 w 546670"/>
                <a:gd name="connsiteY139" fmla="*/ 0 h 60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546670" h="604887">
                  <a:moveTo>
                    <a:pt x="481589" y="391913"/>
                  </a:moveTo>
                  <a:cubicBezTo>
                    <a:pt x="472466" y="397134"/>
                    <a:pt x="462454" y="402133"/>
                    <a:pt x="451551" y="406688"/>
                  </a:cubicBezTo>
                  <a:cubicBezTo>
                    <a:pt x="428967" y="416242"/>
                    <a:pt x="403269" y="424018"/>
                    <a:pt x="375678" y="429906"/>
                  </a:cubicBezTo>
                  <a:cubicBezTo>
                    <a:pt x="369782" y="457457"/>
                    <a:pt x="361995" y="483008"/>
                    <a:pt x="352427" y="505670"/>
                  </a:cubicBezTo>
                  <a:cubicBezTo>
                    <a:pt x="347866" y="516446"/>
                    <a:pt x="342860" y="526444"/>
                    <a:pt x="337631" y="535554"/>
                  </a:cubicBezTo>
                  <a:cubicBezTo>
                    <a:pt x="403602" y="510225"/>
                    <a:pt x="456112" y="457790"/>
                    <a:pt x="481589" y="391913"/>
                  </a:cubicBezTo>
                  <a:close/>
                  <a:moveTo>
                    <a:pt x="384133" y="226609"/>
                  </a:moveTo>
                  <a:cubicBezTo>
                    <a:pt x="386915" y="251049"/>
                    <a:pt x="388361" y="276489"/>
                    <a:pt x="388361" y="302373"/>
                  </a:cubicBezTo>
                  <a:cubicBezTo>
                    <a:pt x="388361" y="328369"/>
                    <a:pt x="386915" y="353697"/>
                    <a:pt x="384133" y="378137"/>
                  </a:cubicBezTo>
                  <a:cubicBezTo>
                    <a:pt x="401600" y="373694"/>
                    <a:pt x="417842" y="368250"/>
                    <a:pt x="432639" y="362029"/>
                  </a:cubicBezTo>
                  <a:cubicBezTo>
                    <a:pt x="473690" y="344699"/>
                    <a:pt x="498165" y="322370"/>
                    <a:pt x="498165" y="302373"/>
                  </a:cubicBezTo>
                  <a:cubicBezTo>
                    <a:pt x="498165" y="282377"/>
                    <a:pt x="473690" y="260047"/>
                    <a:pt x="432639" y="242717"/>
                  </a:cubicBezTo>
                  <a:cubicBezTo>
                    <a:pt x="417842" y="236496"/>
                    <a:pt x="401600" y="231164"/>
                    <a:pt x="384133" y="226609"/>
                  </a:cubicBezTo>
                  <a:close/>
                  <a:moveTo>
                    <a:pt x="135706" y="175523"/>
                  </a:moveTo>
                  <a:cubicBezTo>
                    <a:pt x="132591" y="177189"/>
                    <a:pt x="129477" y="178300"/>
                    <a:pt x="126473" y="178856"/>
                  </a:cubicBezTo>
                  <a:cubicBezTo>
                    <a:pt x="124582" y="179189"/>
                    <a:pt x="123248" y="180744"/>
                    <a:pt x="123248" y="182633"/>
                  </a:cubicBezTo>
                  <a:lnTo>
                    <a:pt x="123248" y="192075"/>
                  </a:lnTo>
                  <a:cubicBezTo>
                    <a:pt x="122691" y="192298"/>
                    <a:pt x="122246" y="192631"/>
                    <a:pt x="121801" y="193075"/>
                  </a:cubicBezTo>
                  <a:cubicBezTo>
                    <a:pt x="121134" y="193964"/>
                    <a:pt x="120689" y="194964"/>
                    <a:pt x="120912" y="196075"/>
                  </a:cubicBezTo>
                  <a:lnTo>
                    <a:pt x="122914" y="216404"/>
                  </a:lnTo>
                  <a:cubicBezTo>
                    <a:pt x="123136" y="217960"/>
                    <a:pt x="124249" y="219293"/>
                    <a:pt x="125695" y="219737"/>
                  </a:cubicBezTo>
                  <a:cubicBezTo>
                    <a:pt x="126028" y="219737"/>
                    <a:pt x="126473" y="219848"/>
                    <a:pt x="126807" y="219848"/>
                  </a:cubicBezTo>
                  <a:cubicBezTo>
                    <a:pt x="127919" y="219848"/>
                    <a:pt x="129032" y="219293"/>
                    <a:pt x="129810" y="218293"/>
                  </a:cubicBezTo>
                  <a:lnTo>
                    <a:pt x="140600" y="204073"/>
                  </a:lnTo>
                  <a:cubicBezTo>
                    <a:pt x="141045" y="203407"/>
                    <a:pt x="141379" y="202629"/>
                    <a:pt x="141379" y="201740"/>
                  </a:cubicBezTo>
                  <a:lnTo>
                    <a:pt x="141379" y="178856"/>
                  </a:lnTo>
                  <a:cubicBezTo>
                    <a:pt x="141379" y="177523"/>
                    <a:pt x="140600" y="176301"/>
                    <a:pt x="139488" y="175634"/>
                  </a:cubicBezTo>
                  <a:cubicBezTo>
                    <a:pt x="138375" y="174968"/>
                    <a:pt x="136929" y="174856"/>
                    <a:pt x="135706" y="175523"/>
                  </a:cubicBezTo>
                  <a:close/>
                  <a:moveTo>
                    <a:pt x="87208" y="175523"/>
                  </a:moveTo>
                  <a:cubicBezTo>
                    <a:pt x="86095" y="174856"/>
                    <a:pt x="84649" y="174968"/>
                    <a:pt x="83537" y="175634"/>
                  </a:cubicBezTo>
                  <a:cubicBezTo>
                    <a:pt x="82313" y="176301"/>
                    <a:pt x="81646" y="177523"/>
                    <a:pt x="81646" y="178856"/>
                  </a:cubicBezTo>
                  <a:lnTo>
                    <a:pt x="81646" y="201740"/>
                  </a:lnTo>
                  <a:cubicBezTo>
                    <a:pt x="81646" y="202629"/>
                    <a:pt x="81868" y="203407"/>
                    <a:pt x="82425" y="204073"/>
                  </a:cubicBezTo>
                  <a:lnTo>
                    <a:pt x="93103" y="218293"/>
                  </a:lnTo>
                  <a:cubicBezTo>
                    <a:pt x="93882" y="219293"/>
                    <a:pt x="94994" y="219848"/>
                    <a:pt x="96218" y="219848"/>
                  </a:cubicBezTo>
                  <a:cubicBezTo>
                    <a:pt x="96551" y="219848"/>
                    <a:pt x="96885" y="219848"/>
                    <a:pt x="97219" y="219737"/>
                  </a:cubicBezTo>
                  <a:cubicBezTo>
                    <a:pt x="98776" y="219293"/>
                    <a:pt x="99888" y="217960"/>
                    <a:pt x="100000" y="216404"/>
                  </a:cubicBezTo>
                  <a:lnTo>
                    <a:pt x="102113" y="196075"/>
                  </a:lnTo>
                  <a:cubicBezTo>
                    <a:pt x="102224" y="194964"/>
                    <a:pt x="101891" y="193964"/>
                    <a:pt x="101112" y="193075"/>
                  </a:cubicBezTo>
                  <a:cubicBezTo>
                    <a:pt x="100778" y="192631"/>
                    <a:pt x="100222" y="192298"/>
                    <a:pt x="99666" y="192075"/>
                  </a:cubicBezTo>
                  <a:lnTo>
                    <a:pt x="99666" y="182633"/>
                  </a:lnTo>
                  <a:cubicBezTo>
                    <a:pt x="99666" y="180744"/>
                    <a:pt x="98331" y="179189"/>
                    <a:pt x="96551" y="178856"/>
                  </a:cubicBezTo>
                  <a:cubicBezTo>
                    <a:pt x="93548" y="178300"/>
                    <a:pt x="90433" y="177189"/>
                    <a:pt x="87208" y="175523"/>
                  </a:cubicBezTo>
                  <a:close/>
                  <a:moveTo>
                    <a:pt x="93214" y="72653"/>
                  </a:moveTo>
                  <a:cubicBezTo>
                    <a:pt x="82313" y="72653"/>
                    <a:pt x="71857" y="77097"/>
                    <a:pt x="66629" y="79652"/>
                  </a:cubicBezTo>
                  <a:cubicBezTo>
                    <a:pt x="65294" y="80319"/>
                    <a:pt x="64516" y="81652"/>
                    <a:pt x="64516" y="83096"/>
                  </a:cubicBezTo>
                  <a:lnTo>
                    <a:pt x="64516" y="89872"/>
                  </a:lnTo>
                  <a:lnTo>
                    <a:pt x="62959" y="89872"/>
                  </a:lnTo>
                  <a:cubicBezTo>
                    <a:pt x="60845" y="89872"/>
                    <a:pt x="59065" y="91650"/>
                    <a:pt x="59065" y="93761"/>
                  </a:cubicBezTo>
                  <a:lnTo>
                    <a:pt x="59065" y="99982"/>
                  </a:lnTo>
                  <a:cubicBezTo>
                    <a:pt x="59065" y="101315"/>
                    <a:pt x="59733" y="102537"/>
                    <a:pt x="60845" y="103203"/>
                  </a:cubicBezTo>
                  <a:lnTo>
                    <a:pt x="64516" y="105647"/>
                  </a:lnTo>
                  <a:lnTo>
                    <a:pt x="64738" y="107202"/>
                  </a:lnTo>
                  <a:cubicBezTo>
                    <a:pt x="65962" y="116423"/>
                    <a:pt x="71079" y="128199"/>
                    <a:pt x="78531" y="138974"/>
                  </a:cubicBezTo>
                  <a:cubicBezTo>
                    <a:pt x="87875" y="152527"/>
                    <a:pt x="96663" y="158526"/>
                    <a:pt x="101223" y="158526"/>
                  </a:cubicBezTo>
                  <a:lnTo>
                    <a:pt x="121801" y="158526"/>
                  </a:lnTo>
                  <a:cubicBezTo>
                    <a:pt x="126362" y="158526"/>
                    <a:pt x="135150" y="152527"/>
                    <a:pt x="144493" y="138974"/>
                  </a:cubicBezTo>
                  <a:cubicBezTo>
                    <a:pt x="151835" y="128199"/>
                    <a:pt x="156951" y="116423"/>
                    <a:pt x="158175" y="107202"/>
                  </a:cubicBezTo>
                  <a:lnTo>
                    <a:pt x="158398" y="105647"/>
                  </a:lnTo>
                  <a:lnTo>
                    <a:pt x="162179" y="103203"/>
                  </a:lnTo>
                  <a:cubicBezTo>
                    <a:pt x="163181" y="102537"/>
                    <a:pt x="163848" y="101315"/>
                    <a:pt x="163848" y="100093"/>
                  </a:cubicBezTo>
                  <a:lnTo>
                    <a:pt x="163848" y="93761"/>
                  </a:lnTo>
                  <a:cubicBezTo>
                    <a:pt x="163848" y="91650"/>
                    <a:pt x="162179" y="89872"/>
                    <a:pt x="160066" y="89872"/>
                  </a:cubicBezTo>
                  <a:lnTo>
                    <a:pt x="157953" y="89872"/>
                  </a:lnTo>
                  <a:cubicBezTo>
                    <a:pt x="157619" y="89428"/>
                    <a:pt x="157285" y="88984"/>
                    <a:pt x="156729" y="88650"/>
                  </a:cubicBezTo>
                  <a:cubicBezTo>
                    <a:pt x="155617" y="87984"/>
                    <a:pt x="154282" y="87873"/>
                    <a:pt x="153058" y="88317"/>
                  </a:cubicBezTo>
                  <a:cubicBezTo>
                    <a:pt x="147942" y="90650"/>
                    <a:pt x="142825" y="91761"/>
                    <a:pt x="137930" y="91761"/>
                  </a:cubicBezTo>
                  <a:cubicBezTo>
                    <a:pt x="129254" y="91761"/>
                    <a:pt x="121357" y="88206"/>
                    <a:pt x="114460" y="81207"/>
                  </a:cubicBezTo>
                  <a:cubicBezTo>
                    <a:pt x="109010" y="75542"/>
                    <a:pt x="101779" y="72653"/>
                    <a:pt x="93214" y="72653"/>
                  </a:cubicBezTo>
                  <a:close/>
                  <a:moveTo>
                    <a:pt x="337631" y="69193"/>
                  </a:moveTo>
                  <a:cubicBezTo>
                    <a:pt x="342860" y="78302"/>
                    <a:pt x="347866" y="88300"/>
                    <a:pt x="352427" y="99187"/>
                  </a:cubicBezTo>
                  <a:cubicBezTo>
                    <a:pt x="361995" y="121739"/>
                    <a:pt x="369782" y="147290"/>
                    <a:pt x="375678" y="174952"/>
                  </a:cubicBezTo>
                  <a:cubicBezTo>
                    <a:pt x="403269" y="180728"/>
                    <a:pt x="428967" y="188505"/>
                    <a:pt x="451551" y="198059"/>
                  </a:cubicBezTo>
                  <a:cubicBezTo>
                    <a:pt x="462454" y="202724"/>
                    <a:pt x="472466" y="207612"/>
                    <a:pt x="481589" y="212945"/>
                  </a:cubicBezTo>
                  <a:cubicBezTo>
                    <a:pt x="456112" y="147068"/>
                    <a:pt x="403602" y="94633"/>
                    <a:pt x="337631" y="69193"/>
                  </a:cubicBezTo>
                  <a:close/>
                  <a:moveTo>
                    <a:pt x="247963" y="4093"/>
                  </a:moveTo>
                  <a:cubicBezTo>
                    <a:pt x="412725" y="4093"/>
                    <a:pt x="546670" y="137958"/>
                    <a:pt x="546670" y="302373"/>
                  </a:cubicBezTo>
                  <a:cubicBezTo>
                    <a:pt x="546670" y="466899"/>
                    <a:pt x="412725" y="600653"/>
                    <a:pt x="247963" y="600653"/>
                  </a:cubicBezTo>
                  <a:cubicBezTo>
                    <a:pt x="246295" y="600653"/>
                    <a:pt x="244626" y="600653"/>
                    <a:pt x="242957" y="600653"/>
                  </a:cubicBezTo>
                  <a:lnTo>
                    <a:pt x="242957" y="551662"/>
                  </a:lnTo>
                  <a:cubicBezTo>
                    <a:pt x="244626" y="551995"/>
                    <a:pt x="246295" y="552217"/>
                    <a:pt x="247963" y="552217"/>
                  </a:cubicBezTo>
                  <a:cubicBezTo>
                    <a:pt x="268100" y="552217"/>
                    <a:pt x="290350" y="527666"/>
                    <a:pt x="307705" y="486674"/>
                  </a:cubicBezTo>
                  <a:cubicBezTo>
                    <a:pt x="314046" y="472010"/>
                    <a:pt x="319386" y="455679"/>
                    <a:pt x="323836" y="438238"/>
                  </a:cubicBezTo>
                  <a:cubicBezTo>
                    <a:pt x="299472" y="441126"/>
                    <a:pt x="273996" y="442570"/>
                    <a:pt x="247963" y="442570"/>
                  </a:cubicBezTo>
                  <a:cubicBezTo>
                    <a:pt x="246295" y="442570"/>
                    <a:pt x="244626" y="442570"/>
                    <a:pt x="242957" y="442570"/>
                  </a:cubicBezTo>
                  <a:lnTo>
                    <a:pt x="242957" y="394024"/>
                  </a:lnTo>
                  <a:cubicBezTo>
                    <a:pt x="244626" y="394024"/>
                    <a:pt x="246295" y="394135"/>
                    <a:pt x="247963" y="394135"/>
                  </a:cubicBezTo>
                  <a:cubicBezTo>
                    <a:pt x="277778" y="394135"/>
                    <a:pt x="306703" y="392024"/>
                    <a:pt x="333848" y="388136"/>
                  </a:cubicBezTo>
                  <a:cubicBezTo>
                    <a:pt x="337742" y="361029"/>
                    <a:pt x="339856" y="332146"/>
                    <a:pt x="339856" y="302373"/>
                  </a:cubicBezTo>
                  <a:cubicBezTo>
                    <a:pt x="339856" y="272712"/>
                    <a:pt x="337742" y="243828"/>
                    <a:pt x="333848" y="216722"/>
                  </a:cubicBezTo>
                  <a:cubicBezTo>
                    <a:pt x="306703" y="212723"/>
                    <a:pt x="277778" y="210723"/>
                    <a:pt x="247963" y="210723"/>
                  </a:cubicBezTo>
                  <a:cubicBezTo>
                    <a:pt x="246295" y="210723"/>
                    <a:pt x="244626" y="210723"/>
                    <a:pt x="242957" y="210723"/>
                  </a:cubicBezTo>
                  <a:lnTo>
                    <a:pt x="242957" y="162287"/>
                  </a:lnTo>
                  <a:cubicBezTo>
                    <a:pt x="244626" y="162287"/>
                    <a:pt x="246295" y="162176"/>
                    <a:pt x="247963" y="162176"/>
                  </a:cubicBezTo>
                  <a:cubicBezTo>
                    <a:pt x="273996" y="162176"/>
                    <a:pt x="299472" y="163731"/>
                    <a:pt x="323836" y="166509"/>
                  </a:cubicBezTo>
                  <a:cubicBezTo>
                    <a:pt x="319386" y="149067"/>
                    <a:pt x="314046" y="132848"/>
                    <a:pt x="307705" y="118073"/>
                  </a:cubicBezTo>
                  <a:cubicBezTo>
                    <a:pt x="290350" y="77080"/>
                    <a:pt x="268100" y="52640"/>
                    <a:pt x="247963" y="52640"/>
                  </a:cubicBezTo>
                  <a:cubicBezTo>
                    <a:pt x="246295" y="52640"/>
                    <a:pt x="244626" y="52862"/>
                    <a:pt x="242957" y="53196"/>
                  </a:cubicBezTo>
                  <a:lnTo>
                    <a:pt x="242957" y="4204"/>
                  </a:lnTo>
                  <a:cubicBezTo>
                    <a:pt x="244626" y="4204"/>
                    <a:pt x="246295" y="4093"/>
                    <a:pt x="247963" y="4093"/>
                  </a:cubicBezTo>
                  <a:close/>
                  <a:moveTo>
                    <a:pt x="101779" y="0"/>
                  </a:moveTo>
                  <a:lnTo>
                    <a:pt x="121134" y="0"/>
                  </a:lnTo>
                  <a:cubicBezTo>
                    <a:pt x="154171" y="0"/>
                    <a:pt x="180978" y="26773"/>
                    <a:pt x="180978" y="59656"/>
                  </a:cubicBezTo>
                  <a:lnTo>
                    <a:pt x="180978" y="78430"/>
                  </a:lnTo>
                  <a:cubicBezTo>
                    <a:pt x="183203" y="81541"/>
                    <a:pt x="184315" y="85318"/>
                    <a:pt x="184315" y="89095"/>
                  </a:cubicBezTo>
                  <a:lnTo>
                    <a:pt x="184315" y="102426"/>
                  </a:lnTo>
                  <a:cubicBezTo>
                    <a:pt x="184315" y="107869"/>
                    <a:pt x="181868" y="113090"/>
                    <a:pt x="177752" y="116534"/>
                  </a:cubicBezTo>
                  <a:cubicBezTo>
                    <a:pt x="176751" y="119867"/>
                    <a:pt x="175416" y="123311"/>
                    <a:pt x="173859" y="126643"/>
                  </a:cubicBezTo>
                  <a:cubicBezTo>
                    <a:pt x="170856" y="134753"/>
                    <a:pt x="166406" y="143085"/>
                    <a:pt x="161067" y="150861"/>
                  </a:cubicBezTo>
                  <a:cubicBezTo>
                    <a:pt x="158842" y="154083"/>
                    <a:pt x="155839" y="157860"/>
                    <a:pt x="152502" y="161748"/>
                  </a:cubicBezTo>
                  <a:cubicBezTo>
                    <a:pt x="155505" y="163192"/>
                    <a:pt x="158175" y="165192"/>
                    <a:pt x="160400" y="167747"/>
                  </a:cubicBezTo>
                  <a:lnTo>
                    <a:pt x="204115" y="176412"/>
                  </a:lnTo>
                  <a:cubicBezTo>
                    <a:pt x="215461" y="178745"/>
                    <a:pt x="223692" y="188743"/>
                    <a:pt x="223692" y="200407"/>
                  </a:cubicBezTo>
                  <a:lnTo>
                    <a:pt x="223692" y="358044"/>
                  </a:lnTo>
                  <a:cubicBezTo>
                    <a:pt x="223692" y="361710"/>
                    <a:pt x="222913" y="365154"/>
                    <a:pt x="221467" y="368265"/>
                  </a:cubicBezTo>
                  <a:lnTo>
                    <a:pt x="221467" y="385484"/>
                  </a:lnTo>
                  <a:cubicBezTo>
                    <a:pt x="221467" y="397259"/>
                    <a:pt x="211901" y="406813"/>
                    <a:pt x="200110" y="406813"/>
                  </a:cubicBezTo>
                  <a:cubicBezTo>
                    <a:pt x="195772" y="406813"/>
                    <a:pt x="191879" y="405591"/>
                    <a:pt x="188431" y="403369"/>
                  </a:cubicBezTo>
                  <a:lnTo>
                    <a:pt x="188431" y="566561"/>
                  </a:lnTo>
                  <a:cubicBezTo>
                    <a:pt x="188431" y="587668"/>
                    <a:pt x="171301" y="604887"/>
                    <a:pt x="150166" y="604887"/>
                  </a:cubicBezTo>
                  <a:cubicBezTo>
                    <a:pt x="129032" y="604887"/>
                    <a:pt x="111902" y="587668"/>
                    <a:pt x="111902" y="566561"/>
                  </a:cubicBezTo>
                  <a:cubicBezTo>
                    <a:pt x="111902" y="587668"/>
                    <a:pt x="94772" y="604887"/>
                    <a:pt x="73526" y="604887"/>
                  </a:cubicBezTo>
                  <a:cubicBezTo>
                    <a:pt x="52391" y="604887"/>
                    <a:pt x="35261" y="587668"/>
                    <a:pt x="35261" y="566561"/>
                  </a:cubicBezTo>
                  <a:lnTo>
                    <a:pt x="35261" y="403369"/>
                  </a:lnTo>
                  <a:cubicBezTo>
                    <a:pt x="31924" y="405591"/>
                    <a:pt x="27920" y="406813"/>
                    <a:pt x="23582" y="406813"/>
                  </a:cubicBezTo>
                  <a:cubicBezTo>
                    <a:pt x="11791" y="406813"/>
                    <a:pt x="2225" y="397259"/>
                    <a:pt x="2225" y="385484"/>
                  </a:cubicBezTo>
                  <a:lnTo>
                    <a:pt x="2225" y="368265"/>
                  </a:lnTo>
                  <a:cubicBezTo>
                    <a:pt x="779" y="365154"/>
                    <a:pt x="0" y="361710"/>
                    <a:pt x="0" y="358044"/>
                  </a:cubicBezTo>
                  <a:lnTo>
                    <a:pt x="0" y="200296"/>
                  </a:lnTo>
                  <a:cubicBezTo>
                    <a:pt x="0" y="188743"/>
                    <a:pt x="8231" y="178745"/>
                    <a:pt x="19577" y="176412"/>
                  </a:cubicBezTo>
                  <a:lnTo>
                    <a:pt x="62625" y="167747"/>
                  </a:lnTo>
                  <a:cubicBezTo>
                    <a:pt x="64850" y="165192"/>
                    <a:pt x="67519" y="163192"/>
                    <a:pt x="70522" y="161748"/>
                  </a:cubicBezTo>
                  <a:cubicBezTo>
                    <a:pt x="67074" y="157971"/>
                    <a:pt x="64182" y="154083"/>
                    <a:pt x="61957" y="150861"/>
                  </a:cubicBezTo>
                  <a:cubicBezTo>
                    <a:pt x="56618" y="143085"/>
                    <a:pt x="52169" y="134753"/>
                    <a:pt x="49054" y="126643"/>
                  </a:cubicBezTo>
                  <a:cubicBezTo>
                    <a:pt x="47497" y="123311"/>
                    <a:pt x="46273" y="119867"/>
                    <a:pt x="45161" y="116534"/>
                  </a:cubicBezTo>
                  <a:cubicBezTo>
                    <a:pt x="41045" y="113090"/>
                    <a:pt x="38598" y="107869"/>
                    <a:pt x="38598" y="102426"/>
                  </a:cubicBezTo>
                  <a:lnTo>
                    <a:pt x="38598" y="89095"/>
                  </a:lnTo>
                  <a:cubicBezTo>
                    <a:pt x="38598" y="85318"/>
                    <a:pt x="39822" y="81541"/>
                    <a:pt x="42047" y="78430"/>
                  </a:cubicBezTo>
                  <a:lnTo>
                    <a:pt x="42047" y="59656"/>
                  </a:lnTo>
                  <a:cubicBezTo>
                    <a:pt x="42047" y="26773"/>
                    <a:pt x="68854" y="0"/>
                    <a:pt x="101779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5" name="任意多边形: 形状 24"/>
            <p:cNvSpPr/>
            <p:nvPr/>
          </p:nvSpPr>
          <p:spPr>
            <a:xfrm>
              <a:off x="4659075" y="3653601"/>
              <a:ext cx="383125" cy="423926"/>
            </a:xfrm>
            <a:custGeom>
              <a:avLst/>
              <a:gdLst>
                <a:gd name="connsiteX0" fmla="*/ 481589 w 546670"/>
                <a:gd name="connsiteY0" fmla="*/ 391913 h 604887"/>
                <a:gd name="connsiteX1" fmla="*/ 451551 w 546670"/>
                <a:gd name="connsiteY1" fmla="*/ 406688 h 604887"/>
                <a:gd name="connsiteX2" fmla="*/ 375678 w 546670"/>
                <a:gd name="connsiteY2" fmla="*/ 429906 h 604887"/>
                <a:gd name="connsiteX3" fmla="*/ 352427 w 546670"/>
                <a:gd name="connsiteY3" fmla="*/ 505670 h 604887"/>
                <a:gd name="connsiteX4" fmla="*/ 337631 w 546670"/>
                <a:gd name="connsiteY4" fmla="*/ 535554 h 604887"/>
                <a:gd name="connsiteX5" fmla="*/ 481589 w 546670"/>
                <a:gd name="connsiteY5" fmla="*/ 391913 h 604887"/>
                <a:gd name="connsiteX6" fmla="*/ 384133 w 546670"/>
                <a:gd name="connsiteY6" fmla="*/ 226609 h 604887"/>
                <a:gd name="connsiteX7" fmla="*/ 388361 w 546670"/>
                <a:gd name="connsiteY7" fmla="*/ 302373 h 604887"/>
                <a:gd name="connsiteX8" fmla="*/ 384133 w 546670"/>
                <a:gd name="connsiteY8" fmla="*/ 378137 h 604887"/>
                <a:gd name="connsiteX9" fmla="*/ 432639 w 546670"/>
                <a:gd name="connsiteY9" fmla="*/ 362029 h 604887"/>
                <a:gd name="connsiteX10" fmla="*/ 498165 w 546670"/>
                <a:gd name="connsiteY10" fmla="*/ 302373 h 604887"/>
                <a:gd name="connsiteX11" fmla="*/ 432639 w 546670"/>
                <a:gd name="connsiteY11" fmla="*/ 242717 h 604887"/>
                <a:gd name="connsiteX12" fmla="*/ 384133 w 546670"/>
                <a:gd name="connsiteY12" fmla="*/ 226609 h 604887"/>
                <a:gd name="connsiteX13" fmla="*/ 135706 w 546670"/>
                <a:gd name="connsiteY13" fmla="*/ 175523 h 604887"/>
                <a:gd name="connsiteX14" fmla="*/ 126473 w 546670"/>
                <a:gd name="connsiteY14" fmla="*/ 178856 h 604887"/>
                <a:gd name="connsiteX15" fmla="*/ 123248 w 546670"/>
                <a:gd name="connsiteY15" fmla="*/ 182633 h 604887"/>
                <a:gd name="connsiteX16" fmla="*/ 123248 w 546670"/>
                <a:gd name="connsiteY16" fmla="*/ 192075 h 604887"/>
                <a:gd name="connsiteX17" fmla="*/ 121801 w 546670"/>
                <a:gd name="connsiteY17" fmla="*/ 193075 h 604887"/>
                <a:gd name="connsiteX18" fmla="*/ 120912 w 546670"/>
                <a:gd name="connsiteY18" fmla="*/ 196075 h 604887"/>
                <a:gd name="connsiteX19" fmla="*/ 122914 w 546670"/>
                <a:gd name="connsiteY19" fmla="*/ 216404 h 604887"/>
                <a:gd name="connsiteX20" fmla="*/ 125695 w 546670"/>
                <a:gd name="connsiteY20" fmla="*/ 219737 h 604887"/>
                <a:gd name="connsiteX21" fmla="*/ 126807 w 546670"/>
                <a:gd name="connsiteY21" fmla="*/ 219848 h 604887"/>
                <a:gd name="connsiteX22" fmla="*/ 129810 w 546670"/>
                <a:gd name="connsiteY22" fmla="*/ 218293 h 604887"/>
                <a:gd name="connsiteX23" fmla="*/ 140600 w 546670"/>
                <a:gd name="connsiteY23" fmla="*/ 204073 h 604887"/>
                <a:gd name="connsiteX24" fmla="*/ 141379 w 546670"/>
                <a:gd name="connsiteY24" fmla="*/ 201740 h 604887"/>
                <a:gd name="connsiteX25" fmla="*/ 141379 w 546670"/>
                <a:gd name="connsiteY25" fmla="*/ 178856 h 604887"/>
                <a:gd name="connsiteX26" fmla="*/ 139488 w 546670"/>
                <a:gd name="connsiteY26" fmla="*/ 175634 h 604887"/>
                <a:gd name="connsiteX27" fmla="*/ 135706 w 546670"/>
                <a:gd name="connsiteY27" fmla="*/ 175523 h 604887"/>
                <a:gd name="connsiteX28" fmla="*/ 87208 w 546670"/>
                <a:gd name="connsiteY28" fmla="*/ 175523 h 604887"/>
                <a:gd name="connsiteX29" fmla="*/ 83537 w 546670"/>
                <a:gd name="connsiteY29" fmla="*/ 175634 h 604887"/>
                <a:gd name="connsiteX30" fmla="*/ 81646 w 546670"/>
                <a:gd name="connsiteY30" fmla="*/ 178856 h 604887"/>
                <a:gd name="connsiteX31" fmla="*/ 81646 w 546670"/>
                <a:gd name="connsiteY31" fmla="*/ 201740 h 604887"/>
                <a:gd name="connsiteX32" fmla="*/ 82425 w 546670"/>
                <a:gd name="connsiteY32" fmla="*/ 204073 h 604887"/>
                <a:gd name="connsiteX33" fmla="*/ 93103 w 546670"/>
                <a:gd name="connsiteY33" fmla="*/ 218293 h 604887"/>
                <a:gd name="connsiteX34" fmla="*/ 96218 w 546670"/>
                <a:gd name="connsiteY34" fmla="*/ 219848 h 604887"/>
                <a:gd name="connsiteX35" fmla="*/ 97219 w 546670"/>
                <a:gd name="connsiteY35" fmla="*/ 219737 h 604887"/>
                <a:gd name="connsiteX36" fmla="*/ 100000 w 546670"/>
                <a:gd name="connsiteY36" fmla="*/ 216404 h 604887"/>
                <a:gd name="connsiteX37" fmla="*/ 102113 w 546670"/>
                <a:gd name="connsiteY37" fmla="*/ 196075 h 604887"/>
                <a:gd name="connsiteX38" fmla="*/ 101112 w 546670"/>
                <a:gd name="connsiteY38" fmla="*/ 193075 h 604887"/>
                <a:gd name="connsiteX39" fmla="*/ 99666 w 546670"/>
                <a:gd name="connsiteY39" fmla="*/ 192075 h 604887"/>
                <a:gd name="connsiteX40" fmla="*/ 99666 w 546670"/>
                <a:gd name="connsiteY40" fmla="*/ 182633 h 604887"/>
                <a:gd name="connsiteX41" fmla="*/ 96551 w 546670"/>
                <a:gd name="connsiteY41" fmla="*/ 178856 h 604887"/>
                <a:gd name="connsiteX42" fmla="*/ 87208 w 546670"/>
                <a:gd name="connsiteY42" fmla="*/ 175523 h 604887"/>
                <a:gd name="connsiteX43" fmla="*/ 93214 w 546670"/>
                <a:gd name="connsiteY43" fmla="*/ 72653 h 604887"/>
                <a:gd name="connsiteX44" fmla="*/ 66629 w 546670"/>
                <a:gd name="connsiteY44" fmla="*/ 79652 h 604887"/>
                <a:gd name="connsiteX45" fmla="*/ 64516 w 546670"/>
                <a:gd name="connsiteY45" fmla="*/ 83096 h 604887"/>
                <a:gd name="connsiteX46" fmla="*/ 64516 w 546670"/>
                <a:gd name="connsiteY46" fmla="*/ 89872 h 604887"/>
                <a:gd name="connsiteX47" fmla="*/ 62959 w 546670"/>
                <a:gd name="connsiteY47" fmla="*/ 89872 h 604887"/>
                <a:gd name="connsiteX48" fmla="*/ 59065 w 546670"/>
                <a:gd name="connsiteY48" fmla="*/ 93761 h 604887"/>
                <a:gd name="connsiteX49" fmla="*/ 59065 w 546670"/>
                <a:gd name="connsiteY49" fmla="*/ 99982 h 604887"/>
                <a:gd name="connsiteX50" fmla="*/ 60845 w 546670"/>
                <a:gd name="connsiteY50" fmla="*/ 103203 h 604887"/>
                <a:gd name="connsiteX51" fmla="*/ 64516 w 546670"/>
                <a:gd name="connsiteY51" fmla="*/ 105647 h 604887"/>
                <a:gd name="connsiteX52" fmla="*/ 64738 w 546670"/>
                <a:gd name="connsiteY52" fmla="*/ 107202 h 604887"/>
                <a:gd name="connsiteX53" fmla="*/ 78531 w 546670"/>
                <a:gd name="connsiteY53" fmla="*/ 138974 h 604887"/>
                <a:gd name="connsiteX54" fmla="*/ 101223 w 546670"/>
                <a:gd name="connsiteY54" fmla="*/ 158526 h 604887"/>
                <a:gd name="connsiteX55" fmla="*/ 121801 w 546670"/>
                <a:gd name="connsiteY55" fmla="*/ 158526 h 604887"/>
                <a:gd name="connsiteX56" fmla="*/ 144493 w 546670"/>
                <a:gd name="connsiteY56" fmla="*/ 138974 h 604887"/>
                <a:gd name="connsiteX57" fmla="*/ 158175 w 546670"/>
                <a:gd name="connsiteY57" fmla="*/ 107202 h 604887"/>
                <a:gd name="connsiteX58" fmla="*/ 158398 w 546670"/>
                <a:gd name="connsiteY58" fmla="*/ 105647 h 604887"/>
                <a:gd name="connsiteX59" fmla="*/ 162179 w 546670"/>
                <a:gd name="connsiteY59" fmla="*/ 103203 h 604887"/>
                <a:gd name="connsiteX60" fmla="*/ 163848 w 546670"/>
                <a:gd name="connsiteY60" fmla="*/ 100093 h 604887"/>
                <a:gd name="connsiteX61" fmla="*/ 163848 w 546670"/>
                <a:gd name="connsiteY61" fmla="*/ 93761 h 604887"/>
                <a:gd name="connsiteX62" fmla="*/ 160066 w 546670"/>
                <a:gd name="connsiteY62" fmla="*/ 89872 h 604887"/>
                <a:gd name="connsiteX63" fmla="*/ 157953 w 546670"/>
                <a:gd name="connsiteY63" fmla="*/ 89872 h 604887"/>
                <a:gd name="connsiteX64" fmla="*/ 156729 w 546670"/>
                <a:gd name="connsiteY64" fmla="*/ 88650 h 604887"/>
                <a:gd name="connsiteX65" fmla="*/ 153058 w 546670"/>
                <a:gd name="connsiteY65" fmla="*/ 88317 h 604887"/>
                <a:gd name="connsiteX66" fmla="*/ 137930 w 546670"/>
                <a:gd name="connsiteY66" fmla="*/ 91761 h 604887"/>
                <a:gd name="connsiteX67" fmla="*/ 114460 w 546670"/>
                <a:gd name="connsiteY67" fmla="*/ 81207 h 604887"/>
                <a:gd name="connsiteX68" fmla="*/ 93214 w 546670"/>
                <a:gd name="connsiteY68" fmla="*/ 72653 h 604887"/>
                <a:gd name="connsiteX69" fmla="*/ 337631 w 546670"/>
                <a:gd name="connsiteY69" fmla="*/ 69193 h 604887"/>
                <a:gd name="connsiteX70" fmla="*/ 352427 w 546670"/>
                <a:gd name="connsiteY70" fmla="*/ 99187 h 604887"/>
                <a:gd name="connsiteX71" fmla="*/ 375678 w 546670"/>
                <a:gd name="connsiteY71" fmla="*/ 174952 h 604887"/>
                <a:gd name="connsiteX72" fmla="*/ 451551 w 546670"/>
                <a:gd name="connsiteY72" fmla="*/ 198059 h 604887"/>
                <a:gd name="connsiteX73" fmla="*/ 481589 w 546670"/>
                <a:gd name="connsiteY73" fmla="*/ 212945 h 604887"/>
                <a:gd name="connsiteX74" fmla="*/ 337631 w 546670"/>
                <a:gd name="connsiteY74" fmla="*/ 69193 h 604887"/>
                <a:gd name="connsiteX75" fmla="*/ 247963 w 546670"/>
                <a:gd name="connsiteY75" fmla="*/ 4093 h 604887"/>
                <a:gd name="connsiteX76" fmla="*/ 546670 w 546670"/>
                <a:gd name="connsiteY76" fmla="*/ 302373 h 604887"/>
                <a:gd name="connsiteX77" fmla="*/ 247963 w 546670"/>
                <a:gd name="connsiteY77" fmla="*/ 600653 h 604887"/>
                <a:gd name="connsiteX78" fmla="*/ 242957 w 546670"/>
                <a:gd name="connsiteY78" fmla="*/ 600653 h 604887"/>
                <a:gd name="connsiteX79" fmla="*/ 242957 w 546670"/>
                <a:gd name="connsiteY79" fmla="*/ 551662 h 604887"/>
                <a:gd name="connsiteX80" fmla="*/ 247963 w 546670"/>
                <a:gd name="connsiteY80" fmla="*/ 552217 h 604887"/>
                <a:gd name="connsiteX81" fmla="*/ 307705 w 546670"/>
                <a:gd name="connsiteY81" fmla="*/ 486674 h 604887"/>
                <a:gd name="connsiteX82" fmla="*/ 323836 w 546670"/>
                <a:gd name="connsiteY82" fmla="*/ 438238 h 604887"/>
                <a:gd name="connsiteX83" fmla="*/ 247963 w 546670"/>
                <a:gd name="connsiteY83" fmla="*/ 442570 h 604887"/>
                <a:gd name="connsiteX84" fmla="*/ 242957 w 546670"/>
                <a:gd name="connsiteY84" fmla="*/ 442570 h 604887"/>
                <a:gd name="connsiteX85" fmla="*/ 242957 w 546670"/>
                <a:gd name="connsiteY85" fmla="*/ 394024 h 604887"/>
                <a:gd name="connsiteX86" fmla="*/ 247963 w 546670"/>
                <a:gd name="connsiteY86" fmla="*/ 394135 h 604887"/>
                <a:gd name="connsiteX87" fmla="*/ 333848 w 546670"/>
                <a:gd name="connsiteY87" fmla="*/ 388136 h 604887"/>
                <a:gd name="connsiteX88" fmla="*/ 339856 w 546670"/>
                <a:gd name="connsiteY88" fmla="*/ 302373 h 604887"/>
                <a:gd name="connsiteX89" fmla="*/ 333848 w 546670"/>
                <a:gd name="connsiteY89" fmla="*/ 216722 h 604887"/>
                <a:gd name="connsiteX90" fmla="*/ 247963 w 546670"/>
                <a:gd name="connsiteY90" fmla="*/ 210723 h 604887"/>
                <a:gd name="connsiteX91" fmla="*/ 242957 w 546670"/>
                <a:gd name="connsiteY91" fmla="*/ 210723 h 604887"/>
                <a:gd name="connsiteX92" fmla="*/ 242957 w 546670"/>
                <a:gd name="connsiteY92" fmla="*/ 162287 h 604887"/>
                <a:gd name="connsiteX93" fmla="*/ 247963 w 546670"/>
                <a:gd name="connsiteY93" fmla="*/ 162176 h 604887"/>
                <a:gd name="connsiteX94" fmla="*/ 323836 w 546670"/>
                <a:gd name="connsiteY94" fmla="*/ 166509 h 604887"/>
                <a:gd name="connsiteX95" fmla="*/ 307705 w 546670"/>
                <a:gd name="connsiteY95" fmla="*/ 118073 h 604887"/>
                <a:gd name="connsiteX96" fmla="*/ 247963 w 546670"/>
                <a:gd name="connsiteY96" fmla="*/ 52640 h 604887"/>
                <a:gd name="connsiteX97" fmla="*/ 242957 w 546670"/>
                <a:gd name="connsiteY97" fmla="*/ 53196 h 604887"/>
                <a:gd name="connsiteX98" fmla="*/ 242957 w 546670"/>
                <a:gd name="connsiteY98" fmla="*/ 4204 h 604887"/>
                <a:gd name="connsiteX99" fmla="*/ 247963 w 546670"/>
                <a:gd name="connsiteY99" fmla="*/ 4093 h 604887"/>
                <a:gd name="connsiteX100" fmla="*/ 101779 w 546670"/>
                <a:gd name="connsiteY100" fmla="*/ 0 h 604887"/>
                <a:gd name="connsiteX101" fmla="*/ 121134 w 546670"/>
                <a:gd name="connsiteY101" fmla="*/ 0 h 604887"/>
                <a:gd name="connsiteX102" fmla="*/ 180978 w 546670"/>
                <a:gd name="connsiteY102" fmla="*/ 59656 h 604887"/>
                <a:gd name="connsiteX103" fmla="*/ 180978 w 546670"/>
                <a:gd name="connsiteY103" fmla="*/ 78430 h 604887"/>
                <a:gd name="connsiteX104" fmla="*/ 184315 w 546670"/>
                <a:gd name="connsiteY104" fmla="*/ 89095 h 604887"/>
                <a:gd name="connsiteX105" fmla="*/ 184315 w 546670"/>
                <a:gd name="connsiteY105" fmla="*/ 102426 h 604887"/>
                <a:gd name="connsiteX106" fmla="*/ 177752 w 546670"/>
                <a:gd name="connsiteY106" fmla="*/ 116534 h 604887"/>
                <a:gd name="connsiteX107" fmla="*/ 173859 w 546670"/>
                <a:gd name="connsiteY107" fmla="*/ 126643 h 604887"/>
                <a:gd name="connsiteX108" fmla="*/ 161067 w 546670"/>
                <a:gd name="connsiteY108" fmla="*/ 150861 h 604887"/>
                <a:gd name="connsiteX109" fmla="*/ 152502 w 546670"/>
                <a:gd name="connsiteY109" fmla="*/ 161748 h 604887"/>
                <a:gd name="connsiteX110" fmla="*/ 160400 w 546670"/>
                <a:gd name="connsiteY110" fmla="*/ 167747 h 604887"/>
                <a:gd name="connsiteX111" fmla="*/ 204115 w 546670"/>
                <a:gd name="connsiteY111" fmla="*/ 176412 h 604887"/>
                <a:gd name="connsiteX112" fmla="*/ 223692 w 546670"/>
                <a:gd name="connsiteY112" fmla="*/ 200407 h 604887"/>
                <a:gd name="connsiteX113" fmla="*/ 223692 w 546670"/>
                <a:gd name="connsiteY113" fmla="*/ 358044 h 604887"/>
                <a:gd name="connsiteX114" fmla="*/ 221467 w 546670"/>
                <a:gd name="connsiteY114" fmla="*/ 368265 h 604887"/>
                <a:gd name="connsiteX115" fmla="*/ 221467 w 546670"/>
                <a:gd name="connsiteY115" fmla="*/ 385484 h 604887"/>
                <a:gd name="connsiteX116" fmla="*/ 200110 w 546670"/>
                <a:gd name="connsiteY116" fmla="*/ 406813 h 604887"/>
                <a:gd name="connsiteX117" fmla="*/ 188431 w 546670"/>
                <a:gd name="connsiteY117" fmla="*/ 403369 h 604887"/>
                <a:gd name="connsiteX118" fmla="*/ 188431 w 546670"/>
                <a:gd name="connsiteY118" fmla="*/ 566561 h 604887"/>
                <a:gd name="connsiteX119" fmla="*/ 150166 w 546670"/>
                <a:gd name="connsiteY119" fmla="*/ 604887 h 604887"/>
                <a:gd name="connsiteX120" fmla="*/ 111902 w 546670"/>
                <a:gd name="connsiteY120" fmla="*/ 566561 h 604887"/>
                <a:gd name="connsiteX121" fmla="*/ 73526 w 546670"/>
                <a:gd name="connsiteY121" fmla="*/ 604887 h 604887"/>
                <a:gd name="connsiteX122" fmla="*/ 35261 w 546670"/>
                <a:gd name="connsiteY122" fmla="*/ 566561 h 604887"/>
                <a:gd name="connsiteX123" fmla="*/ 35261 w 546670"/>
                <a:gd name="connsiteY123" fmla="*/ 403369 h 604887"/>
                <a:gd name="connsiteX124" fmla="*/ 23582 w 546670"/>
                <a:gd name="connsiteY124" fmla="*/ 406813 h 604887"/>
                <a:gd name="connsiteX125" fmla="*/ 2225 w 546670"/>
                <a:gd name="connsiteY125" fmla="*/ 385484 h 604887"/>
                <a:gd name="connsiteX126" fmla="*/ 2225 w 546670"/>
                <a:gd name="connsiteY126" fmla="*/ 368265 h 604887"/>
                <a:gd name="connsiteX127" fmla="*/ 0 w 546670"/>
                <a:gd name="connsiteY127" fmla="*/ 358044 h 604887"/>
                <a:gd name="connsiteX128" fmla="*/ 0 w 546670"/>
                <a:gd name="connsiteY128" fmla="*/ 200296 h 604887"/>
                <a:gd name="connsiteX129" fmla="*/ 19577 w 546670"/>
                <a:gd name="connsiteY129" fmla="*/ 176412 h 604887"/>
                <a:gd name="connsiteX130" fmla="*/ 62625 w 546670"/>
                <a:gd name="connsiteY130" fmla="*/ 167747 h 604887"/>
                <a:gd name="connsiteX131" fmla="*/ 70522 w 546670"/>
                <a:gd name="connsiteY131" fmla="*/ 161748 h 604887"/>
                <a:gd name="connsiteX132" fmla="*/ 61957 w 546670"/>
                <a:gd name="connsiteY132" fmla="*/ 150861 h 604887"/>
                <a:gd name="connsiteX133" fmla="*/ 49054 w 546670"/>
                <a:gd name="connsiteY133" fmla="*/ 126643 h 604887"/>
                <a:gd name="connsiteX134" fmla="*/ 45161 w 546670"/>
                <a:gd name="connsiteY134" fmla="*/ 116534 h 604887"/>
                <a:gd name="connsiteX135" fmla="*/ 38598 w 546670"/>
                <a:gd name="connsiteY135" fmla="*/ 102426 h 604887"/>
                <a:gd name="connsiteX136" fmla="*/ 38598 w 546670"/>
                <a:gd name="connsiteY136" fmla="*/ 89095 h 604887"/>
                <a:gd name="connsiteX137" fmla="*/ 42047 w 546670"/>
                <a:gd name="connsiteY137" fmla="*/ 78430 h 604887"/>
                <a:gd name="connsiteX138" fmla="*/ 42047 w 546670"/>
                <a:gd name="connsiteY138" fmla="*/ 59656 h 604887"/>
                <a:gd name="connsiteX139" fmla="*/ 101779 w 546670"/>
                <a:gd name="connsiteY139" fmla="*/ 0 h 60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546670" h="604887">
                  <a:moveTo>
                    <a:pt x="481589" y="391913"/>
                  </a:moveTo>
                  <a:cubicBezTo>
                    <a:pt x="472466" y="397134"/>
                    <a:pt x="462454" y="402133"/>
                    <a:pt x="451551" y="406688"/>
                  </a:cubicBezTo>
                  <a:cubicBezTo>
                    <a:pt x="428967" y="416242"/>
                    <a:pt x="403269" y="424018"/>
                    <a:pt x="375678" y="429906"/>
                  </a:cubicBezTo>
                  <a:cubicBezTo>
                    <a:pt x="369782" y="457457"/>
                    <a:pt x="361995" y="483008"/>
                    <a:pt x="352427" y="505670"/>
                  </a:cubicBezTo>
                  <a:cubicBezTo>
                    <a:pt x="347866" y="516446"/>
                    <a:pt x="342860" y="526444"/>
                    <a:pt x="337631" y="535554"/>
                  </a:cubicBezTo>
                  <a:cubicBezTo>
                    <a:pt x="403602" y="510225"/>
                    <a:pt x="456112" y="457790"/>
                    <a:pt x="481589" y="391913"/>
                  </a:cubicBezTo>
                  <a:close/>
                  <a:moveTo>
                    <a:pt x="384133" y="226609"/>
                  </a:moveTo>
                  <a:cubicBezTo>
                    <a:pt x="386915" y="251049"/>
                    <a:pt x="388361" y="276489"/>
                    <a:pt x="388361" y="302373"/>
                  </a:cubicBezTo>
                  <a:cubicBezTo>
                    <a:pt x="388361" y="328369"/>
                    <a:pt x="386915" y="353697"/>
                    <a:pt x="384133" y="378137"/>
                  </a:cubicBezTo>
                  <a:cubicBezTo>
                    <a:pt x="401600" y="373694"/>
                    <a:pt x="417842" y="368250"/>
                    <a:pt x="432639" y="362029"/>
                  </a:cubicBezTo>
                  <a:cubicBezTo>
                    <a:pt x="473690" y="344699"/>
                    <a:pt x="498165" y="322370"/>
                    <a:pt x="498165" y="302373"/>
                  </a:cubicBezTo>
                  <a:cubicBezTo>
                    <a:pt x="498165" y="282377"/>
                    <a:pt x="473690" y="260047"/>
                    <a:pt x="432639" y="242717"/>
                  </a:cubicBezTo>
                  <a:cubicBezTo>
                    <a:pt x="417842" y="236496"/>
                    <a:pt x="401600" y="231164"/>
                    <a:pt x="384133" y="226609"/>
                  </a:cubicBezTo>
                  <a:close/>
                  <a:moveTo>
                    <a:pt x="135706" y="175523"/>
                  </a:moveTo>
                  <a:cubicBezTo>
                    <a:pt x="132591" y="177189"/>
                    <a:pt x="129477" y="178300"/>
                    <a:pt x="126473" y="178856"/>
                  </a:cubicBezTo>
                  <a:cubicBezTo>
                    <a:pt x="124582" y="179189"/>
                    <a:pt x="123248" y="180744"/>
                    <a:pt x="123248" y="182633"/>
                  </a:cubicBezTo>
                  <a:lnTo>
                    <a:pt x="123248" y="192075"/>
                  </a:lnTo>
                  <a:cubicBezTo>
                    <a:pt x="122691" y="192298"/>
                    <a:pt x="122246" y="192631"/>
                    <a:pt x="121801" y="193075"/>
                  </a:cubicBezTo>
                  <a:cubicBezTo>
                    <a:pt x="121134" y="193964"/>
                    <a:pt x="120689" y="194964"/>
                    <a:pt x="120912" y="196075"/>
                  </a:cubicBezTo>
                  <a:lnTo>
                    <a:pt x="122914" y="216404"/>
                  </a:lnTo>
                  <a:cubicBezTo>
                    <a:pt x="123136" y="217960"/>
                    <a:pt x="124249" y="219293"/>
                    <a:pt x="125695" y="219737"/>
                  </a:cubicBezTo>
                  <a:cubicBezTo>
                    <a:pt x="126028" y="219737"/>
                    <a:pt x="126473" y="219848"/>
                    <a:pt x="126807" y="219848"/>
                  </a:cubicBezTo>
                  <a:cubicBezTo>
                    <a:pt x="127919" y="219848"/>
                    <a:pt x="129032" y="219293"/>
                    <a:pt x="129810" y="218293"/>
                  </a:cubicBezTo>
                  <a:lnTo>
                    <a:pt x="140600" y="204073"/>
                  </a:lnTo>
                  <a:cubicBezTo>
                    <a:pt x="141045" y="203407"/>
                    <a:pt x="141379" y="202629"/>
                    <a:pt x="141379" y="201740"/>
                  </a:cubicBezTo>
                  <a:lnTo>
                    <a:pt x="141379" y="178856"/>
                  </a:lnTo>
                  <a:cubicBezTo>
                    <a:pt x="141379" y="177523"/>
                    <a:pt x="140600" y="176301"/>
                    <a:pt x="139488" y="175634"/>
                  </a:cubicBezTo>
                  <a:cubicBezTo>
                    <a:pt x="138375" y="174968"/>
                    <a:pt x="136929" y="174856"/>
                    <a:pt x="135706" y="175523"/>
                  </a:cubicBezTo>
                  <a:close/>
                  <a:moveTo>
                    <a:pt x="87208" y="175523"/>
                  </a:moveTo>
                  <a:cubicBezTo>
                    <a:pt x="86095" y="174856"/>
                    <a:pt x="84649" y="174968"/>
                    <a:pt x="83537" y="175634"/>
                  </a:cubicBezTo>
                  <a:cubicBezTo>
                    <a:pt x="82313" y="176301"/>
                    <a:pt x="81646" y="177523"/>
                    <a:pt x="81646" y="178856"/>
                  </a:cubicBezTo>
                  <a:lnTo>
                    <a:pt x="81646" y="201740"/>
                  </a:lnTo>
                  <a:cubicBezTo>
                    <a:pt x="81646" y="202629"/>
                    <a:pt x="81868" y="203407"/>
                    <a:pt x="82425" y="204073"/>
                  </a:cubicBezTo>
                  <a:lnTo>
                    <a:pt x="93103" y="218293"/>
                  </a:lnTo>
                  <a:cubicBezTo>
                    <a:pt x="93882" y="219293"/>
                    <a:pt x="94994" y="219848"/>
                    <a:pt x="96218" y="219848"/>
                  </a:cubicBezTo>
                  <a:cubicBezTo>
                    <a:pt x="96551" y="219848"/>
                    <a:pt x="96885" y="219848"/>
                    <a:pt x="97219" y="219737"/>
                  </a:cubicBezTo>
                  <a:cubicBezTo>
                    <a:pt x="98776" y="219293"/>
                    <a:pt x="99888" y="217960"/>
                    <a:pt x="100000" y="216404"/>
                  </a:cubicBezTo>
                  <a:lnTo>
                    <a:pt x="102113" y="196075"/>
                  </a:lnTo>
                  <a:cubicBezTo>
                    <a:pt x="102224" y="194964"/>
                    <a:pt x="101891" y="193964"/>
                    <a:pt x="101112" y="193075"/>
                  </a:cubicBezTo>
                  <a:cubicBezTo>
                    <a:pt x="100778" y="192631"/>
                    <a:pt x="100222" y="192298"/>
                    <a:pt x="99666" y="192075"/>
                  </a:cubicBezTo>
                  <a:lnTo>
                    <a:pt x="99666" y="182633"/>
                  </a:lnTo>
                  <a:cubicBezTo>
                    <a:pt x="99666" y="180744"/>
                    <a:pt x="98331" y="179189"/>
                    <a:pt x="96551" y="178856"/>
                  </a:cubicBezTo>
                  <a:cubicBezTo>
                    <a:pt x="93548" y="178300"/>
                    <a:pt x="90433" y="177189"/>
                    <a:pt x="87208" y="175523"/>
                  </a:cubicBezTo>
                  <a:close/>
                  <a:moveTo>
                    <a:pt x="93214" y="72653"/>
                  </a:moveTo>
                  <a:cubicBezTo>
                    <a:pt x="82313" y="72653"/>
                    <a:pt x="71857" y="77097"/>
                    <a:pt x="66629" y="79652"/>
                  </a:cubicBezTo>
                  <a:cubicBezTo>
                    <a:pt x="65294" y="80319"/>
                    <a:pt x="64516" y="81652"/>
                    <a:pt x="64516" y="83096"/>
                  </a:cubicBezTo>
                  <a:lnTo>
                    <a:pt x="64516" y="89872"/>
                  </a:lnTo>
                  <a:lnTo>
                    <a:pt x="62959" y="89872"/>
                  </a:lnTo>
                  <a:cubicBezTo>
                    <a:pt x="60845" y="89872"/>
                    <a:pt x="59065" y="91650"/>
                    <a:pt x="59065" y="93761"/>
                  </a:cubicBezTo>
                  <a:lnTo>
                    <a:pt x="59065" y="99982"/>
                  </a:lnTo>
                  <a:cubicBezTo>
                    <a:pt x="59065" y="101315"/>
                    <a:pt x="59733" y="102537"/>
                    <a:pt x="60845" y="103203"/>
                  </a:cubicBezTo>
                  <a:lnTo>
                    <a:pt x="64516" y="105647"/>
                  </a:lnTo>
                  <a:lnTo>
                    <a:pt x="64738" y="107202"/>
                  </a:lnTo>
                  <a:cubicBezTo>
                    <a:pt x="65962" y="116423"/>
                    <a:pt x="71079" y="128199"/>
                    <a:pt x="78531" y="138974"/>
                  </a:cubicBezTo>
                  <a:cubicBezTo>
                    <a:pt x="87875" y="152527"/>
                    <a:pt x="96663" y="158526"/>
                    <a:pt x="101223" y="158526"/>
                  </a:cubicBezTo>
                  <a:lnTo>
                    <a:pt x="121801" y="158526"/>
                  </a:lnTo>
                  <a:cubicBezTo>
                    <a:pt x="126362" y="158526"/>
                    <a:pt x="135150" y="152527"/>
                    <a:pt x="144493" y="138974"/>
                  </a:cubicBezTo>
                  <a:cubicBezTo>
                    <a:pt x="151835" y="128199"/>
                    <a:pt x="156951" y="116423"/>
                    <a:pt x="158175" y="107202"/>
                  </a:cubicBezTo>
                  <a:lnTo>
                    <a:pt x="158398" y="105647"/>
                  </a:lnTo>
                  <a:lnTo>
                    <a:pt x="162179" y="103203"/>
                  </a:lnTo>
                  <a:cubicBezTo>
                    <a:pt x="163181" y="102537"/>
                    <a:pt x="163848" y="101315"/>
                    <a:pt x="163848" y="100093"/>
                  </a:cubicBezTo>
                  <a:lnTo>
                    <a:pt x="163848" y="93761"/>
                  </a:lnTo>
                  <a:cubicBezTo>
                    <a:pt x="163848" y="91650"/>
                    <a:pt x="162179" y="89872"/>
                    <a:pt x="160066" y="89872"/>
                  </a:cubicBezTo>
                  <a:lnTo>
                    <a:pt x="157953" y="89872"/>
                  </a:lnTo>
                  <a:cubicBezTo>
                    <a:pt x="157619" y="89428"/>
                    <a:pt x="157285" y="88984"/>
                    <a:pt x="156729" y="88650"/>
                  </a:cubicBezTo>
                  <a:cubicBezTo>
                    <a:pt x="155617" y="87984"/>
                    <a:pt x="154282" y="87873"/>
                    <a:pt x="153058" y="88317"/>
                  </a:cubicBezTo>
                  <a:cubicBezTo>
                    <a:pt x="147942" y="90650"/>
                    <a:pt x="142825" y="91761"/>
                    <a:pt x="137930" y="91761"/>
                  </a:cubicBezTo>
                  <a:cubicBezTo>
                    <a:pt x="129254" y="91761"/>
                    <a:pt x="121357" y="88206"/>
                    <a:pt x="114460" y="81207"/>
                  </a:cubicBezTo>
                  <a:cubicBezTo>
                    <a:pt x="109010" y="75542"/>
                    <a:pt x="101779" y="72653"/>
                    <a:pt x="93214" y="72653"/>
                  </a:cubicBezTo>
                  <a:close/>
                  <a:moveTo>
                    <a:pt x="337631" y="69193"/>
                  </a:moveTo>
                  <a:cubicBezTo>
                    <a:pt x="342860" y="78302"/>
                    <a:pt x="347866" y="88300"/>
                    <a:pt x="352427" y="99187"/>
                  </a:cubicBezTo>
                  <a:cubicBezTo>
                    <a:pt x="361995" y="121739"/>
                    <a:pt x="369782" y="147290"/>
                    <a:pt x="375678" y="174952"/>
                  </a:cubicBezTo>
                  <a:cubicBezTo>
                    <a:pt x="403269" y="180728"/>
                    <a:pt x="428967" y="188505"/>
                    <a:pt x="451551" y="198059"/>
                  </a:cubicBezTo>
                  <a:cubicBezTo>
                    <a:pt x="462454" y="202724"/>
                    <a:pt x="472466" y="207612"/>
                    <a:pt x="481589" y="212945"/>
                  </a:cubicBezTo>
                  <a:cubicBezTo>
                    <a:pt x="456112" y="147068"/>
                    <a:pt x="403602" y="94633"/>
                    <a:pt x="337631" y="69193"/>
                  </a:cubicBezTo>
                  <a:close/>
                  <a:moveTo>
                    <a:pt x="247963" y="4093"/>
                  </a:moveTo>
                  <a:cubicBezTo>
                    <a:pt x="412725" y="4093"/>
                    <a:pt x="546670" y="137958"/>
                    <a:pt x="546670" y="302373"/>
                  </a:cubicBezTo>
                  <a:cubicBezTo>
                    <a:pt x="546670" y="466899"/>
                    <a:pt x="412725" y="600653"/>
                    <a:pt x="247963" y="600653"/>
                  </a:cubicBezTo>
                  <a:cubicBezTo>
                    <a:pt x="246295" y="600653"/>
                    <a:pt x="244626" y="600653"/>
                    <a:pt x="242957" y="600653"/>
                  </a:cubicBezTo>
                  <a:lnTo>
                    <a:pt x="242957" y="551662"/>
                  </a:lnTo>
                  <a:cubicBezTo>
                    <a:pt x="244626" y="551995"/>
                    <a:pt x="246295" y="552217"/>
                    <a:pt x="247963" y="552217"/>
                  </a:cubicBezTo>
                  <a:cubicBezTo>
                    <a:pt x="268100" y="552217"/>
                    <a:pt x="290350" y="527666"/>
                    <a:pt x="307705" y="486674"/>
                  </a:cubicBezTo>
                  <a:cubicBezTo>
                    <a:pt x="314046" y="472010"/>
                    <a:pt x="319386" y="455679"/>
                    <a:pt x="323836" y="438238"/>
                  </a:cubicBezTo>
                  <a:cubicBezTo>
                    <a:pt x="299472" y="441126"/>
                    <a:pt x="273996" y="442570"/>
                    <a:pt x="247963" y="442570"/>
                  </a:cubicBezTo>
                  <a:cubicBezTo>
                    <a:pt x="246295" y="442570"/>
                    <a:pt x="244626" y="442570"/>
                    <a:pt x="242957" y="442570"/>
                  </a:cubicBezTo>
                  <a:lnTo>
                    <a:pt x="242957" y="394024"/>
                  </a:lnTo>
                  <a:cubicBezTo>
                    <a:pt x="244626" y="394024"/>
                    <a:pt x="246295" y="394135"/>
                    <a:pt x="247963" y="394135"/>
                  </a:cubicBezTo>
                  <a:cubicBezTo>
                    <a:pt x="277778" y="394135"/>
                    <a:pt x="306703" y="392024"/>
                    <a:pt x="333848" y="388136"/>
                  </a:cubicBezTo>
                  <a:cubicBezTo>
                    <a:pt x="337742" y="361029"/>
                    <a:pt x="339856" y="332146"/>
                    <a:pt x="339856" y="302373"/>
                  </a:cubicBezTo>
                  <a:cubicBezTo>
                    <a:pt x="339856" y="272712"/>
                    <a:pt x="337742" y="243828"/>
                    <a:pt x="333848" y="216722"/>
                  </a:cubicBezTo>
                  <a:cubicBezTo>
                    <a:pt x="306703" y="212723"/>
                    <a:pt x="277778" y="210723"/>
                    <a:pt x="247963" y="210723"/>
                  </a:cubicBezTo>
                  <a:cubicBezTo>
                    <a:pt x="246295" y="210723"/>
                    <a:pt x="244626" y="210723"/>
                    <a:pt x="242957" y="210723"/>
                  </a:cubicBezTo>
                  <a:lnTo>
                    <a:pt x="242957" y="162287"/>
                  </a:lnTo>
                  <a:cubicBezTo>
                    <a:pt x="244626" y="162287"/>
                    <a:pt x="246295" y="162176"/>
                    <a:pt x="247963" y="162176"/>
                  </a:cubicBezTo>
                  <a:cubicBezTo>
                    <a:pt x="273996" y="162176"/>
                    <a:pt x="299472" y="163731"/>
                    <a:pt x="323836" y="166509"/>
                  </a:cubicBezTo>
                  <a:cubicBezTo>
                    <a:pt x="319386" y="149067"/>
                    <a:pt x="314046" y="132848"/>
                    <a:pt x="307705" y="118073"/>
                  </a:cubicBezTo>
                  <a:cubicBezTo>
                    <a:pt x="290350" y="77080"/>
                    <a:pt x="268100" y="52640"/>
                    <a:pt x="247963" y="52640"/>
                  </a:cubicBezTo>
                  <a:cubicBezTo>
                    <a:pt x="246295" y="52640"/>
                    <a:pt x="244626" y="52862"/>
                    <a:pt x="242957" y="53196"/>
                  </a:cubicBezTo>
                  <a:lnTo>
                    <a:pt x="242957" y="4204"/>
                  </a:lnTo>
                  <a:cubicBezTo>
                    <a:pt x="244626" y="4204"/>
                    <a:pt x="246295" y="4093"/>
                    <a:pt x="247963" y="4093"/>
                  </a:cubicBezTo>
                  <a:close/>
                  <a:moveTo>
                    <a:pt x="101779" y="0"/>
                  </a:moveTo>
                  <a:lnTo>
                    <a:pt x="121134" y="0"/>
                  </a:lnTo>
                  <a:cubicBezTo>
                    <a:pt x="154171" y="0"/>
                    <a:pt x="180978" y="26773"/>
                    <a:pt x="180978" y="59656"/>
                  </a:cubicBezTo>
                  <a:lnTo>
                    <a:pt x="180978" y="78430"/>
                  </a:lnTo>
                  <a:cubicBezTo>
                    <a:pt x="183203" y="81541"/>
                    <a:pt x="184315" y="85318"/>
                    <a:pt x="184315" y="89095"/>
                  </a:cubicBezTo>
                  <a:lnTo>
                    <a:pt x="184315" y="102426"/>
                  </a:lnTo>
                  <a:cubicBezTo>
                    <a:pt x="184315" y="107869"/>
                    <a:pt x="181868" y="113090"/>
                    <a:pt x="177752" y="116534"/>
                  </a:cubicBezTo>
                  <a:cubicBezTo>
                    <a:pt x="176751" y="119867"/>
                    <a:pt x="175416" y="123311"/>
                    <a:pt x="173859" y="126643"/>
                  </a:cubicBezTo>
                  <a:cubicBezTo>
                    <a:pt x="170856" y="134753"/>
                    <a:pt x="166406" y="143085"/>
                    <a:pt x="161067" y="150861"/>
                  </a:cubicBezTo>
                  <a:cubicBezTo>
                    <a:pt x="158842" y="154083"/>
                    <a:pt x="155839" y="157860"/>
                    <a:pt x="152502" y="161748"/>
                  </a:cubicBezTo>
                  <a:cubicBezTo>
                    <a:pt x="155505" y="163192"/>
                    <a:pt x="158175" y="165192"/>
                    <a:pt x="160400" y="167747"/>
                  </a:cubicBezTo>
                  <a:lnTo>
                    <a:pt x="204115" y="176412"/>
                  </a:lnTo>
                  <a:cubicBezTo>
                    <a:pt x="215461" y="178745"/>
                    <a:pt x="223692" y="188743"/>
                    <a:pt x="223692" y="200407"/>
                  </a:cubicBezTo>
                  <a:lnTo>
                    <a:pt x="223692" y="358044"/>
                  </a:lnTo>
                  <a:cubicBezTo>
                    <a:pt x="223692" y="361710"/>
                    <a:pt x="222913" y="365154"/>
                    <a:pt x="221467" y="368265"/>
                  </a:cubicBezTo>
                  <a:lnTo>
                    <a:pt x="221467" y="385484"/>
                  </a:lnTo>
                  <a:cubicBezTo>
                    <a:pt x="221467" y="397259"/>
                    <a:pt x="211901" y="406813"/>
                    <a:pt x="200110" y="406813"/>
                  </a:cubicBezTo>
                  <a:cubicBezTo>
                    <a:pt x="195772" y="406813"/>
                    <a:pt x="191879" y="405591"/>
                    <a:pt x="188431" y="403369"/>
                  </a:cubicBezTo>
                  <a:lnTo>
                    <a:pt x="188431" y="566561"/>
                  </a:lnTo>
                  <a:cubicBezTo>
                    <a:pt x="188431" y="587668"/>
                    <a:pt x="171301" y="604887"/>
                    <a:pt x="150166" y="604887"/>
                  </a:cubicBezTo>
                  <a:cubicBezTo>
                    <a:pt x="129032" y="604887"/>
                    <a:pt x="111902" y="587668"/>
                    <a:pt x="111902" y="566561"/>
                  </a:cubicBezTo>
                  <a:cubicBezTo>
                    <a:pt x="111902" y="587668"/>
                    <a:pt x="94772" y="604887"/>
                    <a:pt x="73526" y="604887"/>
                  </a:cubicBezTo>
                  <a:cubicBezTo>
                    <a:pt x="52391" y="604887"/>
                    <a:pt x="35261" y="587668"/>
                    <a:pt x="35261" y="566561"/>
                  </a:cubicBezTo>
                  <a:lnTo>
                    <a:pt x="35261" y="403369"/>
                  </a:lnTo>
                  <a:cubicBezTo>
                    <a:pt x="31924" y="405591"/>
                    <a:pt x="27920" y="406813"/>
                    <a:pt x="23582" y="406813"/>
                  </a:cubicBezTo>
                  <a:cubicBezTo>
                    <a:pt x="11791" y="406813"/>
                    <a:pt x="2225" y="397259"/>
                    <a:pt x="2225" y="385484"/>
                  </a:cubicBezTo>
                  <a:lnTo>
                    <a:pt x="2225" y="368265"/>
                  </a:lnTo>
                  <a:cubicBezTo>
                    <a:pt x="779" y="365154"/>
                    <a:pt x="0" y="361710"/>
                    <a:pt x="0" y="358044"/>
                  </a:cubicBezTo>
                  <a:lnTo>
                    <a:pt x="0" y="200296"/>
                  </a:lnTo>
                  <a:cubicBezTo>
                    <a:pt x="0" y="188743"/>
                    <a:pt x="8231" y="178745"/>
                    <a:pt x="19577" y="176412"/>
                  </a:cubicBezTo>
                  <a:lnTo>
                    <a:pt x="62625" y="167747"/>
                  </a:lnTo>
                  <a:cubicBezTo>
                    <a:pt x="64850" y="165192"/>
                    <a:pt x="67519" y="163192"/>
                    <a:pt x="70522" y="161748"/>
                  </a:cubicBezTo>
                  <a:cubicBezTo>
                    <a:pt x="67074" y="157971"/>
                    <a:pt x="64182" y="154083"/>
                    <a:pt x="61957" y="150861"/>
                  </a:cubicBezTo>
                  <a:cubicBezTo>
                    <a:pt x="56618" y="143085"/>
                    <a:pt x="52169" y="134753"/>
                    <a:pt x="49054" y="126643"/>
                  </a:cubicBezTo>
                  <a:cubicBezTo>
                    <a:pt x="47497" y="123311"/>
                    <a:pt x="46273" y="119867"/>
                    <a:pt x="45161" y="116534"/>
                  </a:cubicBezTo>
                  <a:cubicBezTo>
                    <a:pt x="41045" y="113090"/>
                    <a:pt x="38598" y="107869"/>
                    <a:pt x="38598" y="102426"/>
                  </a:cubicBezTo>
                  <a:lnTo>
                    <a:pt x="38598" y="89095"/>
                  </a:lnTo>
                  <a:cubicBezTo>
                    <a:pt x="38598" y="85318"/>
                    <a:pt x="39822" y="81541"/>
                    <a:pt x="42047" y="78430"/>
                  </a:cubicBezTo>
                  <a:lnTo>
                    <a:pt x="42047" y="59656"/>
                  </a:lnTo>
                  <a:cubicBezTo>
                    <a:pt x="42047" y="26773"/>
                    <a:pt x="68854" y="0"/>
                    <a:pt x="101779" y="0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6" name="任意多边形: 形状 25"/>
            <p:cNvSpPr/>
            <p:nvPr/>
          </p:nvSpPr>
          <p:spPr>
            <a:xfrm>
              <a:off x="7149800" y="3653601"/>
              <a:ext cx="383125" cy="423926"/>
            </a:xfrm>
            <a:custGeom>
              <a:avLst/>
              <a:gdLst>
                <a:gd name="connsiteX0" fmla="*/ 481589 w 546670"/>
                <a:gd name="connsiteY0" fmla="*/ 391913 h 604887"/>
                <a:gd name="connsiteX1" fmla="*/ 451551 w 546670"/>
                <a:gd name="connsiteY1" fmla="*/ 406688 h 604887"/>
                <a:gd name="connsiteX2" fmla="*/ 375678 w 546670"/>
                <a:gd name="connsiteY2" fmla="*/ 429906 h 604887"/>
                <a:gd name="connsiteX3" fmla="*/ 352427 w 546670"/>
                <a:gd name="connsiteY3" fmla="*/ 505670 h 604887"/>
                <a:gd name="connsiteX4" fmla="*/ 337631 w 546670"/>
                <a:gd name="connsiteY4" fmla="*/ 535554 h 604887"/>
                <a:gd name="connsiteX5" fmla="*/ 481589 w 546670"/>
                <a:gd name="connsiteY5" fmla="*/ 391913 h 604887"/>
                <a:gd name="connsiteX6" fmla="*/ 384133 w 546670"/>
                <a:gd name="connsiteY6" fmla="*/ 226609 h 604887"/>
                <a:gd name="connsiteX7" fmla="*/ 388361 w 546670"/>
                <a:gd name="connsiteY7" fmla="*/ 302373 h 604887"/>
                <a:gd name="connsiteX8" fmla="*/ 384133 w 546670"/>
                <a:gd name="connsiteY8" fmla="*/ 378137 h 604887"/>
                <a:gd name="connsiteX9" fmla="*/ 432639 w 546670"/>
                <a:gd name="connsiteY9" fmla="*/ 362029 h 604887"/>
                <a:gd name="connsiteX10" fmla="*/ 498165 w 546670"/>
                <a:gd name="connsiteY10" fmla="*/ 302373 h 604887"/>
                <a:gd name="connsiteX11" fmla="*/ 432639 w 546670"/>
                <a:gd name="connsiteY11" fmla="*/ 242717 h 604887"/>
                <a:gd name="connsiteX12" fmla="*/ 384133 w 546670"/>
                <a:gd name="connsiteY12" fmla="*/ 226609 h 604887"/>
                <a:gd name="connsiteX13" fmla="*/ 135706 w 546670"/>
                <a:gd name="connsiteY13" fmla="*/ 175523 h 604887"/>
                <a:gd name="connsiteX14" fmla="*/ 126473 w 546670"/>
                <a:gd name="connsiteY14" fmla="*/ 178856 h 604887"/>
                <a:gd name="connsiteX15" fmla="*/ 123248 w 546670"/>
                <a:gd name="connsiteY15" fmla="*/ 182633 h 604887"/>
                <a:gd name="connsiteX16" fmla="*/ 123248 w 546670"/>
                <a:gd name="connsiteY16" fmla="*/ 192075 h 604887"/>
                <a:gd name="connsiteX17" fmla="*/ 121801 w 546670"/>
                <a:gd name="connsiteY17" fmla="*/ 193075 h 604887"/>
                <a:gd name="connsiteX18" fmla="*/ 120912 w 546670"/>
                <a:gd name="connsiteY18" fmla="*/ 196075 h 604887"/>
                <a:gd name="connsiteX19" fmla="*/ 122914 w 546670"/>
                <a:gd name="connsiteY19" fmla="*/ 216404 h 604887"/>
                <a:gd name="connsiteX20" fmla="*/ 125695 w 546670"/>
                <a:gd name="connsiteY20" fmla="*/ 219737 h 604887"/>
                <a:gd name="connsiteX21" fmla="*/ 126807 w 546670"/>
                <a:gd name="connsiteY21" fmla="*/ 219848 h 604887"/>
                <a:gd name="connsiteX22" fmla="*/ 129810 w 546670"/>
                <a:gd name="connsiteY22" fmla="*/ 218293 h 604887"/>
                <a:gd name="connsiteX23" fmla="*/ 140600 w 546670"/>
                <a:gd name="connsiteY23" fmla="*/ 204073 h 604887"/>
                <a:gd name="connsiteX24" fmla="*/ 141379 w 546670"/>
                <a:gd name="connsiteY24" fmla="*/ 201740 h 604887"/>
                <a:gd name="connsiteX25" fmla="*/ 141379 w 546670"/>
                <a:gd name="connsiteY25" fmla="*/ 178856 h 604887"/>
                <a:gd name="connsiteX26" fmla="*/ 139488 w 546670"/>
                <a:gd name="connsiteY26" fmla="*/ 175634 h 604887"/>
                <a:gd name="connsiteX27" fmla="*/ 135706 w 546670"/>
                <a:gd name="connsiteY27" fmla="*/ 175523 h 604887"/>
                <a:gd name="connsiteX28" fmla="*/ 87208 w 546670"/>
                <a:gd name="connsiteY28" fmla="*/ 175523 h 604887"/>
                <a:gd name="connsiteX29" fmla="*/ 83537 w 546670"/>
                <a:gd name="connsiteY29" fmla="*/ 175634 h 604887"/>
                <a:gd name="connsiteX30" fmla="*/ 81646 w 546670"/>
                <a:gd name="connsiteY30" fmla="*/ 178856 h 604887"/>
                <a:gd name="connsiteX31" fmla="*/ 81646 w 546670"/>
                <a:gd name="connsiteY31" fmla="*/ 201740 h 604887"/>
                <a:gd name="connsiteX32" fmla="*/ 82425 w 546670"/>
                <a:gd name="connsiteY32" fmla="*/ 204073 h 604887"/>
                <a:gd name="connsiteX33" fmla="*/ 93103 w 546670"/>
                <a:gd name="connsiteY33" fmla="*/ 218293 h 604887"/>
                <a:gd name="connsiteX34" fmla="*/ 96218 w 546670"/>
                <a:gd name="connsiteY34" fmla="*/ 219848 h 604887"/>
                <a:gd name="connsiteX35" fmla="*/ 97219 w 546670"/>
                <a:gd name="connsiteY35" fmla="*/ 219737 h 604887"/>
                <a:gd name="connsiteX36" fmla="*/ 100000 w 546670"/>
                <a:gd name="connsiteY36" fmla="*/ 216404 h 604887"/>
                <a:gd name="connsiteX37" fmla="*/ 102113 w 546670"/>
                <a:gd name="connsiteY37" fmla="*/ 196075 h 604887"/>
                <a:gd name="connsiteX38" fmla="*/ 101112 w 546670"/>
                <a:gd name="connsiteY38" fmla="*/ 193075 h 604887"/>
                <a:gd name="connsiteX39" fmla="*/ 99666 w 546670"/>
                <a:gd name="connsiteY39" fmla="*/ 192075 h 604887"/>
                <a:gd name="connsiteX40" fmla="*/ 99666 w 546670"/>
                <a:gd name="connsiteY40" fmla="*/ 182633 h 604887"/>
                <a:gd name="connsiteX41" fmla="*/ 96551 w 546670"/>
                <a:gd name="connsiteY41" fmla="*/ 178856 h 604887"/>
                <a:gd name="connsiteX42" fmla="*/ 87208 w 546670"/>
                <a:gd name="connsiteY42" fmla="*/ 175523 h 604887"/>
                <a:gd name="connsiteX43" fmla="*/ 93214 w 546670"/>
                <a:gd name="connsiteY43" fmla="*/ 72653 h 604887"/>
                <a:gd name="connsiteX44" fmla="*/ 66629 w 546670"/>
                <a:gd name="connsiteY44" fmla="*/ 79652 h 604887"/>
                <a:gd name="connsiteX45" fmla="*/ 64516 w 546670"/>
                <a:gd name="connsiteY45" fmla="*/ 83096 h 604887"/>
                <a:gd name="connsiteX46" fmla="*/ 64516 w 546670"/>
                <a:gd name="connsiteY46" fmla="*/ 89872 h 604887"/>
                <a:gd name="connsiteX47" fmla="*/ 62959 w 546670"/>
                <a:gd name="connsiteY47" fmla="*/ 89872 h 604887"/>
                <a:gd name="connsiteX48" fmla="*/ 59065 w 546670"/>
                <a:gd name="connsiteY48" fmla="*/ 93761 h 604887"/>
                <a:gd name="connsiteX49" fmla="*/ 59065 w 546670"/>
                <a:gd name="connsiteY49" fmla="*/ 99982 h 604887"/>
                <a:gd name="connsiteX50" fmla="*/ 60845 w 546670"/>
                <a:gd name="connsiteY50" fmla="*/ 103203 h 604887"/>
                <a:gd name="connsiteX51" fmla="*/ 64516 w 546670"/>
                <a:gd name="connsiteY51" fmla="*/ 105647 h 604887"/>
                <a:gd name="connsiteX52" fmla="*/ 64738 w 546670"/>
                <a:gd name="connsiteY52" fmla="*/ 107202 h 604887"/>
                <a:gd name="connsiteX53" fmla="*/ 78531 w 546670"/>
                <a:gd name="connsiteY53" fmla="*/ 138974 h 604887"/>
                <a:gd name="connsiteX54" fmla="*/ 101223 w 546670"/>
                <a:gd name="connsiteY54" fmla="*/ 158526 h 604887"/>
                <a:gd name="connsiteX55" fmla="*/ 121801 w 546670"/>
                <a:gd name="connsiteY55" fmla="*/ 158526 h 604887"/>
                <a:gd name="connsiteX56" fmla="*/ 144493 w 546670"/>
                <a:gd name="connsiteY56" fmla="*/ 138974 h 604887"/>
                <a:gd name="connsiteX57" fmla="*/ 158175 w 546670"/>
                <a:gd name="connsiteY57" fmla="*/ 107202 h 604887"/>
                <a:gd name="connsiteX58" fmla="*/ 158398 w 546670"/>
                <a:gd name="connsiteY58" fmla="*/ 105647 h 604887"/>
                <a:gd name="connsiteX59" fmla="*/ 162179 w 546670"/>
                <a:gd name="connsiteY59" fmla="*/ 103203 h 604887"/>
                <a:gd name="connsiteX60" fmla="*/ 163848 w 546670"/>
                <a:gd name="connsiteY60" fmla="*/ 100093 h 604887"/>
                <a:gd name="connsiteX61" fmla="*/ 163848 w 546670"/>
                <a:gd name="connsiteY61" fmla="*/ 93761 h 604887"/>
                <a:gd name="connsiteX62" fmla="*/ 160066 w 546670"/>
                <a:gd name="connsiteY62" fmla="*/ 89872 h 604887"/>
                <a:gd name="connsiteX63" fmla="*/ 157953 w 546670"/>
                <a:gd name="connsiteY63" fmla="*/ 89872 h 604887"/>
                <a:gd name="connsiteX64" fmla="*/ 156729 w 546670"/>
                <a:gd name="connsiteY64" fmla="*/ 88650 h 604887"/>
                <a:gd name="connsiteX65" fmla="*/ 153058 w 546670"/>
                <a:gd name="connsiteY65" fmla="*/ 88317 h 604887"/>
                <a:gd name="connsiteX66" fmla="*/ 137930 w 546670"/>
                <a:gd name="connsiteY66" fmla="*/ 91761 h 604887"/>
                <a:gd name="connsiteX67" fmla="*/ 114460 w 546670"/>
                <a:gd name="connsiteY67" fmla="*/ 81207 h 604887"/>
                <a:gd name="connsiteX68" fmla="*/ 93214 w 546670"/>
                <a:gd name="connsiteY68" fmla="*/ 72653 h 604887"/>
                <a:gd name="connsiteX69" fmla="*/ 337631 w 546670"/>
                <a:gd name="connsiteY69" fmla="*/ 69193 h 604887"/>
                <a:gd name="connsiteX70" fmla="*/ 352427 w 546670"/>
                <a:gd name="connsiteY70" fmla="*/ 99187 h 604887"/>
                <a:gd name="connsiteX71" fmla="*/ 375678 w 546670"/>
                <a:gd name="connsiteY71" fmla="*/ 174952 h 604887"/>
                <a:gd name="connsiteX72" fmla="*/ 451551 w 546670"/>
                <a:gd name="connsiteY72" fmla="*/ 198059 h 604887"/>
                <a:gd name="connsiteX73" fmla="*/ 481589 w 546670"/>
                <a:gd name="connsiteY73" fmla="*/ 212945 h 604887"/>
                <a:gd name="connsiteX74" fmla="*/ 337631 w 546670"/>
                <a:gd name="connsiteY74" fmla="*/ 69193 h 604887"/>
                <a:gd name="connsiteX75" fmla="*/ 247963 w 546670"/>
                <a:gd name="connsiteY75" fmla="*/ 4093 h 604887"/>
                <a:gd name="connsiteX76" fmla="*/ 546670 w 546670"/>
                <a:gd name="connsiteY76" fmla="*/ 302373 h 604887"/>
                <a:gd name="connsiteX77" fmla="*/ 247963 w 546670"/>
                <a:gd name="connsiteY77" fmla="*/ 600653 h 604887"/>
                <a:gd name="connsiteX78" fmla="*/ 242957 w 546670"/>
                <a:gd name="connsiteY78" fmla="*/ 600653 h 604887"/>
                <a:gd name="connsiteX79" fmla="*/ 242957 w 546670"/>
                <a:gd name="connsiteY79" fmla="*/ 551662 h 604887"/>
                <a:gd name="connsiteX80" fmla="*/ 247963 w 546670"/>
                <a:gd name="connsiteY80" fmla="*/ 552217 h 604887"/>
                <a:gd name="connsiteX81" fmla="*/ 307705 w 546670"/>
                <a:gd name="connsiteY81" fmla="*/ 486674 h 604887"/>
                <a:gd name="connsiteX82" fmla="*/ 323836 w 546670"/>
                <a:gd name="connsiteY82" fmla="*/ 438238 h 604887"/>
                <a:gd name="connsiteX83" fmla="*/ 247963 w 546670"/>
                <a:gd name="connsiteY83" fmla="*/ 442570 h 604887"/>
                <a:gd name="connsiteX84" fmla="*/ 242957 w 546670"/>
                <a:gd name="connsiteY84" fmla="*/ 442570 h 604887"/>
                <a:gd name="connsiteX85" fmla="*/ 242957 w 546670"/>
                <a:gd name="connsiteY85" fmla="*/ 394024 h 604887"/>
                <a:gd name="connsiteX86" fmla="*/ 247963 w 546670"/>
                <a:gd name="connsiteY86" fmla="*/ 394135 h 604887"/>
                <a:gd name="connsiteX87" fmla="*/ 333848 w 546670"/>
                <a:gd name="connsiteY87" fmla="*/ 388136 h 604887"/>
                <a:gd name="connsiteX88" fmla="*/ 339856 w 546670"/>
                <a:gd name="connsiteY88" fmla="*/ 302373 h 604887"/>
                <a:gd name="connsiteX89" fmla="*/ 333848 w 546670"/>
                <a:gd name="connsiteY89" fmla="*/ 216722 h 604887"/>
                <a:gd name="connsiteX90" fmla="*/ 247963 w 546670"/>
                <a:gd name="connsiteY90" fmla="*/ 210723 h 604887"/>
                <a:gd name="connsiteX91" fmla="*/ 242957 w 546670"/>
                <a:gd name="connsiteY91" fmla="*/ 210723 h 604887"/>
                <a:gd name="connsiteX92" fmla="*/ 242957 w 546670"/>
                <a:gd name="connsiteY92" fmla="*/ 162287 h 604887"/>
                <a:gd name="connsiteX93" fmla="*/ 247963 w 546670"/>
                <a:gd name="connsiteY93" fmla="*/ 162176 h 604887"/>
                <a:gd name="connsiteX94" fmla="*/ 323836 w 546670"/>
                <a:gd name="connsiteY94" fmla="*/ 166509 h 604887"/>
                <a:gd name="connsiteX95" fmla="*/ 307705 w 546670"/>
                <a:gd name="connsiteY95" fmla="*/ 118073 h 604887"/>
                <a:gd name="connsiteX96" fmla="*/ 247963 w 546670"/>
                <a:gd name="connsiteY96" fmla="*/ 52640 h 604887"/>
                <a:gd name="connsiteX97" fmla="*/ 242957 w 546670"/>
                <a:gd name="connsiteY97" fmla="*/ 53196 h 604887"/>
                <a:gd name="connsiteX98" fmla="*/ 242957 w 546670"/>
                <a:gd name="connsiteY98" fmla="*/ 4204 h 604887"/>
                <a:gd name="connsiteX99" fmla="*/ 247963 w 546670"/>
                <a:gd name="connsiteY99" fmla="*/ 4093 h 604887"/>
                <a:gd name="connsiteX100" fmla="*/ 101779 w 546670"/>
                <a:gd name="connsiteY100" fmla="*/ 0 h 604887"/>
                <a:gd name="connsiteX101" fmla="*/ 121134 w 546670"/>
                <a:gd name="connsiteY101" fmla="*/ 0 h 604887"/>
                <a:gd name="connsiteX102" fmla="*/ 180978 w 546670"/>
                <a:gd name="connsiteY102" fmla="*/ 59656 h 604887"/>
                <a:gd name="connsiteX103" fmla="*/ 180978 w 546670"/>
                <a:gd name="connsiteY103" fmla="*/ 78430 h 604887"/>
                <a:gd name="connsiteX104" fmla="*/ 184315 w 546670"/>
                <a:gd name="connsiteY104" fmla="*/ 89095 h 604887"/>
                <a:gd name="connsiteX105" fmla="*/ 184315 w 546670"/>
                <a:gd name="connsiteY105" fmla="*/ 102426 h 604887"/>
                <a:gd name="connsiteX106" fmla="*/ 177752 w 546670"/>
                <a:gd name="connsiteY106" fmla="*/ 116534 h 604887"/>
                <a:gd name="connsiteX107" fmla="*/ 173859 w 546670"/>
                <a:gd name="connsiteY107" fmla="*/ 126643 h 604887"/>
                <a:gd name="connsiteX108" fmla="*/ 161067 w 546670"/>
                <a:gd name="connsiteY108" fmla="*/ 150861 h 604887"/>
                <a:gd name="connsiteX109" fmla="*/ 152502 w 546670"/>
                <a:gd name="connsiteY109" fmla="*/ 161748 h 604887"/>
                <a:gd name="connsiteX110" fmla="*/ 160400 w 546670"/>
                <a:gd name="connsiteY110" fmla="*/ 167747 h 604887"/>
                <a:gd name="connsiteX111" fmla="*/ 204115 w 546670"/>
                <a:gd name="connsiteY111" fmla="*/ 176412 h 604887"/>
                <a:gd name="connsiteX112" fmla="*/ 223692 w 546670"/>
                <a:gd name="connsiteY112" fmla="*/ 200407 h 604887"/>
                <a:gd name="connsiteX113" fmla="*/ 223692 w 546670"/>
                <a:gd name="connsiteY113" fmla="*/ 358044 h 604887"/>
                <a:gd name="connsiteX114" fmla="*/ 221467 w 546670"/>
                <a:gd name="connsiteY114" fmla="*/ 368265 h 604887"/>
                <a:gd name="connsiteX115" fmla="*/ 221467 w 546670"/>
                <a:gd name="connsiteY115" fmla="*/ 385484 h 604887"/>
                <a:gd name="connsiteX116" fmla="*/ 200110 w 546670"/>
                <a:gd name="connsiteY116" fmla="*/ 406813 h 604887"/>
                <a:gd name="connsiteX117" fmla="*/ 188431 w 546670"/>
                <a:gd name="connsiteY117" fmla="*/ 403369 h 604887"/>
                <a:gd name="connsiteX118" fmla="*/ 188431 w 546670"/>
                <a:gd name="connsiteY118" fmla="*/ 566561 h 604887"/>
                <a:gd name="connsiteX119" fmla="*/ 150166 w 546670"/>
                <a:gd name="connsiteY119" fmla="*/ 604887 h 604887"/>
                <a:gd name="connsiteX120" fmla="*/ 111902 w 546670"/>
                <a:gd name="connsiteY120" fmla="*/ 566561 h 604887"/>
                <a:gd name="connsiteX121" fmla="*/ 73526 w 546670"/>
                <a:gd name="connsiteY121" fmla="*/ 604887 h 604887"/>
                <a:gd name="connsiteX122" fmla="*/ 35261 w 546670"/>
                <a:gd name="connsiteY122" fmla="*/ 566561 h 604887"/>
                <a:gd name="connsiteX123" fmla="*/ 35261 w 546670"/>
                <a:gd name="connsiteY123" fmla="*/ 403369 h 604887"/>
                <a:gd name="connsiteX124" fmla="*/ 23582 w 546670"/>
                <a:gd name="connsiteY124" fmla="*/ 406813 h 604887"/>
                <a:gd name="connsiteX125" fmla="*/ 2225 w 546670"/>
                <a:gd name="connsiteY125" fmla="*/ 385484 h 604887"/>
                <a:gd name="connsiteX126" fmla="*/ 2225 w 546670"/>
                <a:gd name="connsiteY126" fmla="*/ 368265 h 604887"/>
                <a:gd name="connsiteX127" fmla="*/ 0 w 546670"/>
                <a:gd name="connsiteY127" fmla="*/ 358044 h 604887"/>
                <a:gd name="connsiteX128" fmla="*/ 0 w 546670"/>
                <a:gd name="connsiteY128" fmla="*/ 200296 h 604887"/>
                <a:gd name="connsiteX129" fmla="*/ 19577 w 546670"/>
                <a:gd name="connsiteY129" fmla="*/ 176412 h 604887"/>
                <a:gd name="connsiteX130" fmla="*/ 62625 w 546670"/>
                <a:gd name="connsiteY130" fmla="*/ 167747 h 604887"/>
                <a:gd name="connsiteX131" fmla="*/ 70522 w 546670"/>
                <a:gd name="connsiteY131" fmla="*/ 161748 h 604887"/>
                <a:gd name="connsiteX132" fmla="*/ 61957 w 546670"/>
                <a:gd name="connsiteY132" fmla="*/ 150861 h 604887"/>
                <a:gd name="connsiteX133" fmla="*/ 49054 w 546670"/>
                <a:gd name="connsiteY133" fmla="*/ 126643 h 604887"/>
                <a:gd name="connsiteX134" fmla="*/ 45161 w 546670"/>
                <a:gd name="connsiteY134" fmla="*/ 116534 h 604887"/>
                <a:gd name="connsiteX135" fmla="*/ 38598 w 546670"/>
                <a:gd name="connsiteY135" fmla="*/ 102426 h 604887"/>
                <a:gd name="connsiteX136" fmla="*/ 38598 w 546670"/>
                <a:gd name="connsiteY136" fmla="*/ 89095 h 604887"/>
                <a:gd name="connsiteX137" fmla="*/ 42047 w 546670"/>
                <a:gd name="connsiteY137" fmla="*/ 78430 h 604887"/>
                <a:gd name="connsiteX138" fmla="*/ 42047 w 546670"/>
                <a:gd name="connsiteY138" fmla="*/ 59656 h 604887"/>
                <a:gd name="connsiteX139" fmla="*/ 101779 w 546670"/>
                <a:gd name="connsiteY139" fmla="*/ 0 h 60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546670" h="604887">
                  <a:moveTo>
                    <a:pt x="481589" y="391913"/>
                  </a:moveTo>
                  <a:cubicBezTo>
                    <a:pt x="472466" y="397134"/>
                    <a:pt x="462454" y="402133"/>
                    <a:pt x="451551" y="406688"/>
                  </a:cubicBezTo>
                  <a:cubicBezTo>
                    <a:pt x="428967" y="416242"/>
                    <a:pt x="403269" y="424018"/>
                    <a:pt x="375678" y="429906"/>
                  </a:cubicBezTo>
                  <a:cubicBezTo>
                    <a:pt x="369782" y="457457"/>
                    <a:pt x="361995" y="483008"/>
                    <a:pt x="352427" y="505670"/>
                  </a:cubicBezTo>
                  <a:cubicBezTo>
                    <a:pt x="347866" y="516446"/>
                    <a:pt x="342860" y="526444"/>
                    <a:pt x="337631" y="535554"/>
                  </a:cubicBezTo>
                  <a:cubicBezTo>
                    <a:pt x="403602" y="510225"/>
                    <a:pt x="456112" y="457790"/>
                    <a:pt x="481589" y="391913"/>
                  </a:cubicBezTo>
                  <a:close/>
                  <a:moveTo>
                    <a:pt x="384133" y="226609"/>
                  </a:moveTo>
                  <a:cubicBezTo>
                    <a:pt x="386915" y="251049"/>
                    <a:pt x="388361" y="276489"/>
                    <a:pt x="388361" y="302373"/>
                  </a:cubicBezTo>
                  <a:cubicBezTo>
                    <a:pt x="388361" y="328369"/>
                    <a:pt x="386915" y="353697"/>
                    <a:pt x="384133" y="378137"/>
                  </a:cubicBezTo>
                  <a:cubicBezTo>
                    <a:pt x="401600" y="373694"/>
                    <a:pt x="417842" y="368250"/>
                    <a:pt x="432639" y="362029"/>
                  </a:cubicBezTo>
                  <a:cubicBezTo>
                    <a:pt x="473690" y="344699"/>
                    <a:pt x="498165" y="322370"/>
                    <a:pt x="498165" y="302373"/>
                  </a:cubicBezTo>
                  <a:cubicBezTo>
                    <a:pt x="498165" y="282377"/>
                    <a:pt x="473690" y="260047"/>
                    <a:pt x="432639" y="242717"/>
                  </a:cubicBezTo>
                  <a:cubicBezTo>
                    <a:pt x="417842" y="236496"/>
                    <a:pt x="401600" y="231164"/>
                    <a:pt x="384133" y="226609"/>
                  </a:cubicBezTo>
                  <a:close/>
                  <a:moveTo>
                    <a:pt x="135706" y="175523"/>
                  </a:moveTo>
                  <a:cubicBezTo>
                    <a:pt x="132591" y="177189"/>
                    <a:pt x="129477" y="178300"/>
                    <a:pt x="126473" y="178856"/>
                  </a:cubicBezTo>
                  <a:cubicBezTo>
                    <a:pt x="124582" y="179189"/>
                    <a:pt x="123248" y="180744"/>
                    <a:pt x="123248" y="182633"/>
                  </a:cubicBezTo>
                  <a:lnTo>
                    <a:pt x="123248" y="192075"/>
                  </a:lnTo>
                  <a:cubicBezTo>
                    <a:pt x="122691" y="192298"/>
                    <a:pt x="122246" y="192631"/>
                    <a:pt x="121801" y="193075"/>
                  </a:cubicBezTo>
                  <a:cubicBezTo>
                    <a:pt x="121134" y="193964"/>
                    <a:pt x="120689" y="194964"/>
                    <a:pt x="120912" y="196075"/>
                  </a:cubicBezTo>
                  <a:lnTo>
                    <a:pt x="122914" y="216404"/>
                  </a:lnTo>
                  <a:cubicBezTo>
                    <a:pt x="123136" y="217960"/>
                    <a:pt x="124249" y="219293"/>
                    <a:pt x="125695" y="219737"/>
                  </a:cubicBezTo>
                  <a:cubicBezTo>
                    <a:pt x="126028" y="219737"/>
                    <a:pt x="126473" y="219848"/>
                    <a:pt x="126807" y="219848"/>
                  </a:cubicBezTo>
                  <a:cubicBezTo>
                    <a:pt x="127919" y="219848"/>
                    <a:pt x="129032" y="219293"/>
                    <a:pt x="129810" y="218293"/>
                  </a:cubicBezTo>
                  <a:lnTo>
                    <a:pt x="140600" y="204073"/>
                  </a:lnTo>
                  <a:cubicBezTo>
                    <a:pt x="141045" y="203407"/>
                    <a:pt x="141379" y="202629"/>
                    <a:pt x="141379" y="201740"/>
                  </a:cubicBezTo>
                  <a:lnTo>
                    <a:pt x="141379" y="178856"/>
                  </a:lnTo>
                  <a:cubicBezTo>
                    <a:pt x="141379" y="177523"/>
                    <a:pt x="140600" y="176301"/>
                    <a:pt x="139488" y="175634"/>
                  </a:cubicBezTo>
                  <a:cubicBezTo>
                    <a:pt x="138375" y="174968"/>
                    <a:pt x="136929" y="174856"/>
                    <a:pt x="135706" y="175523"/>
                  </a:cubicBezTo>
                  <a:close/>
                  <a:moveTo>
                    <a:pt x="87208" y="175523"/>
                  </a:moveTo>
                  <a:cubicBezTo>
                    <a:pt x="86095" y="174856"/>
                    <a:pt x="84649" y="174968"/>
                    <a:pt x="83537" y="175634"/>
                  </a:cubicBezTo>
                  <a:cubicBezTo>
                    <a:pt x="82313" y="176301"/>
                    <a:pt x="81646" y="177523"/>
                    <a:pt x="81646" y="178856"/>
                  </a:cubicBezTo>
                  <a:lnTo>
                    <a:pt x="81646" y="201740"/>
                  </a:lnTo>
                  <a:cubicBezTo>
                    <a:pt x="81646" y="202629"/>
                    <a:pt x="81868" y="203407"/>
                    <a:pt x="82425" y="204073"/>
                  </a:cubicBezTo>
                  <a:lnTo>
                    <a:pt x="93103" y="218293"/>
                  </a:lnTo>
                  <a:cubicBezTo>
                    <a:pt x="93882" y="219293"/>
                    <a:pt x="94994" y="219848"/>
                    <a:pt x="96218" y="219848"/>
                  </a:cubicBezTo>
                  <a:cubicBezTo>
                    <a:pt x="96551" y="219848"/>
                    <a:pt x="96885" y="219848"/>
                    <a:pt x="97219" y="219737"/>
                  </a:cubicBezTo>
                  <a:cubicBezTo>
                    <a:pt x="98776" y="219293"/>
                    <a:pt x="99888" y="217960"/>
                    <a:pt x="100000" y="216404"/>
                  </a:cubicBezTo>
                  <a:lnTo>
                    <a:pt x="102113" y="196075"/>
                  </a:lnTo>
                  <a:cubicBezTo>
                    <a:pt x="102224" y="194964"/>
                    <a:pt x="101891" y="193964"/>
                    <a:pt x="101112" y="193075"/>
                  </a:cubicBezTo>
                  <a:cubicBezTo>
                    <a:pt x="100778" y="192631"/>
                    <a:pt x="100222" y="192298"/>
                    <a:pt x="99666" y="192075"/>
                  </a:cubicBezTo>
                  <a:lnTo>
                    <a:pt x="99666" y="182633"/>
                  </a:lnTo>
                  <a:cubicBezTo>
                    <a:pt x="99666" y="180744"/>
                    <a:pt x="98331" y="179189"/>
                    <a:pt x="96551" y="178856"/>
                  </a:cubicBezTo>
                  <a:cubicBezTo>
                    <a:pt x="93548" y="178300"/>
                    <a:pt x="90433" y="177189"/>
                    <a:pt x="87208" y="175523"/>
                  </a:cubicBezTo>
                  <a:close/>
                  <a:moveTo>
                    <a:pt x="93214" y="72653"/>
                  </a:moveTo>
                  <a:cubicBezTo>
                    <a:pt x="82313" y="72653"/>
                    <a:pt x="71857" y="77097"/>
                    <a:pt x="66629" y="79652"/>
                  </a:cubicBezTo>
                  <a:cubicBezTo>
                    <a:pt x="65294" y="80319"/>
                    <a:pt x="64516" y="81652"/>
                    <a:pt x="64516" y="83096"/>
                  </a:cubicBezTo>
                  <a:lnTo>
                    <a:pt x="64516" y="89872"/>
                  </a:lnTo>
                  <a:lnTo>
                    <a:pt x="62959" y="89872"/>
                  </a:lnTo>
                  <a:cubicBezTo>
                    <a:pt x="60845" y="89872"/>
                    <a:pt x="59065" y="91650"/>
                    <a:pt x="59065" y="93761"/>
                  </a:cubicBezTo>
                  <a:lnTo>
                    <a:pt x="59065" y="99982"/>
                  </a:lnTo>
                  <a:cubicBezTo>
                    <a:pt x="59065" y="101315"/>
                    <a:pt x="59733" y="102537"/>
                    <a:pt x="60845" y="103203"/>
                  </a:cubicBezTo>
                  <a:lnTo>
                    <a:pt x="64516" y="105647"/>
                  </a:lnTo>
                  <a:lnTo>
                    <a:pt x="64738" y="107202"/>
                  </a:lnTo>
                  <a:cubicBezTo>
                    <a:pt x="65962" y="116423"/>
                    <a:pt x="71079" y="128199"/>
                    <a:pt x="78531" y="138974"/>
                  </a:cubicBezTo>
                  <a:cubicBezTo>
                    <a:pt x="87875" y="152527"/>
                    <a:pt x="96663" y="158526"/>
                    <a:pt x="101223" y="158526"/>
                  </a:cubicBezTo>
                  <a:lnTo>
                    <a:pt x="121801" y="158526"/>
                  </a:lnTo>
                  <a:cubicBezTo>
                    <a:pt x="126362" y="158526"/>
                    <a:pt x="135150" y="152527"/>
                    <a:pt x="144493" y="138974"/>
                  </a:cubicBezTo>
                  <a:cubicBezTo>
                    <a:pt x="151835" y="128199"/>
                    <a:pt x="156951" y="116423"/>
                    <a:pt x="158175" y="107202"/>
                  </a:cubicBezTo>
                  <a:lnTo>
                    <a:pt x="158398" y="105647"/>
                  </a:lnTo>
                  <a:lnTo>
                    <a:pt x="162179" y="103203"/>
                  </a:lnTo>
                  <a:cubicBezTo>
                    <a:pt x="163181" y="102537"/>
                    <a:pt x="163848" y="101315"/>
                    <a:pt x="163848" y="100093"/>
                  </a:cubicBezTo>
                  <a:lnTo>
                    <a:pt x="163848" y="93761"/>
                  </a:lnTo>
                  <a:cubicBezTo>
                    <a:pt x="163848" y="91650"/>
                    <a:pt x="162179" y="89872"/>
                    <a:pt x="160066" y="89872"/>
                  </a:cubicBezTo>
                  <a:lnTo>
                    <a:pt x="157953" y="89872"/>
                  </a:lnTo>
                  <a:cubicBezTo>
                    <a:pt x="157619" y="89428"/>
                    <a:pt x="157285" y="88984"/>
                    <a:pt x="156729" y="88650"/>
                  </a:cubicBezTo>
                  <a:cubicBezTo>
                    <a:pt x="155617" y="87984"/>
                    <a:pt x="154282" y="87873"/>
                    <a:pt x="153058" y="88317"/>
                  </a:cubicBezTo>
                  <a:cubicBezTo>
                    <a:pt x="147942" y="90650"/>
                    <a:pt x="142825" y="91761"/>
                    <a:pt x="137930" y="91761"/>
                  </a:cubicBezTo>
                  <a:cubicBezTo>
                    <a:pt x="129254" y="91761"/>
                    <a:pt x="121357" y="88206"/>
                    <a:pt x="114460" y="81207"/>
                  </a:cubicBezTo>
                  <a:cubicBezTo>
                    <a:pt x="109010" y="75542"/>
                    <a:pt x="101779" y="72653"/>
                    <a:pt x="93214" y="72653"/>
                  </a:cubicBezTo>
                  <a:close/>
                  <a:moveTo>
                    <a:pt x="337631" y="69193"/>
                  </a:moveTo>
                  <a:cubicBezTo>
                    <a:pt x="342860" y="78302"/>
                    <a:pt x="347866" y="88300"/>
                    <a:pt x="352427" y="99187"/>
                  </a:cubicBezTo>
                  <a:cubicBezTo>
                    <a:pt x="361995" y="121739"/>
                    <a:pt x="369782" y="147290"/>
                    <a:pt x="375678" y="174952"/>
                  </a:cubicBezTo>
                  <a:cubicBezTo>
                    <a:pt x="403269" y="180728"/>
                    <a:pt x="428967" y="188505"/>
                    <a:pt x="451551" y="198059"/>
                  </a:cubicBezTo>
                  <a:cubicBezTo>
                    <a:pt x="462454" y="202724"/>
                    <a:pt x="472466" y="207612"/>
                    <a:pt x="481589" y="212945"/>
                  </a:cubicBezTo>
                  <a:cubicBezTo>
                    <a:pt x="456112" y="147068"/>
                    <a:pt x="403602" y="94633"/>
                    <a:pt x="337631" y="69193"/>
                  </a:cubicBezTo>
                  <a:close/>
                  <a:moveTo>
                    <a:pt x="247963" y="4093"/>
                  </a:moveTo>
                  <a:cubicBezTo>
                    <a:pt x="412725" y="4093"/>
                    <a:pt x="546670" y="137958"/>
                    <a:pt x="546670" y="302373"/>
                  </a:cubicBezTo>
                  <a:cubicBezTo>
                    <a:pt x="546670" y="466899"/>
                    <a:pt x="412725" y="600653"/>
                    <a:pt x="247963" y="600653"/>
                  </a:cubicBezTo>
                  <a:cubicBezTo>
                    <a:pt x="246295" y="600653"/>
                    <a:pt x="244626" y="600653"/>
                    <a:pt x="242957" y="600653"/>
                  </a:cubicBezTo>
                  <a:lnTo>
                    <a:pt x="242957" y="551662"/>
                  </a:lnTo>
                  <a:cubicBezTo>
                    <a:pt x="244626" y="551995"/>
                    <a:pt x="246295" y="552217"/>
                    <a:pt x="247963" y="552217"/>
                  </a:cubicBezTo>
                  <a:cubicBezTo>
                    <a:pt x="268100" y="552217"/>
                    <a:pt x="290350" y="527666"/>
                    <a:pt x="307705" y="486674"/>
                  </a:cubicBezTo>
                  <a:cubicBezTo>
                    <a:pt x="314046" y="472010"/>
                    <a:pt x="319386" y="455679"/>
                    <a:pt x="323836" y="438238"/>
                  </a:cubicBezTo>
                  <a:cubicBezTo>
                    <a:pt x="299472" y="441126"/>
                    <a:pt x="273996" y="442570"/>
                    <a:pt x="247963" y="442570"/>
                  </a:cubicBezTo>
                  <a:cubicBezTo>
                    <a:pt x="246295" y="442570"/>
                    <a:pt x="244626" y="442570"/>
                    <a:pt x="242957" y="442570"/>
                  </a:cubicBezTo>
                  <a:lnTo>
                    <a:pt x="242957" y="394024"/>
                  </a:lnTo>
                  <a:cubicBezTo>
                    <a:pt x="244626" y="394024"/>
                    <a:pt x="246295" y="394135"/>
                    <a:pt x="247963" y="394135"/>
                  </a:cubicBezTo>
                  <a:cubicBezTo>
                    <a:pt x="277778" y="394135"/>
                    <a:pt x="306703" y="392024"/>
                    <a:pt x="333848" y="388136"/>
                  </a:cubicBezTo>
                  <a:cubicBezTo>
                    <a:pt x="337742" y="361029"/>
                    <a:pt x="339856" y="332146"/>
                    <a:pt x="339856" y="302373"/>
                  </a:cubicBezTo>
                  <a:cubicBezTo>
                    <a:pt x="339856" y="272712"/>
                    <a:pt x="337742" y="243828"/>
                    <a:pt x="333848" y="216722"/>
                  </a:cubicBezTo>
                  <a:cubicBezTo>
                    <a:pt x="306703" y="212723"/>
                    <a:pt x="277778" y="210723"/>
                    <a:pt x="247963" y="210723"/>
                  </a:cubicBezTo>
                  <a:cubicBezTo>
                    <a:pt x="246295" y="210723"/>
                    <a:pt x="244626" y="210723"/>
                    <a:pt x="242957" y="210723"/>
                  </a:cubicBezTo>
                  <a:lnTo>
                    <a:pt x="242957" y="162287"/>
                  </a:lnTo>
                  <a:cubicBezTo>
                    <a:pt x="244626" y="162287"/>
                    <a:pt x="246295" y="162176"/>
                    <a:pt x="247963" y="162176"/>
                  </a:cubicBezTo>
                  <a:cubicBezTo>
                    <a:pt x="273996" y="162176"/>
                    <a:pt x="299472" y="163731"/>
                    <a:pt x="323836" y="166509"/>
                  </a:cubicBezTo>
                  <a:cubicBezTo>
                    <a:pt x="319386" y="149067"/>
                    <a:pt x="314046" y="132848"/>
                    <a:pt x="307705" y="118073"/>
                  </a:cubicBezTo>
                  <a:cubicBezTo>
                    <a:pt x="290350" y="77080"/>
                    <a:pt x="268100" y="52640"/>
                    <a:pt x="247963" y="52640"/>
                  </a:cubicBezTo>
                  <a:cubicBezTo>
                    <a:pt x="246295" y="52640"/>
                    <a:pt x="244626" y="52862"/>
                    <a:pt x="242957" y="53196"/>
                  </a:cubicBezTo>
                  <a:lnTo>
                    <a:pt x="242957" y="4204"/>
                  </a:lnTo>
                  <a:cubicBezTo>
                    <a:pt x="244626" y="4204"/>
                    <a:pt x="246295" y="4093"/>
                    <a:pt x="247963" y="4093"/>
                  </a:cubicBezTo>
                  <a:close/>
                  <a:moveTo>
                    <a:pt x="101779" y="0"/>
                  </a:moveTo>
                  <a:lnTo>
                    <a:pt x="121134" y="0"/>
                  </a:lnTo>
                  <a:cubicBezTo>
                    <a:pt x="154171" y="0"/>
                    <a:pt x="180978" y="26773"/>
                    <a:pt x="180978" y="59656"/>
                  </a:cubicBezTo>
                  <a:lnTo>
                    <a:pt x="180978" y="78430"/>
                  </a:lnTo>
                  <a:cubicBezTo>
                    <a:pt x="183203" y="81541"/>
                    <a:pt x="184315" y="85318"/>
                    <a:pt x="184315" y="89095"/>
                  </a:cubicBezTo>
                  <a:lnTo>
                    <a:pt x="184315" y="102426"/>
                  </a:lnTo>
                  <a:cubicBezTo>
                    <a:pt x="184315" y="107869"/>
                    <a:pt x="181868" y="113090"/>
                    <a:pt x="177752" y="116534"/>
                  </a:cubicBezTo>
                  <a:cubicBezTo>
                    <a:pt x="176751" y="119867"/>
                    <a:pt x="175416" y="123311"/>
                    <a:pt x="173859" y="126643"/>
                  </a:cubicBezTo>
                  <a:cubicBezTo>
                    <a:pt x="170856" y="134753"/>
                    <a:pt x="166406" y="143085"/>
                    <a:pt x="161067" y="150861"/>
                  </a:cubicBezTo>
                  <a:cubicBezTo>
                    <a:pt x="158842" y="154083"/>
                    <a:pt x="155839" y="157860"/>
                    <a:pt x="152502" y="161748"/>
                  </a:cubicBezTo>
                  <a:cubicBezTo>
                    <a:pt x="155505" y="163192"/>
                    <a:pt x="158175" y="165192"/>
                    <a:pt x="160400" y="167747"/>
                  </a:cubicBezTo>
                  <a:lnTo>
                    <a:pt x="204115" y="176412"/>
                  </a:lnTo>
                  <a:cubicBezTo>
                    <a:pt x="215461" y="178745"/>
                    <a:pt x="223692" y="188743"/>
                    <a:pt x="223692" y="200407"/>
                  </a:cubicBezTo>
                  <a:lnTo>
                    <a:pt x="223692" y="358044"/>
                  </a:lnTo>
                  <a:cubicBezTo>
                    <a:pt x="223692" y="361710"/>
                    <a:pt x="222913" y="365154"/>
                    <a:pt x="221467" y="368265"/>
                  </a:cubicBezTo>
                  <a:lnTo>
                    <a:pt x="221467" y="385484"/>
                  </a:lnTo>
                  <a:cubicBezTo>
                    <a:pt x="221467" y="397259"/>
                    <a:pt x="211901" y="406813"/>
                    <a:pt x="200110" y="406813"/>
                  </a:cubicBezTo>
                  <a:cubicBezTo>
                    <a:pt x="195772" y="406813"/>
                    <a:pt x="191879" y="405591"/>
                    <a:pt x="188431" y="403369"/>
                  </a:cubicBezTo>
                  <a:lnTo>
                    <a:pt x="188431" y="566561"/>
                  </a:lnTo>
                  <a:cubicBezTo>
                    <a:pt x="188431" y="587668"/>
                    <a:pt x="171301" y="604887"/>
                    <a:pt x="150166" y="604887"/>
                  </a:cubicBezTo>
                  <a:cubicBezTo>
                    <a:pt x="129032" y="604887"/>
                    <a:pt x="111902" y="587668"/>
                    <a:pt x="111902" y="566561"/>
                  </a:cubicBezTo>
                  <a:cubicBezTo>
                    <a:pt x="111902" y="587668"/>
                    <a:pt x="94772" y="604887"/>
                    <a:pt x="73526" y="604887"/>
                  </a:cubicBezTo>
                  <a:cubicBezTo>
                    <a:pt x="52391" y="604887"/>
                    <a:pt x="35261" y="587668"/>
                    <a:pt x="35261" y="566561"/>
                  </a:cubicBezTo>
                  <a:lnTo>
                    <a:pt x="35261" y="403369"/>
                  </a:lnTo>
                  <a:cubicBezTo>
                    <a:pt x="31924" y="405591"/>
                    <a:pt x="27920" y="406813"/>
                    <a:pt x="23582" y="406813"/>
                  </a:cubicBezTo>
                  <a:cubicBezTo>
                    <a:pt x="11791" y="406813"/>
                    <a:pt x="2225" y="397259"/>
                    <a:pt x="2225" y="385484"/>
                  </a:cubicBezTo>
                  <a:lnTo>
                    <a:pt x="2225" y="368265"/>
                  </a:lnTo>
                  <a:cubicBezTo>
                    <a:pt x="779" y="365154"/>
                    <a:pt x="0" y="361710"/>
                    <a:pt x="0" y="358044"/>
                  </a:cubicBezTo>
                  <a:lnTo>
                    <a:pt x="0" y="200296"/>
                  </a:lnTo>
                  <a:cubicBezTo>
                    <a:pt x="0" y="188743"/>
                    <a:pt x="8231" y="178745"/>
                    <a:pt x="19577" y="176412"/>
                  </a:cubicBezTo>
                  <a:lnTo>
                    <a:pt x="62625" y="167747"/>
                  </a:lnTo>
                  <a:cubicBezTo>
                    <a:pt x="64850" y="165192"/>
                    <a:pt x="67519" y="163192"/>
                    <a:pt x="70522" y="161748"/>
                  </a:cubicBezTo>
                  <a:cubicBezTo>
                    <a:pt x="67074" y="157971"/>
                    <a:pt x="64182" y="154083"/>
                    <a:pt x="61957" y="150861"/>
                  </a:cubicBezTo>
                  <a:cubicBezTo>
                    <a:pt x="56618" y="143085"/>
                    <a:pt x="52169" y="134753"/>
                    <a:pt x="49054" y="126643"/>
                  </a:cubicBezTo>
                  <a:cubicBezTo>
                    <a:pt x="47497" y="123311"/>
                    <a:pt x="46273" y="119867"/>
                    <a:pt x="45161" y="116534"/>
                  </a:cubicBezTo>
                  <a:cubicBezTo>
                    <a:pt x="41045" y="113090"/>
                    <a:pt x="38598" y="107869"/>
                    <a:pt x="38598" y="102426"/>
                  </a:cubicBezTo>
                  <a:lnTo>
                    <a:pt x="38598" y="89095"/>
                  </a:lnTo>
                  <a:cubicBezTo>
                    <a:pt x="38598" y="85318"/>
                    <a:pt x="39822" y="81541"/>
                    <a:pt x="42047" y="78430"/>
                  </a:cubicBezTo>
                  <a:lnTo>
                    <a:pt x="42047" y="59656"/>
                  </a:lnTo>
                  <a:cubicBezTo>
                    <a:pt x="42047" y="26773"/>
                    <a:pt x="68854" y="0"/>
                    <a:pt x="101779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7" name="任意多边形: 形状 26"/>
            <p:cNvSpPr/>
            <p:nvPr/>
          </p:nvSpPr>
          <p:spPr>
            <a:xfrm>
              <a:off x="9640524" y="3653601"/>
              <a:ext cx="383125" cy="423926"/>
            </a:xfrm>
            <a:custGeom>
              <a:avLst/>
              <a:gdLst>
                <a:gd name="connsiteX0" fmla="*/ 481589 w 546670"/>
                <a:gd name="connsiteY0" fmla="*/ 391913 h 604887"/>
                <a:gd name="connsiteX1" fmla="*/ 451551 w 546670"/>
                <a:gd name="connsiteY1" fmla="*/ 406688 h 604887"/>
                <a:gd name="connsiteX2" fmla="*/ 375678 w 546670"/>
                <a:gd name="connsiteY2" fmla="*/ 429906 h 604887"/>
                <a:gd name="connsiteX3" fmla="*/ 352427 w 546670"/>
                <a:gd name="connsiteY3" fmla="*/ 505670 h 604887"/>
                <a:gd name="connsiteX4" fmla="*/ 337631 w 546670"/>
                <a:gd name="connsiteY4" fmla="*/ 535554 h 604887"/>
                <a:gd name="connsiteX5" fmla="*/ 481589 w 546670"/>
                <a:gd name="connsiteY5" fmla="*/ 391913 h 604887"/>
                <a:gd name="connsiteX6" fmla="*/ 384133 w 546670"/>
                <a:gd name="connsiteY6" fmla="*/ 226609 h 604887"/>
                <a:gd name="connsiteX7" fmla="*/ 388361 w 546670"/>
                <a:gd name="connsiteY7" fmla="*/ 302373 h 604887"/>
                <a:gd name="connsiteX8" fmla="*/ 384133 w 546670"/>
                <a:gd name="connsiteY8" fmla="*/ 378137 h 604887"/>
                <a:gd name="connsiteX9" fmla="*/ 432639 w 546670"/>
                <a:gd name="connsiteY9" fmla="*/ 362029 h 604887"/>
                <a:gd name="connsiteX10" fmla="*/ 498165 w 546670"/>
                <a:gd name="connsiteY10" fmla="*/ 302373 h 604887"/>
                <a:gd name="connsiteX11" fmla="*/ 432639 w 546670"/>
                <a:gd name="connsiteY11" fmla="*/ 242717 h 604887"/>
                <a:gd name="connsiteX12" fmla="*/ 384133 w 546670"/>
                <a:gd name="connsiteY12" fmla="*/ 226609 h 604887"/>
                <a:gd name="connsiteX13" fmla="*/ 135706 w 546670"/>
                <a:gd name="connsiteY13" fmla="*/ 175523 h 604887"/>
                <a:gd name="connsiteX14" fmla="*/ 126473 w 546670"/>
                <a:gd name="connsiteY14" fmla="*/ 178856 h 604887"/>
                <a:gd name="connsiteX15" fmla="*/ 123248 w 546670"/>
                <a:gd name="connsiteY15" fmla="*/ 182633 h 604887"/>
                <a:gd name="connsiteX16" fmla="*/ 123248 w 546670"/>
                <a:gd name="connsiteY16" fmla="*/ 192075 h 604887"/>
                <a:gd name="connsiteX17" fmla="*/ 121801 w 546670"/>
                <a:gd name="connsiteY17" fmla="*/ 193075 h 604887"/>
                <a:gd name="connsiteX18" fmla="*/ 120912 w 546670"/>
                <a:gd name="connsiteY18" fmla="*/ 196075 h 604887"/>
                <a:gd name="connsiteX19" fmla="*/ 122914 w 546670"/>
                <a:gd name="connsiteY19" fmla="*/ 216404 h 604887"/>
                <a:gd name="connsiteX20" fmla="*/ 125695 w 546670"/>
                <a:gd name="connsiteY20" fmla="*/ 219737 h 604887"/>
                <a:gd name="connsiteX21" fmla="*/ 126807 w 546670"/>
                <a:gd name="connsiteY21" fmla="*/ 219848 h 604887"/>
                <a:gd name="connsiteX22" fmla="*/ 129810 w 546670"/>
                <a:gd name="connsiteY22" fmla="*/ 218293 h 604887"/>
                <a:gd name="connsiteX23" fmla="*/ 140600 w 546670"/>
                <a:gd name="connsiteY23" fmla="*/ 204073 h 604887"/>
                <a:gd name="connsiteX24" fmla="*/ 141379 w 546670"/>
                <a:gd name="connsiteY24" fmla="*/ 201740 h 604887"/>
                <a:gd name="connsiteX25" fmla="*/ 141379 w 546670"/>
                <a:gd name="connsiteY25" fmla="*/ 178856 h 604887"/>
                <a:gd name="connsiteX26" fmla="*/ 139488 w 546670"/>
                <a:gd name="connsiteY26" fmla="*/ 175634 h 604887"/>
                <a:gd name="connsiteX27" fmla="*/ 135706 w 546670"/>
                <a:gd name="connsiteY27" fmla="*/ 175523 h 604887"/>
                <a:gd name="connsiteX28" fmla="*/ 87208 w 546670"/>
                <a:gd name="connsiteY28" fmla="*/ 175523 h 604887"/>
                <a:gd name="connsiteX29" fmla="*/ 83537 w 546670"/>
                <a:gd name="connsiteY29" fmla="*/ 175634 h 604887"/>
                <a:gd name="connsiteX30" fmla="*/ 81646 w 546670"/>
                <a:gd name="connsiteY30" fmla="*/ 178856 h 604887"/>
                <a:gd name="connsiteX31" fmla="*/ 81646 w 546670"/>
                <a:gd name="connsiteY31" fmla="*/ 201740 h 604887"/>
                <a:gd name="connsiteX32" fmla="*/ 82425 w 546670"/>
                <a:gd name="connsiteY32" fmla="*/ 204073 h 604887"/>
                <a:gd name="connsiteX33" fmla="*/ 93103 w 546670"/>
                <a:gd name="connsiteY33" fmla="*/ 218293 h 604887"/>
                <a:gd name="connsiteX34" fmla="*/ 96218 w 546670"/>
                <a:gd name="connsiteY34" fmla="*/ 219848 h 604887"/>
                <a:gd name="connsiteX35" fmla="*/ 97219 w 546670"/>
                <a:gd name="connsiteY35" fmla="*/ 219737 h 604887"/>
                <a:gd name="connsiteX36" fmla="*/ 100000 w 546670"/>
                <a:gd name="connsiteY36" fmla="*/ 216404 h 604887"/>
                <a:gd name="connsiteX37" fmla="*/ 102113 w 546670"/>
                <a:gd name="connsiteY37" fmla="*/ 196075 h 604887"/>
                <a:gd name="connsiteX38" fmla="*/ 101112 w 546670"/>
                <a:gd name="connsiteY38" fmla="*/ 193075 h 604887"/>
                <a:gd name="connsiteX39" fmla="*/ 99666 w 546670"/>
                <a:gd name="connsiteY39" fmla="*/ 192075 h 604887"/>
                <a:gd name="connsiteX40" fmla="*/ 99666 w 546670"/>
                <a:gd name="connsiteY40" fmla="*/ 182633 h 604887"/>
                <a:gd name="connsiteX41" fmla="*/ 96551 w 546670"/>
                <a:gd name="connsiteY41" fmla="*/ 178856 h 604887"/>
                <a:gd name="connsiteX42" fmla="*/ 87208 w 546670"/>
                <a:gd name="connsiteY42" fmla="*/ 175523 h 604887"/>
                <a:gd name="connsiteX43" fmla="*/ 93214 w 546670"/>
                <a:gd name="connsiteY43" fmla="*/ 72653 h 604887"/>
                <a:gd name="connsiteX44" fmla="*/ 66629 w 546670"/>
                <a:gd name="connsiteY44" fmla="*/ 79652 h 604887"/>
                <a:gd name="connsiteX45" fmla="*/ 64516 w 546670"/>
                <a:gd name="connsiteY45" fmla="*/ 83096 h 604887"/>
                <a:gd name="connsiteX46" fmla="*/ 64516 w 546670"/>
                <a:gd name="connsiteY46" fmla="*/ 89872 h 604887"/>
                <a:gd name="connsiteX47" fmla="*/ 62959 w 546670"/>
                <a:gd name="connsiteY47" fmla="*/ 89872 h 604887"/>
                <a:gd name="connsiteX48" fmla="*/ 59065 w 546670"/>
                <a:gd name="connsiteY48" fmla="*/ 93761 h 604887"/>
                <a:gd name="connsiteX49" fmla="*/ 59065 w 546670"/>
                <a:gd name="connsiteY49" fmla="*/ 99982 h 604887"/>
                <a:gd name="connsiteX50" fmla="*/ 60845 w 546670"/>
                <a:gd name="connsiteY50" fmla="*/ 103203 h 604887"/>
                <a:gd name="connsiteX51" fmla="*/ 64516 w 546670"/>
                <a:gd name="connsiteY51" fmla="*/ 105647 h 604887"/>
                <a:gd name="connsiteX52" fmla="*/ 64738 w 546670"/>
                <a:gd name="connsiteY52" fmla="*/ 107202 h 604887"/>
                <a:gd name="connsiteX53" fmla="*/ 78531 w 546670"/>
                <a:gd name="connsiteY53" fmla="*/ 138974 h 604887"/>
                <a:gd name="connsiteX54" fmla="*/ 101223 w 546670"/>
                <a:gd name="connsiteY54" fmla="*/ 158526 h 604887"/>
                <a:gd name="connsiteX55" fmla="*/ 121801 w 546670"/>
                <a:gd name="connsiteY55" fmla="*/ 158526 h 604887"/>
                <a:gd name="connsiteX56" fmla="*/ 144493 w 546670"/>
                <a:gd name="connsiteY56" fmla="*/ 138974 h 604887"/>
                <a:gd name="connsiteX57" fmla="*/ 158175 w 546670"/>
                <a:gd name="connsiteY57" fmla="*/ 107202 h 604887"/>
                <a:gd name="connsiteX58" fmla="*/ 158398 w 546670"/>
                <a:gd name="connsiteY58" fmla="*/ 105647 h 604887"/>
                <a:gd name="connsiteX59" fmla="*/ 162179 w 546670"/>
                <a:gd name="connsiteY59" fmla="*/ 103203 h 604887"/>
                <a:gd name="connsiteX60" fmla="*/ 163848 w 546670"/>
                <a:gd name="connsiteY60" fmla="*/ 100093 h 604887"/>
                <a:gd name="connsiteX61" fmla="*/ 163848 w 546670"/>
                <a:gd name="connsiteY61" fmla="*/ 93761 h 604887"/>
                <a:gd name="connsiteX62" fmla="*/ 160066 w 546670"/>
                <a:gd name="connsiteY62" fmla="*/ 89872 h 604887"/>
                <a:gd name="connsiteX63" fmla="*/ 157953 w 546670"/>
                <a:gd name="connsiteY63" fmla="*/ 89872 h 604887"/>
                <a:gd name="connsiteX64" fmla="*/ 156729 w 546670"/>
                <a:gd name="connsiteY64" fmla="*/ 88650 h 604887"/>
                <a:gd name="connsiteX65" fmla="*/ 153058 w 546670"/>
                <a:gd name="connsiteY65" fmla="*/ 88317 h 604887"/>
                <a:gd name="connsiteX66" fmla="*/ 137930 w 546670"/>
                <a:gd name="connsiteY66" fmla="*/ 91761 h 604887"/>
                <a:gd name="connsiteX67" fmla="*/ 114460 w 546670"/>
                <a:gd name="connsiteY67" fmla="*/ 81207 h 604887"/>
                <a:gd name="connsiteX68" fmla="*/ 93214 w 546670"/>
                <a:gd name="connsiteY68" fmla="*/ 72653 h 604887"/>
                <a:gd name="connsiteX69" fmla="*/ 337631 w 546670"/>
                <a:gd name="connsiteY69" fmla="*/ 69193 h 604887"/>
                <a:gd name="connsiteX70" fmla="*/ 352427 w 546670"/>
                <a:gd name="connsiteY70" fmla="*/ 99187 h 604887"/>
                <a:gd name="connsiteX71" fmla="*/ 375678 w 546670"/>
                <a:gd name="connsiteY71" fmla="*/ 174952 h 604887"/>
                <a:gd name="connsiteX72" fmla="*/ 451551 w 546670"/>
                <a:gd name="connsiteY72" fmla="*/ 198059 h 604887"/>
                <a:gd name="connsiteX73" fmla="*/ 481589 w 546670"/>
                <a:gd name="connsiteY73" fmla="*/ 212945 h 604887"/>
                <a:gd name="connsiteX74" fmla="*/ 337631 w 546670"/>
                <a:gd name="connsiteY74" fmla="*/ 69193 h 604887"/>
                <a:gd name="connsiteX75" fmla="*/ 247963 w 546670"/>
                <a:gd name="connsiteY75" fmla="*/ 4093 h 604887"/>
                <a:gd name="connsiteX76" fmla="*/ 546670 w 546670"/>
                <a:gd name="connsiteY76" fmla="*/ 302373 h 604887"/>
                <a:gd name="connsiteX77" fmla="*/ 247963 w 546670"/>
                <a:gd name="connsiteY77" fmla="*/ 600653 h 604887"/>
                <a:gd name="connsiteX78" fmla="*/ 242957 w 546670"/>
                <a:gd name="connsiteY78" fmla="*/ 600653 h 604887"/>
                <a:gd name="connsiteX79" fmla="*/ 242957 w 546670"/>
                <a:gd name="connsiteY79" fmla="*/ 551662 h 604887"/>
                <a:gd name="connsiteX80" fmla="*/ 247963 w 546670"/>
                <a:gd name="connsiteY80" fmla="*/ 552217 h 604887"/>
                <a:gd name="connsiteX81" fmla="*/ 307705 w 546670"/>
                <a:gd name="connsiteY81" fmla="*/ 486674 h 604887"/>
                <a:gd name="connsiteX82" fmla="*/ 323836 w 546670"/>
                <a:gd name="connsiteY82" fmla="*/ 438238 h 604887"/>
                <a:gd name="connsiteX83" fmla="*/ 247963 w 546670"/>
                <a:gd name="connsiteY83" fmla="*/ 442570 h 604887"/>
                <a:gd name="connsiteX84" fmla="*/ 242957 w 546670"/>
                <a:gd name="connsiteY84" fmla="*/ 442570 h 604887"/>
                <a:gd name="connsiteX85" fmla="*/ 242957 w 546670"/>
                <a:gd name="connsiteY85" fmla="*/ 394024 h 604887"/>
                <a:gd name="connsiteX86" fmla="*/ 247963 w 546670"/>
                <a:gd name="connsiteY86" fmla="*/ 394135 h 604887"/>
                <a:gd name="connsiteX87" fmla="*/ 333848 w 546670"/>
                <a:gd name="connsiteY87" fmla="*/ 388136 h 604887"/>
                <a:gd name="connsiteX88" fmla="*/ 339856 w 546670"/>
                <a:gd name="connsiteY88" fmla="*/ 302373 h 604887"/>
                <a:gd name="connsiteX89" fmla="*/ 333848 w 546670"/>
                <a:gd name="connsiteY89" fmla="*/ 216722 h 604887"/>
                <a:gd name="connsiteX90" fmla="*/ 247963 w 546670"/>
                <a:gd name="connsiteY90" fmla="*/ 210723 h 604887"/>
                <a:gd name="connsiteX91" fmla="*/ 242957 w 546670"/>
                <a:gd name="connsiteY91" fmla="*/ 210723 h 604887"/>
                <a:gd name="connsiteX92" fmla="*/ 242957 w 546670"/>
                <a:gd name="connsiteY92" fmla="*/ 162287 h 604887"/>
                <a:gd name="connsiteX93" fmla="*/ 247963 w 546670"/>
                <a:gd name="connsiteY93" fmla="*/ 162176 h 604887"/>
                <a:gd name="connsiteX94" fmla="*/ 323836 w 546670"/>
                <a:gd name="connsiteY94" fmla="*/ 166509 h 604887"/>
                <a:gd name="connsiteX95" fmla="*/ 307705 w 546670"/>
                <a:gd name="connsiteY95" fmla="*/ 118073 h 604887"/>
                <a:gd name="connsiteX96" fmla="*/ 247963 w 546670"/>
                <a:gd name="connsiteY96" fmla="*/ 52640 h 604887"/>
                <a:gd name="connsiteX97" fmla="*/ 242957 w 546670"/>
                <a:gd name="connsiteY97" fmla="*/ 53196 h 604887"/>
                <a:gd name="connsiteX98" fmla="*/ 242957 w 546670"/>
                <a:gd name="connsiteY98" fmla="*/ 4204 h 604887"/>
                <a:gd name="connsiteX99" fmla="*/ 247963 w 546670"/>
                <a:gd name="connsiteY99" fmla="*/ 4093 h 604887"/>
                <a:gd name="connsiteX100" fmla="*/ 101779 w 546670"/>
                <a:gd name="connsiteY100" fmla="*/ 0 h 604887"/>
                <a:gd name="connsiteX101" fmla="*/ 121134 w 546670"/>
                <a:gd name="connsiteY101" fmla="*/ 0 h 604887"/>
                <a:gd name="connsiteX102" fmla="*/ 180978 w 546670"/>
                <a:gd name="connsiteY102" fmla="*/ 59656 h 604887"/>
                <a:gd name="connsiteX103" fmla="*/ 180978 w 546670"/>
                <a:gd name="connsiteY103" fmla="*/ 78430 h 604887"/>
                <a:gd name="connsiteX104" fmla="*/ 184315 w 546670"/>
                <a:gd name="connsiteY104" fmla="*/ 89095 h 604887"/>
                <a:gd name="connsiteX105" fmla="*/ 184315 w 546670"/>
                <a:gd name="connsiteY105" fmla="*/ 102426 h 604887"/>
                <a:gd name="connsiteX106" fmla="*/ 177752 w 546670"/>
                <a:gd name="connsiteY106" fmla="*/ 116534 h 604887"/>
                <a:gd name="connsiteX107" fmla="*/ 173859 w 546670"/>
                <a:gd name="connsiteY107" fmla="*/ 126643 h 604887"/>
                <a:gd name="connsiteX108" fmla="*/ 161067 w 546670"/>
                <a:gd name="connsiteY108" fmla="*/ 150861 h 604887"/>
                <a:gd name="connsiteX109" fmla="*/ 152502 w 546670"/>
                <a:gd name="connsiteY109" fmla="*/ 161748 h 604887"/>
                <a:gd name="connsiteX110" fmla="*/ 160400 w 546670"/>
                <a:gd name="connsiteY110" fmla="*/ 167747 h 604887"/>
                <a:gd name="connsiteX111" fmla="*/ 204115 w 546670"/>
                <a:gd name="connsiteY111" fmla="*/ 176412 h 604887"/>
                <a:gd name="connsiteX112" fmla="*/ 223692 w 546670"/>
                <a:gd name="connsiteY112" fmla="*/ 200407 h 604887"/>
                <a:gd name="connsiteX113" fmla="*/ 223692 w 546670"/>
                <a:gd name="connsiteY113" fmla="*/ 358044 h 604887"/>
                <a:gd name="connsiteX114" fmla="*/ 221467 w 546670"/>
                <a:gd name="connsiteY114" fmla="*/ 368265 h 604887"/>
                <a:gd name="connsiteX115" fmla="*/ 221467 w 546670"/>
                <a:gd name="connsiteY115" fmla="*/ 385484 h 604887"/>
                <a:gd name="connsiteX116" fmla="*/ 200110 w 546670"/>
                <a:gd name="connsiteY116" fmla="*/ 406813 h 604887"/>
                <a:gd name="connsiteX117" fmla="*/ 188431 w 546670"/>
                <a:gd name="connsiteY117" fmla="*/ 403369 h 604887"/>
                <a:gd name="connsiteX118" fmla="*/ 188431 w 546670"/>
                <a:gd name="connsiteY118" fmla="*/ 566561 h 604887"/>
                <a:gd name="connsiteX119" fmla="*/ 150166 w 546670"/>
                <a:gd name="connsiteY119" fmla="*/ 604887 h 604887"/>
                <a:gd name="connsiteX120" fmla="*/ 111902 w 546670"/>
                <a:gd name="connsiteY120" fmla="*/ 566561 h 604887"/>
                <a:gd name="connsiteX121" fmla="*/ 73526 w 546670"/>
                <a:gd name="connsiteY121" fmla="*/ 604887 h 604887"/>
                <a:gd name="connsiteX122" fmla="*/ 35261 w 546670"/>
                <a:gd name="connsiteY122" fmla="*/ 566561 h 604887"/>
                <a:gd name="connsiteX123" fmla="*/ 35261 w 546670"/>
                <a:gd name="connsiteY123" fmla="*/ 403369 h 604887"/>
                <a:gd name="connsiteX124" fmla="*/ 23582 w 546670"/>
                <a:gd name="connsiteY124" fmla="*/ 406813 h 604887"/>
                <a:gd name="connsiteX125" fmla="*/ 2225 w 546670"/>
                <a:gd name="connsiteY125" fmla="*/ 385484 h 604887"/>
                <a:gd name="connsiteX126" fmla="*/ 2225 w 546670"/>
                <a:gd name="connsiteY126" fmla="*/ 368265 h 604887"/>
                <a:gd name="connsiteX127" fmla="*/ 0 w 546670"/>
                <a:gd name="connsiteY127" fmla="*/ 358044 h 604887"/>
                <a:gd name="connsiteX128" fmla="*/ 0 w 546670"/>
                <a:gd name="connsiteY128" fmla="*/ 200296 h 604887"/>
                <a:gd name="connsiteX129" fmla="*/ 19577 w 546670"/>
                <a:gd name="connsiteY129" fmla="*/ 176412 h 604887"/>
                <a:gd name="connsiteX130" fmla="*/ 62625 w 546670"/>
                <a:gd name="connsiteY130" fmla="*/ 167747 h 604887"/>
                <a:gd name="connsiteX131" fmla="*/ 70522 w 546670"/>
                <a:gd name="connsiteY131" fmla="*/ 161748 h 604887"/>
                <a:gd name="connsiteX132" fmla="*/ 61957 w 546670"/>
                <a:gd name="connsiteY132" fmla="*/ 150861 h 604887"/>
                <a:gd name="connsiteX133" fmla="*/ 49054 w 546670"/>
                <a:gd name="connsiteY133" fmla="*/ 126643 h 604887"/>
                <a:gd name="connsiteX134" fmla="*/ 45161 w 546670"/>
                <a:gd name="connsiteY134" fmla="*/ 116534 h 604887"/>
                <a:gd name="connsiteX135" fmla="*/ 38598 w 546670"/>
                <a:gd name="connsiteY135" fmla="*/ 102426 h 604887"/>
                <a:gd name="connsiteX136" fmla="*/ 38598 w 546670"/>
                <a:gd name="connsiteY136" fmla="*/ 89095 h 604887"/>
                <a:gd name="connsiteX137" fmla="*/ 42047 w 546670"/>
                <a:gd name="connsiteY137" fmla="*/ 78430 h 604887"/>
                <a:gd name="connsiteX138" fmla="*/ 42047 w 546670"/>
                <a:gd name="connsiteY138" fmla="*/ 59656 h 604887"/>
                <a:gd name="connsiteX139" fmla="*/ 101779 w 546670"/>
                <a:gd name="connsiteY139" fmla="*/ 0 h 60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546670" h="604887">
                  <a:moveTo>
                    <a:pt x="481589" y="391913"/>
                  </a:moveTo>
                  <a:cubicBezTo>
                    <a:pt x="472466" y="397134"/>
                    <a:pt x="462454" y="402133"/>
                    <a:pt x="451551" y="406688"/>
                  </a:cubicBezTo>
                  <a:cubicBezTo>
                    <a:pt x="428967" y="416242"/>
                    <a:pt x="403269" y="424018"/>
                    <a:pt x="375678" y="429906"/>
                  </a:cubicBezTo>
                  <a:cubicBezTo>
                    <a:pt x="369782" y="457457"/>
                    <a:pt x="361995" y="483008"/>
                    <a:pt x="352427" y="505670"/>
                  </a:cubicBezTo>
                  <a:cubicBezTo>
                    <a:pt x="347866" y="516446"/>
                    <a:pt x="342860" y="526444"/>
                    <a:pt x="337631" y="535554"/>
                  </a:cubicBezTo>
                  <a:cubicBezTo>
                    <a:pt x="403602" y="510225"/>
                    <a:pt x="456112" y="457790"/>
                    <a:pt x="481589" y="391913"/>
                  </a:cubicBezTo>
                  <a:close/>
                  <a:moveTo>
                    <a:pt x="384133" y="226609"/>
                  </a:moveTo>
                  <a:cubicBezTo>
                    <a:pt x="386915" y="251049"/>
                    <a:pt x="388361" y="276489"/>
                    <a:pt x="388361" y="302373"/>
                  </a:cubicBezTo>
                  <a:cubicBezTo>
                    <a:pt x="388361" y="328369"/>
                    <a:pt x="386915" y="353697"/>
                    <a:pt x="384133" y="378137"/>
                  </a:cubicBezTo>
                  <a:cubicBezTo>
                    <a:pt x="401600" y="373694"/>
                    <a:pt x="417842" y="368250"/>
                    <a:pt x="432639" y="362029"/>
                  </a:cubicBezTo>
                  <a:cubicBezTo>
                    <a:pt x="473690" y="344699"/>
                    <a:pt x="498165" y="322370"/>
                    <a:pt x="498165" y="302373"/>
                  </a:cubicBezTo>
                  <a:cubicBezTo>
                    <a:pt x="498165" y="282377"/>
                    <a:pt x="473690" y="260047"/>
                    <a:pt x="432639" y="242717"/>
                  </a:cubicBezTo>
                  <a:cubicBezTo>
                    <a:pt x="417842" y="236496"/>
                    <a:pt x="401600" y="231164"/>
                    <a:pt x="384133" y="226609"/>
                  </a:cubicBezTo>
                  <a:close/>
                  <a:moveTo>
                    <a:pt x="135706" y="175523"/>
                  </a:moveTo>
                  <a:cubicBezTo>
                    <a:pt x="132591" y="177189"/>
                    <a:pt x="129477" y="178300"/>
                    <a:pt x="126473" y="178856"/>
                  </a:cubicBezTo>
                  <a:cubicBezTo>
                    <a:pt x="124582" y="179189"/>
                    <a:pt x="123248" y="180744"/>
                    <a:pt x="123248" y="182633"/>
                  </a:cubicBezTo>
                  <a:lnTo>
                    <a:pt x="123248" y="192075"/>
                  </a:lnTo>
                  <a:cubicBezTo>
                    <a:pt x="122691" y="192298"/>
                    <a:pt x="122246" y="192631"/>
                    <a:pt x="121801" y="193075"/>
                  </a:cubicBezTo>
                  <a:cubicBezTo>
                    <a:pt x="121134" y="193964"/>
                    <a:pt x="120689" y="194964"/>
                    <a:pt x="120912" y="196075"/>
                  </a:cubicBezTo>
                  <a:lnTo>
                    <a:pt x="122914" y="216404"/>
                  </a:lnTo>
                  <a:cubicBezTo>
                    <a:pt x="123136" y="217960"/>
                    <a:pt x="124249" y="219293"/>
                    <a:pt x="125695" y="219737"/>
                  </a:cubicBezTo>
                  <a:cubicBezTo>
                    <a:pt x="126028" y="219737"/>
                    <a:pt x="126473" y="219848"/>
                    <a:pt x="126807" y="219848"/>
                  </a:cubicBezTo>
                  <a:cubicBezTo>
                    <a:pt x="127919" y="219848"/>
                    <a:pt x="129032" y="219293"/>
                    <a:pt x="129810" y="218293"/>
                  </a:cubicBezTo>
                  <a:lnTo>
                    <a:pt x="140600" y="204073"/>
                  </a:lnTo>
                  <a:cubicBezTo>
                    <a:pt x="141045" y="203407"/>
                    <a:pt x="141379" y="202629"/>
                    <a:pt x="141379" y="201740"/>
                  </a:cubicBezTo>
                  <a:lnTo>
                    <a:pt x="141379" y="178856"/>
                  </a:lnTo>
                  <a:cubicBezTo>
                    <a:pt x="141379" y="177523"/>
                    <a:pt x="140600" y="176301"/>
                    <a:pt x="139488" y="175634"/>
                  </a:cubicBezTo>
                  <a:cubicBezTo>
                    <a:pt x="138375" y="174968"/>
                    <a:pt x="136929" y="174856"/>
                    <a:pt x="135706" y="175523"/>
                  </a:cubicBezTo>
                  <a:close/>
                  <a:moveTo>
                    <a:pt x="87208" y="175523"/>
                  </a:moveTo>
                  <a:cubicBezTo>
                    <a:pt x="86095" y="174856"/>
                    <a:pt x="84649" y="174968"/>
                    <a:pt x="83537" y="175634"/>
                  </a:cubicBezTo>
                  <a:cubicBezTo>
                    <a:pt x="82313" y="176301"/>
                    <a:pt x="81646" y="177523"/>
                    <a:pt x="81646" y="178856"/>
                  </a:cubicBezTo>
                  <a:lnTo>
                    <a:pt x="81646" y="201740"/>
                  </a:lnTo>
                  <a:cubicBezTo>
                    <a:pt x="81646" y="202629"/>
                    <a:pt x="81868" y="203407"/>
                    <a:pt x="82425" y="204073"/>
                  </a:cubicBezTo>
                  <a:lnTo>
                    <a:pt x="93103" y="218293"/>
                  </a:lnTo>
                  <a:cubicBezTo>
                    <a:pt x="93882" y="219293"/>
                    <a:pt x="94994" y="219848"/>
                    <a:pt x="96218" y="219848"/>
                  </a:cubicBezTo>
                  <a:cubicBezTo>
                    <a:pt x="96551" y="219848"/>
                    <a:pt x="96885" y="219848"/>
                    <a:pt x="97219" y="219737"/>
                  </a:cubicBezTo>
                  <a:cubicBezTo>
                    <a:pt x="98776" y="219293"/>
                    <a:pt x="99888" y="217960"/>
                    <a:pt x="100000" y="216404"/>
                  </a:cubicBezTo>
                  <a:lnTo>
                    <a:pt x="102113" y="196075"/>
                  </a:lnTo>
                  <a:cubicBezTo>
                    <a:pt x="102224" y="194964"/>
                    <a:pt x="101891" y="193964"/>
                    <a:pt x="101112" y="193075"/>
                  </a:cubicBezTo>
                  <a:cubicBezTo>
                    <a:pt x="100778" y="192631"/>
                    <a:pt x="100222" y="192298"/>
                    <a:pt x="99666" y="192075"/>
                  </a:cubicBezTo>
                  <a:lnTo>
                    <a:pt x="99666" y="182633"/>
                  </a:lnTo>
                  <a:cubicBezTo>
                    <a:pt x="99666" y="180744"/>
                    <a:pt x="98331" y="179189"/>
                    <a:pt x="96551" y="178856"/>
                  </a:cubicBezTo>
                  <a:cubicBezTo>
                    <a:pt x="93548" y="178300"/>
                    <a:pt x="90433" y="177189"/>
                    <a:pt x="87208" y="175523"/>
                  </a:cubicBezTo>
                  <a:close/>
                  <a:moveTo>
                    <a:pt x="93214" y="72653"/>
                  </a:moveTo>
                  <a:cubicBezTo>
                    <a:pt x="82313" y="72653"/>
                    <a:pt x="71857" y="77097"/>
                    <a:pt x="66629" y="79652"/>
                  </a:cubicBezTo>
                  <a:cubicBezTo>
                    <a:pt x="65294" y="80319"/>
                    <a:pt x="64516" y="81652"/>
                    <a:pt x="64516" y="83096"/>
                  </a:cubicBezTo>
                  <a:lnTo>
                    <a:pt x="64516" y="89872"/>
                  </a:lnTo>
                  <a:lnTo>
                    <a:pt x="62959" y="89872"/>
                  </a:lnTo>
                  <a:cubicBezTo>
                    <a:pt x="60845" y="89872"/>
                    <a:pt x="59065" y="91650"/>
                    <a:pt x="59065" y="93761"/>
                  </a:cubicBezTo>
                  <a:lnTo>
                    <a:pt x="59065" y="99982"/>
                  </a:lnTo>
                  <a:cubicBezTo>
                    <a:pt x="59065" y="101315"/>
                    <a:pt x="59733" y="102537"/>
                    <a:pt x="60845" y="103203"/>
                  </a:cubicBezTo>
                  <a:lnTo>
                    <a:pt x="64516" y="105647"/>
                  </a:lnTo>
                  <a:lnTo>
                    <a:pt x="64738" y="107202"/>
                  </a:lnTo>
                  <a:cubicBezTo>
                    <a:pt x="65962" y="116423"/>
                    <a:pt x="71079" y="128199"/>
                    <a:pt x="78531" y="138974"/>
                  </a:cubicBezTo>
                  <a:cubicBezTo>
                    <a:pt x="87875" y="152527"/>
                    <a:pt x="96663" y="158526"/>
                    <a:pt x="101223" y="158526"/>
                  </a:cubicBezTo>
                  <a:lnTo>
                    <a:pt x="121801" y="158526"/>
                  </a:lnTo>
                  <a:cubicBezTo>
                    <a:pt x="126362" y="158526"/>
                    <a:pt x="135150" y="152527"/>
                    <a:pt x="144493" y="138974"/>
                  </a:cubicBezTo>
                  <a:cubicBezTo>
                    <a:pt x="151835" y="128199"/>
                    <a:pt x="156951" y="116423"/>
                    <a:pt x="158175" y="107202"/>
                  </a:cubicBezTo>
                  <a:lnTo>
                    <a:pt x="158398" y="105647"/>
                  </a:lnTo>
                  <a:lnTo>
                    <a:pt x="162179" y="103203"/>
                  </a:lnTo>
                  <a:cubicBezTo>
                    <a:pt x="163181" y="102537"/>
                    <a:pt x="163848" y="101315"/>
                    <a:pt x="163848" y="100093"/>
                  </a:cubicBezTo>
                  <a:lnTo>
                    <a:pt x="163848" y="93761"/>
                  </a:lnTo>
                  <a:cubicBezTo>
                    <a:pt x="163848" y="91650"/>
                    <a:pt x="162179" y="89872"/>
                    <a:pt x="160066" y="89872"/>
                  </a:cubicBezTo>
                  <a:lnTo>
                    <a:pt x="157953" y="89872"/>
                  </a:lnTo>
                  <a:cubicBezTo>
                    <a:pt x="157619" y="89428"/>
                    <a:pt x="157285" y="88984"/>
                    <a:pt x="156729" y="88650"/>
                  </a:cubicBezTo>
                  <a:cubicBezTo>
                    <a:pt x="155617" y="87984"/>
                    <a:pt x="154282" y="87873"/>
                    <a:pt x="153058" y="88317"/>
                  </a:cubicBezTo>
                  <a:cubicBezTo>
                    <a:pt x="147942" y="90650"/>
                    <a:pt x="142825" y="91761"/>
                    <a:pt x="137930" y="91761"/>
                  </a:cubicBezTo>
                  <a:cubicBezTo>
                    <a:pt x="129254" y="91761"/>
                    <a:pt x="121357" y="88206"/>
                    <a:pt x="114460" y="81207"/>
                  </a:cubicBezTo>
                  <a:cubicBezTo>
                    <a:pt x="109010" y="75542"/>
                    <a:pt x="101779" y="72653"/>
                    <a:pt x="93214" y="72653"/>
                  </a:cubicBezTo>
                  <a:close/>
                  <a:moveTo>
                    <a:pt x="337631" y="69193"/>
                  </a:moveTo>
                  <a:cubicBezTo>
                    <a:pt x="342860" y="78302"/>
                    <a:pt x="347866" y="88300"/>
                    <a:pt x="352427" y="99187"/>
                  </a:cubicBezTo>
                  <a:cubicBezTo>
                    <a:pt x="361995" y="121739"/>
                    <a:pt x="369782" y="147290"/>
                    <a:pt x="375678" y="174952"/>
                  </a:cubicBezTo>
                  <a:cubicBezTo>
                    <a:pt x="403269" y="180728"/>
                    <a:pt x="428967" y="188505"/>
                    <a:pt x="451551" y="198059"/>
                  </a:cubicBezTo>
                  <a:cubicBezTo>
                    <a:pt x="462454" y="202724"/>
                    <a:pt x="472466" y="207612"/>
                    <a:pt x="481589" y="212945"/>
                  </a:cubicBezTo>
                  <a:cubicBezTo>
                    <a:pt x="456112" y="147068"/>
                    <a:pt x="403602" y="94633"/>
                    <a:pt x="337631" y="69193"/>
                  </a:cubicBezTo>
                  <a:close/>
                  <a:moveTo>
                    <a:pt x="247963" y="4093"/>
                  </a:moveTo>
                  <a:cubicBezTo>
                    <a:pt x="412725" y="4093"/>
                    <a:pt x="546670" y="137958"/>
                    <a:pt x="546670" y="302373"/>
                  </a:cubicBezTo>
                  <a:cubicBezTo>
                    <a:pt x="546670" y="466899"/>
                    <a:pt x="412725" y="600653"/>
                    <a:pt x="247963" y="600653"/>
                  </a:cubicBezTo>
                  <a:cubicBezTo>
                    <a:pt x="246295" y="600653"/>
                    <a:pt x="244626" y="600653"/>
                    <a:pt x="242957" y="600653"/>
                  </a:cubicBezTo>
                  <a:lnTo>
                    <a:pt x="242957" y="551662"/>
                  </a:lnTo>
                  <a:cubicBezTo>
                    <a:pt x="244626" y="551995"/>
                    <a:pt x="246295" y="552217"/>
                    <a:pt x="247963" y="552217"/>
                  </a:cubicBezTo>
                  <a:cubicBezTo>
                    <a:pt x="268100" y="552217"/>
                    <a:pt x="290350" y="527666"/>
                    <a:pt x="307705" y="486674"/>
                  </a:cubicBezTo>
                  <a:cubicBezTo>
                    <a:pt x="314046" y="472010"/>
                    <a:pt x="319386" y="455679"/>
                    <a:pt x="323836" y="438238"/>
                  </a:cubicBezTo>
                  <a:cubicBezTo>
                    <a:pt x="299472" y="441126"/>
                    <a:pt x="273996" y="442570"/>
                    <a:pt x="247963" y="442570"/>
                  </a:cubicBezTo>
                  <a:cubicBezTo>
                    <a:pt x="246295" y="442570"/>
                    <a:pt x="244626" y="442570"/>
                    <a:pt x="242957" y="442570"/>
                  </a:cubicBezTo>
                  <a:lnTo>
                    <a:pt x="242957" y="394024"/>
                  </a:lnTo>
                  <a:cubicBezTo>
                    <a:pt x="244626" y="394024"/>
                    <a:pt x="246295" y="394135"/>
                    <a:pt x="247963" y="394135"/>
                  </a:cubicBezTo>
                  <a:cubicBezTo>
                    <a:pt x="277778" y="394135"/>
                    <a:pt x="306703" y="392024"/>
                    <a:pt x="333848" y="388136"/>
                  </a:cubicBezTo>
                  <a:cubicBezTo>
                    <a:pt x="337742" y="361029"/>
                    <a:pt x="339856" y="332146"/>
                    <a:pt x="339856" y="302373"/>
                  </a:cubicBezTo>
                  <a:cubicBezTo>
                    <a:pt x="339856" y="272712"/>
                    <a:pt x="337742" y="243828"/>
                    <a:pt x="333848" y="216722"/>
                  </a:cubicBezTo>
                  <a:cubicBezTo>
                    <a:pt x="306703" y="212723"/>
                    <a:pt x="277778" y="210723"/>
                    <a:pt x="247963" y="210723"/>
                  </a:cubicBezTo>
                  <a:cubicBezTo>
                    <a:pt x="246295" y="210723"/>
                    <a:pt x="244626" y="210723"/>
                    <a:pt x="242957" y="210723"/>
                  </a:cubicBezTo>
                  <a:lnTo>
                    <a:pt x="242957" y="162287"/>
                  </a:lnTo>
                  <a:cubicBezTo>
                    <a:pt x="244626" y="162287"/>
                    <a:pt x="246295" y="162176"/>
                    <a:pt x="247963" y="162176"/>
                  </a:cubicBezTo>
                  <a:cubicBezTo>
                    <a:pt x="273996" y="162176"/>
                    <a:pt x="299472" y="163731"/>
                    <a:pt x="323836" y="166509"/>
                  </a:cubicBezTo>
                  <a:cubicBezTo>
                    <a:pt x="319386" y="149067"/>
                    <a:pt x="314046" y="132848"/>
                    <a:pt x="307705" y="118073"/>
                  </a:cubicBezTo>
                  <a:cubicBezTo>
                    <a:pt x="290350" y="77080"/>
                    <a:pt x="268100" y="52640"/>
                    <a:pt x="247963" y="52640"/>
                  </a:cubicBezTo>
                  <a:cubicBezTo>
                    <a:pt x="246295" y="52640"/>
                    <a:pt x="244626" y="52862"/>
                    <a:pt x="242957" y="53196"/>
                  </a:cubicBezTo>
                  <a:lnTo>
                    <a:pt x="242957" y="4204"/>
                  </a:lnTo>
                  <a:cubicBezTo>
                    <a:pt x="244626" y="4204"/>
                    <a:pt x="246295" y="4093"/>
                    <a:pt x="247963" y="4093"/>
                  </a:cubicBezTo>
                  <a:close/>
                  <a:moveTo>
                    <a:pt x="101779" y="0"/>
                  </a:moveTo>
                  <a:lnTo>
                    <a:pt x="121134" y="0"/>
                  </a:lnTo>
                  <a:cubicBezTo>
                    <a:pt x="154171" y="0"/>
                    <a:pt x="180978" y="26773"/>
                    <a:pt x="180978" y="59656"/>
                  </a:cubicBezTo>
                  <a:lnTo>
                    <a:pt x="180978" y="78430"/>
                  </a:lnTo>
                  <a:cubicBezTo>
                    <a:pt x="183203" y="81541"/>
                    <a:pt x="184315" y="85318"/>
                    <a:pt x="184315" y="89095"/>
                  </a:cubicBezTo>
                  <a:lnTo>
                    <a:pt x="184315" y="102426"/>
                  </a:lnTo>
                  <a:cubicBezTo>
                    <a:pt x="184315" y="107869"/>
                    <a:pt x="181868" y="113090"/>
                    <a:pt x="177752" y="116534"/>
                  </a:cubicBezTo>
                  <a:cubicBezTo>
                    <a:pt x="176751" y="119867"/>
                    <a:pt x="175416" y="123311"/>
                    <a:pt x="173859" y="126643"/>
                  </a:cubicBezTo>
                  <a:cubicBezTo>
                    <a:pt x="170856" y="134753"/>
                    <a:pt x="166406" y="143085"/>
                    <a:pt x="161067" y="150861"/>
                  </a:cubicBezTo>
                  <a:cubicBezTo>
                    <a:pt x="158842" y="154083"/>
                    <a:pt x="155839" y="157860"/>
                    <a:pt x="152502" y="161748"/>
                  </a:cubicBezTo>
                  <a:cubicBezTo>
                    <a:pt x="155505" y="163192"/>
                    <a:pt x="158175" y="165192"/>
                    <a:pt x="160400" y="167747"/>
                  </a:cubicBezTo>
                  <a:lnTo>
                    <a:pt x="204115" y="176412"/>
                  </a:lnTo>
                  <a:cubicBezTo>
                    <a:pt x="215461" y="178745"/>
                    <a:pt x="223692" y="188743"/>
                    <a:pt x="223692" y="200407"/>
                  </a:cubicBezTo>
                  <a:lnTo>
                    <a:pt x="223692" y="358044"/>
                  </a:lnTo>
                  <a:cubicBezTo>
                    <a:pt x="223692" y="361710"/>
                    <a:pt x="222913" y="365154"/>
                    <a:pt x="221467" y="368265"/>
                  </a:cubicBezTo>
                  <a:lnTo>
                    <a:pt x="221467" y="385484"/>
                  </a:lnTo>
                  <a:cubicBezTo>
                    <a:pt x="221467" y="397259"/>
                    <a:pt x="211901" y="406813"/>
                    <a:pt x="200110" y="406813"/>
                  </a:cubicBezTo>
                  <a:cubicBezTo>
                    <a:pt x="195772" y="406813"/>
                    <a:pt x="191879" y="405591"/>
                    <a:pt x="188431" y="403369"/>
                  </a:cubicBezTo>
                  <a:lnTo>
                    <a:pt x="188431" y="566561"/>
                  </a:lnTo>
                  <a:cubicBezTo>
                    <a:pt x="188431" y="587668"/>
                    <a:pt x="171301" y="604887"/>
                    <a:pt x="150166" y="604887"/>
                  </a:cubicBezTo>
                  <a:cubicBezTo>
                    <a:pt x="129032" y="604887"/>
                    <a:pt x="111902" y="587668"/>
                    <a:pt x="111902" y="566561"/>
                  </a:cubicBezTo>
                  <a:cubicBezTo>
                    <a:pt x="111902" y="587668"/>
                    <a:pt x="94772" y="604887"/>
                    <a:pt x="73526" y="604887"/>
                  </a:cubicBezTo>
                  <a:cubicBezTo>
                    <a:pt x="52391" y="604887"/>
                    <a:pt x="35261" y="587668"/>
                    <a:pt x="35261" y="566561"/>
                  </a:cubicBezTo>
                  <a:lnTo>
                    <a:pt x="35261" y="403369"/>
                  </a:lnTo>
                  <a:cubicBezTo>
                    <a:pt x="31924" y="405591"/>
                    <a:pt x="27920" y="406813"/>
                    <a:pt x="23582" y="406813"/>
                  </a:cubicBezTo>
                  <a:cubicBezTo>
                    <a:pt x="11791" y="406813"/>
                    <a:pt x="2225" y="397259"/>
                    <a:pt x="2225" y="385484"/>
                  </a:cubicBezTo>
                  <a:lnTo>
                    <a:pt x="2225" y="368265"/>
                  </a:lnTo>
                  <a:cubicBezTo>
                    <a:pt x="779" y="365154"/>
                    <a:pt x="0" y="361710"/>
                    <a:pt x="0" y="358044"/>
                  </a:cubicBezTo>
                  <a:lnTo>
                    <a:pt x="0" y="200296"/>
                  </a:lnTo>
                  <a:cubicBezTo>
                    <a:pt x="0" y="188743"/>
                    <a:pt x="8231" y="178745"/>
                    <a:pt x="19577" y="176412"/>
                  </a:cubicBezTo>
                  <a:lnTo>
                    <a:pt x="62625" y="167747"/>
                  </a:lnTo>
                  <a:cubicBezTo>
                    <a:pt x="64850" y="165192"/>
                    <a:pt x="67519" y="163192"/>
                    <a:pt x="70522" y="161748"/>
                  </a:cubicBezTo>
                  <a:cubicBezTo>
                    <a:pt x="67074" y="157971"/>
                    <a:pt x="64182" y="154083"/>
                    <a:pt x="61957" y="150861"/>
                  </a:cubicBezTo>
                  <a:cubicBezTo>
                    <a:pt x="56618" y="143085"/>
                    <a:pt x="52169" y="134753"/>
                    <a:pt x="49054" y="126643"/>
                  </a:cubicBezTo>
                  <a:cubicBezTo>
                    <a:pt x="47497" y="123311"/>
                    <a:pt x="46273" y="119867"/>
                    <a:pt x="45161" y="116534"/>
                  </a:cubicBezTo>
                  <a:cubicBezTo>
                    <a:pt x="41045" y="113090"/>
                    <a:pt x="38598" y="107869"/>
                    <a:pt x="38598" y="102426"/>
                  </a:cubicBezTo>
                  <a:lnTo>
                    <a:pt x="38598" y="89095"/>
                  </a:lnTo>
                  <a:cubicBezTo>
                    <a:pt x="38598" y="85318"/>
                    <a:pt x="39822" y="81541"/>
                    <a:pt x="42047" y="78430"/>
                  </a:cubicBezTo>
                  <a:lnTo>
                    <a:pt x="42047" y="59656"/>
                  </a:lnTo>
                  <a:cubicBezTo>
                    <a:pt x="42047" y="26773"/>
                    <a:pt x="68854" y="0"/>
                    <a:pt x="101779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cxnSp>
          <p:nvCxnSpPr>
            <p:cNvPr id="28" name="直接连接符 27"/>
            <p:cNvCxnSpPr/>
            <p:nvPr/>
          </p:nvCxnSpPr>
          <p:spPr>
            <a:xfrm>
              <a:off x="1999912" y="5072453"/>
              <a:ext cx="720000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/>
            <p:cNvCxnSpPr/>
            <p:nvPr/>
          </p:nvCxnSpPr>
          <p:spPr>
            <a:xfrm>
              <a:off x="4490637" y="5072453"/>
              <a:ext cx="720000" cy="0"/>
            </a:xfrm>
            <a:prstGeom prst="line">
              <a:avLst/>
            </a:prstGeom>
            <a:ln w="19050" cap="rnd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直接连接符 29"/>
            <p:cNvCxnSpPr/>
            <p:nvPr/>
          </p:nvCxnSpPr>
          <p:spPr>
            <a:xfrm>
              <a:off x="6981362" y="5072453"/>
              <a:ext cx="720000" cy="0"/>
            </a:xfrm>
            <a:prstGeom prst="line">
              <a:avLst/>
            </a:prstGeom>
            <a:ln w="19050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连接符 30"/>
            <p:cNvCxnSpPr/>
            <p:nvPr/>
          </p:nvCxnSpPr>
          <p:spPr>
            <a:xfrm>
              <a:off x="9472087" y="5072453"/>
              <a:ext cx="720000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连接符 31"/>
            <p:cNvCxnSpPr/>
            <p:nvPr/>
          </p:nvCxnSpPr>
          <p:spPr>
            <a:xfrm>
              <a:off x="5325291" y="2023266"/>
              <a:ext cx="1524000" cy="0"/>
            </a:xfrm>
            <a:prstGeom prst="line">
              <a:avLst/>
            </a:prstGeom>
            <a:ln w="285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327202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口罩的正确使用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5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71513" y="1125399"/>
            <a:ext cx="10848974" cy="5061629"/>
            <a:chOff x="671513" y="1125399"/>
            <a:chExt cx="10848974" cy="5061629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3633F3B6-BD67-438F-99DC-8E3ABECE60D4}"/>
                </a:ext>
              </a:extLst>
            </p:cNvPr>
            <p:cNvGrpSpPr/>
            <p:nvPr/>
          </p:nvGrpSpPr>
          <p:grpSpPr>
            <a:xfrm>
              <a:off x="3580083" y="1376773"/>
              <a:ext cx="5033635" cy="4400058"/>
              <a:chOff x="3580083" y="1376773"/>
              <a:chExt cx="5033635" cy="4400058"/>
            </a:xfrm>
          </p:grpSpPr>
          <p:sp>
            <p:nvSpPr>
              <p:cNvPr id="15" name="梯形 14">
                <a:extLst>
                  <a:ext uri="{FF2B5EF4-FFF2-40B4-BE49-F238E27FC236}">
                    <a16:creationId xmlns:a16="http://schemas.microsoft.com/office/drawing/2014/main" id="{A815EF01-9239-4291-957F-CBCBBC290254}"/>
                  </a:ext>
                </a:extLst>
              </p:cNvPr>
              <p:cNvSpPr/>
              <p:nvPr/>
            </p:nvSpPr>
            <p:spPr>
              <a:xfrm>
                <a:off x="4038600" y="1883197"/>
                <a:ext cx="4114800" cy="3402526"/>
              </a:xfrm>
              <a:prstGeom prst="trapezoid">
                <a:avLst>
                  <a:gd name="adj" fmla="val 0"/>
                </a:avLst>
              </a:prstGeom>
              <a:pattFill prst="dkUpDiag">
                <a:fgClr>
                  <a:schemeClr val="bg1">
                    <a:lumMod val="9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/>
              <a:p>
                <a:pPr algn="ctr"/>
                <a:endParaRPr lang="en-US" altLang="zh-CN" sz="1400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16" name="组合 15">
                <a:extLst>
                  <a:ext uri="{FF2B5EF4-FFF2-40B4-BE49-F238E27FC236}">
                    <a16:creationId xmlns:a16="http://schemas.microsoft.com/office/drawing/2014/main" id="{1B5C599E-6345-4DAD-A7A7-DE88698AE797}"/>
                  </a:ext>
                </a:extLst>
              </p:cNvPr>
              <p:cNvGrpSpPr/>
              <p:nvPr/>
            </p:nvGrpSpPr>
            <p:grpSpPr>
              <a:xfrm>
                <a:off x="3580083" y="3005422"/>
                <a:ext cx="976220" cy="976220"/>
                <a:chOff x="2803582" y="3005422"/>
                <a:chExt cx="976220" cy="976220"/>
              </a:xfrm>
            </p:grpSpPr>
            <p:sp>
              <p:nvSpPr>
                <p:cNvPr id="31" name="椭圆 30">
                  <a:extLst>
                    <a:ext uri="{FF2B5EF4-FFF2-40B4-BE49-F238E27FC236}">
                      <a16:creationId xmlns:a16="http://schemas.microsoft.com/office/drawing/2014/main" id="{481D33CE-CC58-4ECF-AEDB-0A2B2B5C8679}"/>
                    </a:ext>
                  </a:extLst>
                </p:cNvPr>
                <p:cNvSpPr/>
                <p:nvPr/>
              </p:nvSpPr>
              <p:spPr>
                <a:xfrm>
                  <a:off x="2803582" y="3005422"/>
                  <a:ext cx="976220" cy="97622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2" name="任意多边形: 形状 31">
                  <a:extLst>
                    <a:ext uri="{FF2B5EF4-FFF2-40B4-BE49-F238E27FC236}">
                      <a16:creationId xmlns:a16="http://schemas.microsoft.com/office/drawing/2014/main" id="{42FA32DE-D99B-429F-B5C9-81777582F84B}"/>
                    </a:ext>
                  </a:extLst>
                </p:cNvPr>
                <p:cNvSpPr/>
                <p:nvPr/>
              </p:nvSpPr>
              <p:spPr bwMode="auto">
                <a:xfrm>
                  <a:off x="3069166" y="3230547"/>
                  <a:ext cx="445052" cy="525971"/>
                </a:xfrm>
                <a:custGeom>
                  <a:avLst/>
                  <a:gdLst/>
                  <a:ahLst/>
                  <a:cxnLst>
                    <a:cxn ang="0">
                      <a:pos x="250" y="250"/>
                    </a:cxn>
                    <a:cxn ang="0">
                      <a:pos x="125" y="296"/>
                    </a:cxn>
                    <a:cxn ang="0">
                      <a:pos x="0" y="250"/>
                    </a:cxn>
                    <a:cxn ang="0">
                      <a:pos x="66" y="210"/>
                    </a:cxn>
                    <a:cxn ang="0">
                      <a:pos x="79" y="219"/>
                    </a:cxn>
                    <a:cxn ang="0">
                      <a:pos x="70" y="232"/>
                    </a:cxn>
                    <a:cxn ang="0">
                      <a:pos x="23" y="251"/>
                    </a:cxn>
                    <a:cxn ang="0">
                      <a:pos x="125" y="273"/>
                    </a:cxn>
                    <a:cxn ang="0">
                      <a:pos x="228" y="250"/>
                    </a:cxn>
                    <a:cxn ang="0">
                      <a:pos x="180" y="232"/>
                    </a:cxn>
                    <a:cxn ang="0">
                      <a:pos x="171" y="219"/>
                    </a:cxn>
                    <a:cxn ang="0">
                      <a:pos x="184" y="210"/>
                    </a:cxn>
                    <a:cxn ang="0">
                      <a:pos x="250" y="250"/>
                    </a:cxn>
                    <a:cxn ang="0">
                      <a:pos x="80" y="182"/>
                    </a:cxn>
                    <a:cxn ang="0">
                      <a:pos x="91" y="182"/>
                    </a:cxn>
                    <a:cxn ang="0">
                      <a:pos x="91" y="250"/>
                    </a:cxn>
                    <a:cxn ang="0">
                      <a:pos x="102" y="262"/>
                    </a:cxn>
                    <a:cxn ang="0">
                      <a:pos x="148" y="262"/>
                    </a:cxn>
                    <a:cxn ang="0">
                      <a:pos x="159" y="250"/>
                    </a:cxn>
                    <a:cxn ang="0">
                      <a:pos x="159" y="182"/>
                    </a:cxn>
                    <a:cxn ang="0">
                      <a:pos x="171" y="182"/>
                    </a:cxn>
                    <a:cxn ang="0">
                      <a:pos x="182" y="171"/>
                    </a:cxn>
                    <a:cxn ang="0">
                      <a:pos x="182" y="102"/>
                    </a:cxn>
                    <a:cxn ang="0">
                      <a:pos x="157" y="82"/>
                    </a:cxn>
                    <a:cxn ang="0">
                      <a:pos x="125" y="80"/>
                    </a:cxn>
                    <a:cxn ang="0">
                      <a:pos x="93" y="82"/>
                    </a:cxn>
                    <a:cxn ang="0">
                      <a:pos x="68" y="102"/>
                    </a:cxn>
                    <a:cxn ang="0">
                      <a:pos x="68" y="171"/>
                    </a:cxn>
                    <a:cxn ang="0">
                      <a:pos x="80" y="182"/>
                    </a:cxn>
                    <a:cxn ang="0">
                      <a:pos x="125" y="68"/>
                    </a:cxn>
                    <a:cxn ang="0">
                      <a:pos x="159" y="34"/>
                    </a:cxn>
                    <a:cxn ang="0">
                      <a:pos x="125" y="0"/>
                    </a:cxn>
                    <a:cxn ang="0">
                      <a:pos x="91" y="34"/>
                    </a:cxn>
                    <a:cxn ang="0">
                      <a:pos x="125" y="68"/>
                    </a:cxn>
                    <a:cxn ang="0">
                      <a:pos x="125" y="68"/>
                    </a:cxn>
                    <a:cxn ang="0">
                      <a:pos x="125" y="68"/>
                    </a:cxn>
                  </a:cxnLst>
                  <a:rect l="0" t="0" r="r" b="b"/>
                  <a:pathLst>
                    <a:path w="250" h="296">
                      <a:moveTo>
                        <a:pt x="250" y="250"/>
                      </a:moveTo>
                      <a:cubicBezTo>
                        <a:pt x="250" y="282"/>
                        <a:pt x="185" y="296"/>
                        <a:pt x="125" y="296"/>
                      </a:cubicBezTo>
                      <a:cubicBezTo>
                        <a:pt x="65" y="296"/>
                        <a:pt x="0" y="282"/>
                        <a:pt x="0" y="250"/>
                      </a:cubicBezTo>
                      <a:cubicBezTo>
                        <a:pt x="0" y="226"/>
                        <a:pt x="36" y="215"/>
                        <a:pt x="66" y="210"/>
                      </a:cubicBezTo>
                      <a:cubicBezTo>
                        <a:pt x="72" y="209"/>
                        <a:pt x="78" y="213"/>
                        <a:pt x="79" y="219"/>
                      </a:cubicBezTo>
                      <a:cubicBezTo>
                        <a:pt x="80" y="225"/>
                        <a:pt x="76" y="231"/>
                        <a:pt x="70" y="232"/>
                      </a:cubicBezTo>
                      <a:cubicBezTo>
                        <a:pt x="33" y="239"/>
                        <a:pt x="23" y="249"/>
                        <a:pt x="23" y="251"/>
                      </a:cubicBezTo>
                      <a:cubicBezTo>
                        <a:pt x="24" y="257"/>
                        <a:pt x="58" y="273"/>
                        <a:pt x="125" y="273"/>
                      </a:cubicBezTo>
                      <a:cubicBezTo>
                        <a:pt x="192" y="273"/>
                        <a:pt x="226" y="257"/>
                        <a:pt x="228" y="250"/>
                      </a:cubicBezTo>
                      <a:cubicBezTo>
                        <a:pt x="227" y="249"/>
                        <a:pt x="217" y="238"/>
                        <a:pt x="180" y="232"/>
                      </a:cubicBezTo>
                      <a:cubicBezTo>
                        <a:pt x="174" y="231"/>
                        <a:pt x="170" y="225"/>
                        <a:pt x="171" y="219"/>
                      </a:cubicBezTo>
                      <a:cubicBezTo>
                        <a:pt x="172" y="213"/>
                        <a:pt x="178" y="209"/>
                        <a:pt x="184" y="210"/>
                      </a:cubicBezTo>
                      <a:cubicBezTo>
                        <a:pt x="214" y="215"/>
                        <a:pt x="250" y="226"/>
                        <a:pt x="250" y="250"/>
                      </a:cubicBezTo>
                      <a:close/>
                      <a:moveTo>
                        <a:pt x="80" y="182"/>
                      </a:moveTo>
                      <a:cubicBezTo>
                        <a:pt x="91" y="182"/>
                        <a:pt x="91" y="182"/>
                        <a:pt x="91" y="182"/>
                      </a:cubicBezTo>
                      <a:cubicBezTo>
                        <a:pt x="91" y="250"/>
                        <a:pt x="91" y="250"/>
                        <a:pt x="91" y="250"/>
                      </a:cubicBezTo>
                      <a:cubicBezTo>
                        <a:pt x="91" y="257"/>
                        <a:pt x="96" y="262"/>
                        <a:pt x="102" y="262"/>
                      </a:cubicBezTo>
                      <a:cubicBezTo>
                        <a:pt x="148" y="262"/>
                        <a:pt x="148" y="262"/>
                        <a:pt x="148" y="262"/>
                      </a:cubicBezTo>
                      <a:cubicBezTo>
                        <a:pt x="154" y="262"/>
                        <a:pt x="159" y="257"/>
                        <a:pt x="159" y="250"/>
                      </a:cubicBezTo>
                      <a:cubicBezTo>
                        <a:pt x="159" y="182"/>
                        <a:pt x="159" y="182"/>
                        <a:pt x="159" y="182"/>
                      </a:cubicBezTo>
                      <a:cubicBezTo>
                        <a:pt x="171" y="182"/>
                        <a:pt x="171" y="182"/>
                        <a:pt x="171" y="182"/>
                      </a:cubicBezTo>
                      <a:cubicBezTo>
                        <a:pt x="177" y="182"/>
                        <a:pt x="182" y="177"/>
                        <a:pt x="182" y="171"/>
                      </a:cubicBezTo>
                      <a:cubicBezTo>
                        <a:pt x="182" y="102"/>
                        <a:pt x="182" y="102"/>
                        <a:pt x="182" y="102"/>
                      </a:cubicBezTo>
                      <a:cubicBezTo>
                        <a:pt x="182" y="97"/>
                        <a:pt x="173" y="84"/>
                        <a:pt x="157" y="82"/>
                      </a:cubicBezTo>
                      <a:cubicBezTo>
                        <a:pt x="150" y="81"/>
                        <a:pt x="138" y="80"/>
                        <a:pt x="125" y="80"/>
                      </a:cubicBezTo>
                      <a:cubicBezTo>
                        <a:pt x="112" y="80"/>
                        <a:pt x="100" y="81"/>
                        <a:pt x="93" y="82"/>
                      </a:cubicBezTo>
                      <a:cubicBezTo>
                        <a:pt x="77" y="84"/>
                        <a:pt x="68" y="97"/>
                        <a:pt x="68" y="102"/>
                      </a:cubicBezTo>
                      <a:cubicBezTo>
                        <a:pt x="68" y="171"/>
                        <a:pt x="68" y="171"/>
                        <a:pt x="68" y="171"/>
                      </a:cubicBezTo>
                      <a:cubicBezTo>
                        <a:pt x="68" y="177"/>
                        <a:pt x="73" y="182"/>
                        <a:pt x="80" y="182"/>
                      </a:cubicBezTo>
                      <a:close/>
                      <a:moveTo>
                        <a:pt x="125" y="68"/>
                      </a:moveTo>
                      <a:cubicBezTo>
                        <a:pt x="144" y="68"/>
                        <a:pt x="159" y="53"/>
                        <a:pt x="159" y="34"/>
                      </a:cubicBezTo>
                      <a:cubicBezTo>
                        <a:pt x="159" y="15"/>
                        <a:pt x="144" y="0"/>
                        <a:pt x="125" y="0"/>
                      </a:cubicBezTo>
                      <a:cubicBezTo>
                        <a:pt x="106" y="0"/>
                        <a:pt x="91" y="15"/>
                        <a:pt x="91" y="34"/>
                      </a:cubicBezTo>
                      <a:cubicBezTo>
                        <a:pt x="91" y="53"/>
                        <a:pt x="106" y="68"/>
                        <a:pt x="125" y="68"/>
                      </a:cubicBezTo>
                      <a:close/>
                      <a:moveTo>
                        <a:pt x="125" y="68"/>
                      </a:moveTo>
                      <a:cubicBezTo>
                        <a:pt x="125" y="68"/>
                        <a:pt x="125" y="68"/>
                        <a:pt x="125" y="68"/>
                      </a:cubicBezTo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17" name="组合 16">
                <a:extLst>
                  <a:ext uri="{FF2B5EF4-FFF2-40B4-BE49-F238E27FC236}">
                    <a16:creationId xmlns:a16="http://schemas.microsoft.com/office/drawing/2014/main" id="{E357C4B0-D9F1-4ABE-9381-5886F5B1084B}"/>
                  </a:ext>
                </a:extLst>
              </p:cNvPr>
              <p:cNvGrpSpPr/>
              <p:nvPr/>
            </p:nvGrpSpPr>
            <p:grpSpPr>
              <a:xfrm>
                <a:off x="7637498" y="3005422"/>
                <a:ext cx="976220" cy="976220"/>
                <a:chOff x="2803582" y="3005422"/>
                <a:chExt cx="976220" cy="976220"/>
              </a:xfrm>
            </p:grpSpPr>
            <p:sp>
              <p:nvSpPr>
                <p:cNvPr id="29" name="椭圆 28">
                  <a:extLst>
                    <a:ext uri="{FF2B5EF4-FFF2-40B4-BE49-F238E27FC236}">
                      <a16:creationId xmlns:a16="http://schemas.microsoft.com/office/drawing/2014/main" id="{A7458D44-1041-4A04-AD15-424E1A4CEF7D}"/>
                    </a:ext>
                  </a:extLst>
                </p:cNvPr>
                <p:cNvSpPr/>
                <p:nvPr/>
              </p:nvSpPr>
              <p:spPr>
                <a:xfrm>
                  <a:off x="2803582" y="3005422"/>
                  <a:ext cx="976220" cy="97622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0" name="任意多边形: 形状 29">
                  <a:extLst>
                    <a:ext uri="{FF2B5EF4-FFF2-40B4-BE49-F238E27FC236}">
                      <a16:creationId xmlns:a16="http://schemas.microsoft.com/office/drawing/2014/main" id="{0A3ECE73-2F71-45D0-B5CE-20D39BD4C3A3}"/>
                    </a:ext>
                  </a:extLst>
                </p:cNvPr>
                <p:cNvSpPr/>
                <p:nvPr/>
              </p:nvSpPr>
              <p:spPr bwMode="auto">
                <a:xfrm>
                  <a:off x="3069166" y="3230547"/>
                  <a:ext cx="445052" cy="525971"/>
                </a:xfrm>
                <a:custGeom>
                  <a:avLst/>
                  <a:gdLst/>
                  <a:ahLst/>
                  <a:cxnLst>
                    <a:cxn ang="0">
                      <a:pos x="250" y="250"/>
                    </a:cxn>
                    <a:cxn ang="0">
                      <a:pos x="125" y="296"/>
                    </a:cxn>
                    <a:cxn ang="0">
                      <a:pos x="0" y="250"/>
                    </a:cxn>
                    <a:cxn ang="0">
                      <a:pos x="66" y="210"/>
                    </a:cxn>
                    <a:cxn ang="0">
                      <a:pos x="79" y="219"/>
                    </a:cxn>
                    <a:cxn ang="0">
                      <a:pos x="70" y="232"/>
                    </a:cxn>
                    <a:cxn ang="0">
                      <a:pos x="23" y="251"/>
                    </a:cxn>
                    <a:cxn ang="0">
                      <a:pos x="125" y="273"/>
                    </a:cxn>
                    <a:cxn ang="0">
                      <a:pos x="228" y="250"/>
                    </a:cxn>
                    <a:cxn ang="0">
                      <a:pos x="180" y="232"/>
                    </a:cxn>
                    <a:cxn ang="0">
                      <a:pos x="171" y="219"/>
                    </a:cxn>
                    <a:cxn ang="0">
                      <a:pos x="184" y="210"/>
                    </a:cxn>
                    <a:cxn ang="0">
                      <a:pos x="250" y="250"/>
                    </a:cxn>
                    <a:cxn ang="0">
                      <a:pos x="80" y="182"/>
                    </a:cxn>
                    <a:cxn ang="0">
                      <a:pos x="91" y="182"/>
                    </a:cxn>
                    <a:cxn ang="0">
                      <a:pos x="91" y="250"/>
                    </a:cxn>
                    <a:cxn ang="0">
                      <a:pos x="102" y="262"/>
                    </a:cxn>
                    <a:cxn ang="0">
                      <a:pos x="148" y="262"/>
                    </a:cxn>
                    <a:cxn ang="0">
                      <a:pos x="159" y="250"/>
                    </a:cxn>
                    <a:cxn ang="0">
                      <a:pos x="159" y="182"/>
                    </a:cxn>
                    <a:cxn ang="0">
                      <a:pos x="171" y="182"/>
                    </a:cxn>
                    <a:cxn ang="0">
                      <a:pos x="182" y="171"/>
                    </a:cxn>
                    <a:cxn ang="0">
                      <a:pos x="182" y="102"/>
                    </a:cxn>
                    <a:cxn ang="0">
                      <a:pos x="157" y="82"/>
                    </a:cxn>
                    <a:cxn ang="0">
                      <a:pos x="125" y="80"/>
                    </a:cxn>
                    <a:cxn ang="0">
                      <a:pos x="93" y="82"/>
                    </a:cxn>
                    <a:cxn ang="0">
                      <a:pos x="68" y="102"/>
                    </a:cxn>
                    <a:cxn ang="0">
                      <a:pos x="68" y="171"/>
                    </a:cxn>
                    <a:cxn ang="0">
                      <a:pos x="80" y="182"/>
                    </a:cxn>
                    <a:cxn ang="0">
                      <a:pos x="125" y="68"/>
                    </a:cxn>
                    <a:cxn ang="0">
                      <a:pos x="159" y="34"/>
                    </a:cxn>
                    <a:cxn ang="0">
                      <a:pos x="125" y="0"/>
                    </a:cxn>
                    <a:cxn ang="0">
                      <a:pos x="91" y="34"/>
                    </a:cxn>
                    <a:cxn ang="0">
                      <a:pos x="125" y="68"/>
                    </a:cxn>
                    <a:cxn ang="0">
                      <a:pos x="125" y="68"/>
                    </a:cxn>
                    <a:cxn ang="0">
                      <a:pos x="125" y="68"/>
                    </a:cxn>
                  </a:cxnLst>
                  <a:rect l="0" t="0" r="r" b="b"/>
                  <a:pathLst>
                    <a:path w="250" h="296">
                      <a:moveTo>
                        <a:pt x="250" y="250"/>
                      </a:moveTo>
                      <a:cubicBezTo>
                        <a:pt x="250" y="282"/>
                        <a:pt x="185" y="296"/>
                        <a:pt x="125" y="296"/>
                      </a:cubicBezTo>
                      <a:cubicBezTo>
                        <a:pt x="65" y="296"/>
                        <a:pt x="0" y="282"/>
                        <a:pt x="0" y="250"/>
                      </a:cubicBezTo>
                      <a:cubicBezTo>
                        <a:pt x="0" y="226"/>
                        <a:pt x="36" y="215"/>
                        <a:pt x="66" y="210"/>
                      </a:cubicBezTo>
                      <a:cubicBezTo>
                        <a:pt x="72" y="209"/>
                        <a:pt x="78" y="213"/>
                        <a:pt x="79" y="219"/>
                      </a:cubicBezTo>
                      <a:cubicBezTo>
                        <a:pt x="80" y="225"/>
                        <a:pt x="76" y="231"/>
                        <a:pt x="70" y="232"/>
                      </a:cubicBezTo>
                      <a:cubicBezTo>
                        <a:pt x="33" y="239"/>
                        <a:pt x="23" y="249"/>
                        <a:pt x="23" y="251"/>
                      </a:cubicBezTo>
                      <a:cubicBezTo>
                        <a:pt x="24" y="257"/>
                        <a:pt x="58" y="273"/>
                        <a:pt x="125" y="273"/>
                      </a:cubicBezTo>
                      <a:cubicBezTo>
                        <a:pt x="192" y="273"/>
                        <a:pt x="226" y="257"/>
                        <a:pt x="228" y="250"/>
                      </a:cubicBezTo>
                      <a:cubicBezTo>
                        <a:pt x="227" y="249"/>
                        <a:pt x="217" y="238"/>
                        <a:pt x="180" y="232"/>
                      </a:cubicBezTo>
                      <a:cubicBezTo>
                        <a:pt x="174" y="231"/>
                        <a:pt x="170" y="225"/>
                        <a:pt x="171" y="219"/>
                      </a:cubicBezTo>
                      <a:cubicBezTo>
                        <a:pt x="172" y="213"/>
                        <a:pt x="178" y="209"/>
                        <a:pt x="184" y="210"/>
                      </a:cubicBezTo>
                      <a:cubicBezTo>
                        <a:pt x="214" y="215"/>
                        <a:pt x="250" y="226"/>
                        <a:pt x="250" y="250"/>
                      </a:cubicBezTo>
                      <a:close/>
                      <a:moveTo>
                        <a:pt x="80" y="182"/>
                      </a:moveTo>
                      <a:cubicBezTo>
                        <a:pt x="91" y="182"/>
                        <a:pt x="91" y="182"/>
                        <a:pt x="91" y="182"/>
                      </a:cubicBezTo>
                      <a:cubicBezTo>
                        <a:pt x="91" y="250"/>
                        <a:pt x="91" y="250"/>
                        <a:pt x="91" y="250"/>
                      </a:cubicBezTo>
                      <a:cubicBezTo>
                        <a:pt x="91" y="257"/>
                        <a:pt x="96" y="262"/>
                        <a:pt x="102" y="262"/>
                      </a:cubicBezTo>
                      <a:cubicBezTo>
                        <a:pt x="148" y="262"/>
                        <a:pt x="148" y="262"/>
                        <a:pt x="148" y="262"/>
                      </a:cubicBezTo>
                      <a:cubicBezTo>
                        <a:pt x="154" y="262"/>
                        <a:pt x="159" y="257"/>
                        <a:pt x="159" y="250"/>
                      </a:cubicBezTo>
                      <a:cubicBezTo>
                        <a:pt x="159" y="182"/>
                        <a:pt x="159" y="182"/>
                        <a:pt x="159" y="182"/>
                      </a:cubicBezTo>
                      <a:cubicBezTo>
                        <a:pt x="171" y="182"/>
                        <a:pt x="171" y="182"/>
                        <a:pt x="171" y="182"/>
                      </a:cubicBezTo>
                      <a:cubicBezTo>
                        <a:pt x="177" y="182"/>
                        <a:pt x="182" y="177"/>
                        <a:pt x="182" y="171"/>
                      </a:cubicBezTo>
                      <a:cubicBezTo>
                        <a:pt x="182" y="102"/>
                        <a:pt x="182" y="102"/>
                        <a:pt x="182" y="102"/>
                      </a:cubicBezTo>
                      <a:cubicBezTo>
                        <a:pt x="182" y="97"/>
                        <a:pt x="173" y="84"/>
                        <a:pt x="157" y="82"/>
                      </a:cubicBezTo>
                      <a:cubicBezTo>
                        <a:pt x="150" y="81"/>
                        <a:pt x="138" y="80"/>
                        <a:pt x="125" y="80"/>
                      </a:cubicBezTo>
                      <a:cubicBezTo>
                        <a:pt x="112" y="80"/>
                        <a:pt x="100" y="81"/>
                        <a:pt x="93" y="82"/>
                      </a:cubicBezTo>
                      <a:cubicBezTo>
                        <a:pt x="77" y="84"/>
                        <a:pt x="68" y="97"/>
                        <a:pt x="68" y="102"/>
                      </a:cubicBezTo>
                      <a:cubicBezTo>
                        <a:pt x="68" y="171"/>
                        <a:pt x="68" y="171"/>
                        <a:pt x="68" y="171"/>
                      </a:cubicBezTo>
                      <a:cubicBezTo>
                        <a:pt x="68" y="177"/>
                        <a:pt x="73" y="182"/>
                        <a:pt x="80" y="182"/>
                      </a:cubicBezTo>
                      <a:close/>
                      <a:moveTo>
                        <a:pt x="125" y="68"/>
                      </a:moveTo>
                      <a:cubicBezTo>
                        <a:pt x="144" y="68"/>
                        <a:pt x="159" y="53"/>
                        <a:pt x="159" y="34"/>
                      </a:cubicBezTo>
                      <a:cubicBezTo>
                        <a:pt x="159" y="15"/>
                        <a:pt x="144" y="0"/>
                        <a:pt x="125" y="0"/>
                      </a:cubicBezTo>
                      <a:cubicBezTo>
                        <a:pt x="106" y="0"/>
                        <a:pt x="91" y="15"/>
                        <a:pt x="91" y="34"/>
                      </a:cubicBezTo>
                      <a:cubicBezTo>
                        <a:pt x="91" y="53"/>
                        <a:pt x="106" y="68"/>
                        <a:pt x="125" y="68"/>
                      </a:cubicBezTo>
                      <a:close/>
                      <a:moveTo>
                        <a:pt x="125" y="68"/>
                      </a:moveTo>
                      <a:cubicBezTo>
                        <a:pt x="125" y="68"/>
                        <a:pt x="125" y="68"/>
                        <a:pt x="125" y="68"/>
                      </a:cubicBezTo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18" name="椭圆 17">
                <a:extLst>
                  <a:ext uri="{FF2B5EF4-FFF2-40B4-BE49-F238E27FC236}">
                    <a16:creationId xmlns:a16="http://schemas.microsoft.com/office/drawing/2014/main" id="{3337031F-1170-4166-A2D6-A6C0E9D434BB}"/>
                  </a:ext>
                </a:extLst>
              </p:cNvPr>
              <p:cNvSpPr/>
              <p:nvPr/>
            </p:nvSpPr>
            <p:spPr>
              <a:xfrm>
                <a:off x="5411101" y="2807732"/>
                <a:ext cx="1371600" cy="137160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b="1" i="1">
                    <a:solidFill>
                      <a:schemeClr val="bg1"/>
                    </a:solidFill>
                    <a:cs typeface="+mn-ea"/>
                    <a:sym typeface="+mn-lt"/>
                  </a:rPr>
                  <a:t>Te</a:t>
                </a:r>
                <a:r>
                  <a:rPr lang="en-US" altLang="zh-CN" sz="100" b="1" i="1">
                    <a:solidFill>
                      <a:schemeClr val="bg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b="1" i="1">
                    <a:solidFill>
                      <a:schemeClr val="bg1"/>
                    </a:solidFill>
                    <a:cs typeface="+mn-ea"/>
                    <a:sym typeface="+mn-lt"/>
                  </a:rPr>
                  <a:t>xt</a:t>
                </a:r>
                <a:endParaRPr b="1" i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24897A13-DC5C-4BC6-8A0A-116466192E7E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5607890" y="1376773"/>
                <a:ext cx="976220" cy="976220"/>
                <a:chOff x="2803582" y="3005422"/>
                <a:chExt cx="976220" cy="976220"/>
              </a:xfrm>
            </p:grpSpPr>
            <p:sp>
              <p:nvSpPr>
                <p:cNvPr id="27" name="椭圆 26">
                  <a:extLst>
                    <a:ext uri="{FF2B5EF4-FFF2-40B4-BE49-F238E27FC236}">
                      <a16:creationId xmlns:a16="http://schemas.microsoft.com/office/drawing/2014/main" id="{171819AF-0772-439F-8D1D-AB2FACDDCBBD}"/>
                    </a:ext>
                  </a:extLst>
                </p:cNvPr>
                <p:cNvSpPr/>
                <p:nvPr/>
              </p:nvSpPr>
              <p:spPr>
                <a:xfrm>
                  <a:off x="2803582" y="3005422"/>
                  <a:ext cx="976220" cy="97622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任意多边形: 形状 27">
                  <a:extLst>
                    <a:ext uri="{FF2B5EF4-FFF2-40B4-BE49-F238E27FC236}">
                      <a16:creationId xmlns:a16="http://schemas.microsoft.com/office/drawing/2014/main" id="{93D5FD04-7104-4A79-8331-3A69E758BE30}"/>
                    </a:ext>
                  </a:extLst>
                </p:cNvPr>
                <p:cNvSpPr/>
                <p:nvPr/>
              </p:nvSpPr>
              <p:spPr bwMode="auto">
                <a:xfrm>
                  <a:off x="3069166" y="3230547"/>
                  <a:ext cx="445052" cy="525971"/>
                </a:xfrm>
                <a:custGeom>
                  <a:avLst/>
                  <a:gdLst/>
                  <a:ahLst/>
                  <a:cxnLst>
                    <a:cxn ang="0">
                      <a:pos x="250" y="250"/>
                    </a:cxn>
                    <a:cxn ang="0">
                      <a:pos x="125" y="296"/>
                    </a:cxn>
                    <a:cxn ang="0">
                      <a:pos x="0" y="250"/>
                    </a:cxn>
                    <a:cxn ang="0">
                      <a:pos x="66" y="210"/>
                    </a:cxn>
                    <a:cxn ang="0">
                      <a:pos x="79" y="219"/>
                    </a:cxn>
                    <a:cxn ang="0">
                      <a:pos x="70" y="232"/>
                    </a:cxn>
                    <a:cxn ang="0">
                      <a:pos x="23" y="251"/>
                    </a:cxn>
                    <a:cxn ang="0">
                      <a:pos x="125" y="273"/>
                    </a:cxn>
                    <a:cxn ang="0">
                      <a:pos x="228" y="250"/>
                    </a:cxn>
                    <a:cxn ang="0">
                      <a:pos x="180" y="232"/>
                    </a:cxn>
                    <a:cxn ang="0">
                      <a:pos x="171" y="219"/>
                    </a:cxn>
                    <a:cxn ang="0">
                      <a:pos x="184" y="210"/>
                    </a:cxn>
                    <a:cxn ang="0">
                      <a:pos x="250" y="250"/>
                    </a:cxn>
                    <a:cxn ang="0">
                      <a:pos x="80" y="182"/>
                    </a:cxn>
                    <a:cxn ang="0">
                      <a:pos x="91" y="182"/>
                    </a:cxn>
                    <a:cxn ang="0">
                      <a:pos x="91" y="250"/>
                    </a:cxn>
                    <a:cxn ang="0">
                      <a:pos x="102" y="262"/>
                    </a:cxn>
                    <a:cxn ang="0">
                      <a:pos x="148" y="262"/>
                    </a:cxn>
                    <a:cxn ang="0">
                      <a:pos x="159" y="250"/>
                    </a:cxn>
                    <a:cxn ang="0">
                      <a:pos x="159" y="182"/>
                    </a:cxn>
                    <a:cxn ang="0">
                      <a:pos x="171" y="182"/>
                    </a:cxn>
                    <a:cxn ang="0">
                      <a:pos x="182" y="171"/>
                    </a:cxn>
                    <a:cxn ang="0">
                      <a:pos x="182" y="102"/>
                    </a:cxn>
                    <a:cxn ang="0">
                      <a:pos x="157" y="82"/>
                    </a:cxn>
                    <a:cxn ang="0">
                      <a:pos x="125" y="80"/>
                    </a:cxn>
                    <a:cxn ang="0">
                      <a:pos x="93" y="82"/>
                    </a:cxn>
                    <a:cxn ang="0">
                      <a:pos x="68" y="102"/>
                    </a:cxn>
                    <a:cxn ang="0">
                      <a:pos x="68" y="171"/>
                    </a:cxn>
                    <a:cxn ang="0">
                      <a:pos x="80" y="182"/>
                    </a:cxn>
                    <a:cxn ang="0">
                      <a:pos x="125" y="68"/>
                    </a:cxn>
                    <a:cxn ang="0">
                      <a:pos x="159" y="34"/>
                    </a:cxn>
                    <a:cxn ang="0">
                      <a:pos x="125" y="0"/>
                    </a:cxn>
                    <a:cxn ang="0">
                      <a:pos x="91" y="34"/>
                    </a:cxn>
                    <a:cxn ang="0">
                      <a:pos x="125" y="68"/>
                    </a:cxn>
                    <a:cxn ang="0">
                      <a:pos x="125" y="68"/>
                    </a:cxn>
                    <a:cxn ang="0">
                      <a:pos x="125" y="68"/>
                    </a:cxn>
                  </a:cxnLst>
                  <a:rect l="0" t="0" r="r" b="b"/>
                  <a:pathLst>
                    <a:path w="250" h="296">
                      <a:moveTo>
                        <a:pt x="250" y="250"/>
                      </a:moveTo>
                      <a:cubicBezTo>
                        <a:pt x="250" y="282"/>
                        <a:pt x="185" y="296"/>
                        <a:pt x="125" y="296"/>
                      </a:cubicBezTo>
                      <a:cubicBezTo>
                        <a:pt x="65" y="296"/>
                        <a:pt x="0" y="282"/>
                        <a:pt x="0" y="250"/>
                      </a:cubicBezTo>
                      <a:cubicBezTo>
                        <a:pt x="0" y="226"/>
                        <a:pt x="36" y="215"/>
                        <a:pt x="66" y="210"/>
                      </a:cubicBezTo>
                      <a:cubicBezTo>
                        <a:pt x="72" y="209"/>
                        <a:pt x="78" y="213"/>
                        <a:pt x="79" y="219"/>
                      </a:cubicBezTo>
                      <a:cubicBezTo>
                        <a:pt x="80" y="225"/>
                        <a:pt x="76" y="231"/>
                        <a:pt x="70" y="232"/>
                      </a:cubicBezTo>
                      <a:cubicBezTo>
                        <a:pt x="33" y="239"/>
                        <a:pt x="23" y="249"/>
                        <a:pt x="23" y="251"/>
                      </a:cubicBezTo>
                      <a:cubicBezTo>
                        <a:pt x="24" y="257"/>
                        <a:pt x="58" y="273"/>
                        <a:pt x="125" y="273"/>
                      </a:cubicBezTo>
                      <a:cubicBezTo>
                        <a:pt x="192" y="273"/>
                        <a:pt x="226" y="257"/>
                        <a:pt x="228" y="250"/>
                      </a:cubicBezTo>
                      <a:cubicBezTo>
                        <a:pt x="227" y="249"/>
                        <a:pt x="217" y="238"/>
                        <a:pt x="180" y="232"/>
                      </a:cubicBezTo>
                      <a:cubicBezTo>
                        <a:pt x="174" y="231"/>
                        <a:pt x="170" y="225"/>
                        <a:pt x="171" y="219"/>
                      </a:cubicBezTo>
                      <a:cubicBezTo>
                        <a:pt x="172" y="213"/>
                        <a:pt x="178" y="209"/>
                        <a:pt x="184" y="210"/>
                      </a:cubicBezTo>
                      <a:cubicBezTo>
                        <a:pt x="214" y="215"/>
                        <a:pt x="250" y="226"/>
                        <a:pt x="250" y="250"/>
                      </a:cubicBezTo>
                      <a:close/>
                      <a:moveTo>
                        <a:pt x="80" y="182"/>
                      </a:moveTo>
                      <a:cubicBezTo>
                        <a:pt x="91" y="182"/>
                        <a:pt x="91" y="182"/>
                        <a:pt x="91" y="182"/>
                      </a:cubicBezTo>
                      <a:cubicBezTo>
                        <a:pt x="91" y="250"/>
                        <a:pt x="91" y="250"/>
                        <a:pt x="91" y="250"/>
                      </a:cubicBezTo>
                      <a:cubicBezTo>
                        <a:pt x="91" y="257"/>
                        <a:pt x="96" y="262"/>
                        <a:pt x="102" y="262"/>
                      </a:cubicBezTo>
                      <a:cubicBezTo>
                        <a:pt x="148" y="262"/>
                        <a:pt x="148" y="262"/>
                        <a:pt x="148" y="262"/>
                      </a:cubicBezTo>
                      <a:cubicBezTo>
                        <a:pt x="154" y="262"/>
                        <a:pt x="159" y="257"/>
                        <a:pt x="159" y="250"/>
                      </a:cubicBezTo>
                      <a:cubicBezTo>
                        <a:pt x="159" y="182"/>
                        <a:pt x="159" y="182"/>
                        <a:pt x="159" y="182"/>
                      </a:cubicBezTo>
                      <a:cubicBezTo>
                        <a:pt x="171" y="182"/>
                        <a:pt x="171" y="182"/>
                        <a:pt x="171" y="182"/>
                      </a:cubicBezTo>
                      <a:cubicBezTo>
                        <a:pt x="177" y="182"/>
                        <a:pt x="182" y="177"/>
                        <a:pt x="182" y="171"/>
                      </a:cubicBezTo>
                      <a:cubicBezTo>
                        <a:pt x="182" y="102"/>
                        <a:pt x="182" y="102"/>
                        <a:pt x="182" y="102"/>
                      </a:cubicBezTo>
                      <a:cubicBezTo>
                        <a:pt x="182" y="97"/>
                        <a:pt x="173" y="84"/>
                        <a:pt x="157" y="82"/>
                      </a:cubicBezTo>
                      <a:cubicBezTo>
                        <a:pt x="150" y="81"/>
                        <a:pt x="138" y="80"/>
                        <a:pt x="125" y="80"/>
                      </a:cubicBezTo>
                      <a:cubicBezTo>
                        <a:pt x="112" y="80"/>
                        <a:pt x="100" y="81"/>
                        <a:pt x="93" y="82"/>
                      </a:cubicBezTo>
                      <a:cubicBezTo>
                        <a:pt x="77" y="84"/>
                        <a:pt x="68" y="97"/>
                        <a:pt x="68" y="102"/>
                      </a:cubicBezTo>
                      <a:cubicBezTo>
                        <a:pt x="68" y="171"/>
                        <a:pt x="68" y="171"/>
                        <a:pt x="68" y="171"/>
                      </a:cubicBezTo>
                      <a:cubicBezTo>
                        <a:pt x="68" y="177"/>
                        <a:pt x="73" y="182"/>
                        <a:pt x="80" y="182"/>
                      </a:cubicBezTo>
                      <a:close/>
                      <a:moveTo>
                        <a:pt x="125" y="68"/>
                      </a:moveTo>
                      <a:cubicBezTo>
                        <a:pt x="144" y="68"/>
                        <a:pt x="159" y="53"/>
                        <a:pt x="159" y="34"/>
                      </a:cubicBezTo>
                      <a:cubicBezTo>
                        <a:pt x="159" y="15"/>
                        <a:pt x="144" y="0"/>
                        <a:pt x="125" y="0"/>
                      </a:cubicBezTo>
                      <a:cubicBezTo>
                        <a:pt x="106" y="0"/>
                        <a:pt x="91" y="15"/>
                        <a:pt x="91" y="34"/>
                      </a:cubicBezTo>
                      <a:cubicBezTo>
                        <a:pt x="91" y="53"/>
                        <a:pt x="106" y="68"/>
                        <a:pt x="125" y="68"/>
                      </a:cubicBezTo>
                      <a:close/>
                      <a:moveTo>
                        <a:pt x="125" y="68"/>
                      </a:moveTo>
                      <a:cubicBezTo>
                        <a:pt x="125" y="68"/>
                        <a:pt x="125" y="68"/>
                        <a:pt x="125" y="68"/>
                      </a:cubicBezTo>
                    </a:path>
                  </a:pathLst>
                </a:custGeom>
                <a:solidFill>
                  <a:schemeClr val="accent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19306853-4D26-4668-BF10-A26F16DD217C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5607890" y="4800611"/>
                <a:ext cx="976220" cy="976220"/>
                <a:chOff x="2803582" y="3005422"/>
                <a:chExt cx="976220" cy="976220"/>
              </a:xfrm>
            </p:grpSpPr>
            <p:sp>
              <p:nvSpPr>
                <p:cNvPr id="25" name="椭圆 24">
                  <a:extLst>
                    <a:ext uri="{FF2B5EF4-FFF2-40B4-BE49-F238E27FC236}">
                      <a16:creationId xmlns:a16="http://schemas.microsoft.com/office/drawing/2014/main" id="{D403BE16-AB8C-41A4-AEBC-023BA9145289}"/>
                    </a:ext>
                  </a:extLst>
                </p:cNvPr>
                <p:cNvSpPr/>
                <p:nvPr/>
              </p:nvSpPr>
              <p:spPr>
                <a:xfrm>
                  <a:off x="2803582" y="3005422"/>
                  <a:ext cx="976220" cy="97622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26" name="任意多边形: 形状 25">
                  <a:extLst>
                    <a:ext uri="{FF2B5EF4-FFF2-40B4-BE49-F238E27FC236}">
                      <a16:creationId xmlns:a16="http://schemas.microsoft.com/office/drawing/2014/main" id="{9802348E-BEB0-49B1-9253-339E8C1D65D2}"/>
                    </a:ext>
                  </a:extLst>
                </p:cNvPr>
                <p:cNvSpPr/>
                <p:nvPr/>
              </p:nvSpPr>
              <p:spPr bwMode="auto">
                <a:xfrm>
                  <a:off x="3069166" y="3230547"/>
                  <a:ext cx="445052" cy="525971"/>
                </a:xfrm>
                <a:custGeom>
                  <a:avLst/>
                  <a:gdLst/>
                  <a:ahLst/>
                  <a:cxnLst>
                    <a:cxn ang="0">
                      <a:pos x="250" y="250"/>
                    </a:cxn>
                    <a:cxn ang="0">
                      <a:pos x="125" y="296"/>
                    </a:cxn>
                    <a:cxn ang="0">
                      <a:pos x="0" y="250"/>
                    </a:cxn>
                    <a:cxn ang="0">
                      <a:pos x="66" y="210"/>
                    </a:cxn>
                    <a:cxn ang="0">
                      <a:pos x="79" y="219"/>
                    </a:cxn>
                    <a:cxn ang="0">
                      <a:pos x="70" y="232"/>
                    </a:cxn>
                    <a:cxn ang="0">
                      <a:pos x="23" y="251"/>
                    </a:cxn>
                    <a:cxn ang="0">
                      <a:pos x="125" y="273"/>
                    </a:cxn>
                    <a:cxn ang="0">
                      <a:pos x="228" y="250"/>
                    </a:cxn>
                    <a:cxn ang="0">
                      <a:pos x="180" y="232"/>
                    </a:cxn>
                    <a:cxn ang="0">
                      <a:pos x="171" y="219"/>
                    </a:cxn>
                    <a:cxn ang="0">
                      <a:pos x="184" y="210"/>
                    </a:cxn>
                    <a:cxn ang="0">
                      <a:pos x="250" y="250"/>
                    </a:cxn>
                    <a:cxn ang="0">
                      <a:pos x="80" y="182"/>
                    </a:cxn>
                    <a:cxn ang="0">
                      <a:pos x="91" y="182"/>
                    </a:cxn>
                    <a:cxn ang="0">
                      <a:pos x="91" y="250"/>
                    </a:cxn>
                    <a:cxn ang="0">
                      <a:pos x="102" y="262"/>
                    </a:cxn>
                    <a:cxn ang="0">
                      <a:pos x="148" y="262"/>
                    </a:cxn>
                    <a:cxn ang="0">
                      <a:pos x="159" y="250"/>
                    </a:cxn>
                    <a:cxn ang="0">
                      <a:pos x="159" y="182"/>
                    </a:cxn>
                    <a:cxn ang="0">
                      <a:pos x="171" y="182"/>
                    </a:cxn>
                    <a:cxn ang="0">
                      <a:pos x="182" y="171"/>
                    </a:cxn>
                    <a:cxn ang="0">
                      <a:pos x="182" y="102"/>
                    </a:cxn>
                    <a:cxn ang="0">
                      <a:pos x="157" y="82"/>
                    </a:cxn>
                    <a:cxn ang="0">
                      <a:pos x="125" y="80"/>
                    </a:cxn>
                    <a:cxn ang="0">
                      <a:pos x="93" y="82"/>
                    </a:cxn>
                    <a:cxn ang="0">
                      <a:pos x="68" y="102"/>
                    </a:cxn>
                    <a:cxn ang="0">
                      <a:pos x="68" y="171"/>
                    </a:cxn>
                    <a:cxn ang="0">
                      <a:pos x="80" y="182"/>
                    </a:cxn>
                    <a:cxn ang="0">
                      <a:pos x="125" y="68"/>
                    </a:cxn>
                    <a:cxn ang="0">
                      <a:pos x="159" y="34"/>
                    </a:cxn>
                    <a:cxn ang="0">
                      <a:pos x="125" y="0"/>
                    </a:cxn>
                    <a:cxn ang="0">
                      <a:pos x="91" y="34"/>
                    </a:cxn>
                    <a:cxn ang="0">
                      <a:pos x="125" y="68"/>
                    </a:cxn>
                    <a:cxn ang="0">
                      <a:pos x="125" y="68"/>
                    </a:cxn>
                    <a:cxn ang="0">
                      <a:pos x="125" y="68"/>
                    </a:cxn>
                  </a:cxnLst>
                  <a:rect l="0" t="0" r="r" b="b"/>
                  <a:pathLst>
                    <a:path w="250" h="296">
                      <a:moveTo>
                        <a:pt x="250" y="250"/>
                      </a:moveTo>
                      <a:cubicBezTo>
                        <a:pt x="250" y="282"/>
                        <a:pt x="185" y="296"/>
                        <a:pt x="125" y="296"/>
                      </a:cubicBezTo>
                      <a:cubicBezTo>
                        <a:pt x="65" y="296"/>
                        <a:pt x="0" y="282"/>
                        <a:pt x="0" y="250"/>
                      </a:cubicBezTo>
                      <a:cubicBezTo>
                        <a:pt x="0" y="226"/>
                        <a:pt x="36" y="215"/>
                        <a:pt x="66" y="210"/>
                      </a:cubicBezTo>
                      <a:cubicBezTo>
                        <a:pt x="72" y="209"/>
                        <a:pt x="78" y="213"/>
                        <a:pt x="79" y="219"/>
                      </a:cubicBezTo>
                      <a:cubicBezTo>
                        <a:pt x="80" y="225"/>
                        <a:pt x="76" y="231"/>
                        <a:pt x="70" y="232"/>
                      </a:cubicBezTo>
                      <a:cubicBezTo>
                        <a:pt x="33" y="239"/>
                        <a:pt x="23" y="249"/>
                        <a:pt x="23" y="251"/>
                      </a:cubicBezTo>
                      <a:cubicBezTo>
                        <a:pt x="24" y="257"/>
                        <a:pt x="58" y="273"/>
                        <a:pt x="125" y="273"/>
                      </a:cubicBezTo>
                      <a:cubicBezTo>
                        <a:pt x="192" y="273"/>
                        <a:pt x="226" y="257"/>
                        <a:pt x="228" y="250"/>
                      </a:cubicBezTo>
                      <a:cubicBezTo>
                        <a:pt x="227" y="249"/>
                        <a:pt x="217" y="238"/>
                        <a:pt x="180" y="232"/>
                      </a:cubicBezTo>
                      <a:cubicBezTo>
                        <a:pt x="174" y="231"/>
                        <a:pt x="170" y="225"/>
                        <a:pt x="171" y="219"/>
                      </a:cubicBezTo>
                      <a:cubicBezTo>
                        <a:pt x="172" y="213"/>
                        <a:pt x="178" y="209"/>
                        <a:pt x="184" y="210"/>
                      </a:cubicBezTo>
                      <a:cubicBezTo>
                        <a:pt x="214" y="215"/>
                        <a:pt x="250" y="226"/>
                        <a:pt x="250" y="250"/>
                      </a:cubicBezTo>
                      <a:close/>
                      <a:moveTo>
                        <a:pt x="80" y="182"/>
                      </a:moveTo>
                      <a:cubicBezTo>
                        <a:pt x="91" y="182"/>
                        <a:pt x="91" y="182"/>
                        <a:pt x="91" y="182"/>
                      </a:cubicBezTo>
                      <a:cubicBezTo>
                        <a:pt x="91" y="250"/>
                        <a:pt x="91" y="250"/>
                        <a:pt x="91" y="250"/>
                      </a:cubicBezTo>
                      <a:cubicBezTo>
                        <a:pt x="91" y="257"/>
                        <a:pt x="96" y="262"/>
                        <a:pt x="102" y="262"/>
                      </a:cubicBezTo>
                      <a:cubicBezTo>
                        <a:pt x="148" y="262"/>
                        <a:pt x="148" y="262"/>
                        <a:pt x="148" y="262"/>
                      </a:cubicBezTo>
                      <a:cubicBezTo>
                        <a:pt x="154" y="262"/>
                        <a:pt x="159" y="257"/>
                        <a:pt x="159" y="250"/>
                      </a:cubicBezTo>
                      <a:cubicBezTo>
                        <a:pt x="159" y="182"/>
                        <a:pt x="159" y="182"/>
                        <a:pt x="159" y="182"/>
                      </a:cubicBezTo>
                      <a:cubicBezTo>
                        <a:pt x="171" y="182"/>
                        <a:pt x="171" y="182"/>
                        <a:pt x="171" y="182"/>
                      </a:cubicBezTo>
                      <a:cubicBezTo>
                        <a:pt x="177" y="182"/>
                        <a:pt x="182" y="177"/>
                        <a:pt x="182" y="171"/>
                      </a:cubicBezTo>
                      <a:cubicBezTo>
                        <a:pt x="182" y="102"/>
                        <a:pt x="182" y="102"/>
                        <a:pt x="182" y="102"/>
                      </a:cubicBezTo>
                      <a:cubicBezTo>
                        <a:pt x="182" y="97"/>
                        <a:pt x="173" y="84"/>
                        <a:pt x="157" y="82"/>
                      </a:cubicBezTo>
                      <a:cubicBezTo>
                        <a:pt x="150" y="81"/>
                        <a:pt x="138" y="80"/>
                        <a:pt x="125" y="80"/>
                      </a:cubicBezTo>
                      <a:cubicBezTo>
                        <a:pt x="112" y="80"/>
                        <a:pt x="100" y="81"/>
                        <a:pt x="93" y="82"/>
                      </a:cubicBezTo>
                      <a:cubicBezTo>
                        <a:pt x="77" y="84"/>
                        <a:pt x="68" y="97"/>
                        <a:pt x="68" y="102"/>
                      </a:cubicBezTo>
                      <a:cubicBezTo>
                        <a:pt x="68" y="171"/>
                        <a:pt x="68" y="171"/>
                        <a:pt x="68" y="171"/>
                      </a:cubicBezTo>
                      <a:cubicBezTo>
                        <a:pt x="68" y="177"/>
                        <a:pt x="73" y="182"/>
                        <a:pt x="80" y="182"/>
                      </a:cubicBezTo>
                      <a:close/>
                      <a:moveTo>
                        <a:pt x="125" y="68"/>
                      </a:moveTo>
                      <a:cubicBezTo>
                        <a:pt x="144" y="68"/>
                        <a:pt x="159" y="53"/>
                        <a:pt x="159" y="34"/>
                      </a:cubicBezTo>
                      <a:cubicBezTo>
                        <a:pt x="159" y="15"/>
                        <a:pt x="144" y="0"/>
                        <a:pt x="125" y="0"/>
                      </a:cubicBezTo>
                      <a:cubicBezTo>
                        <a:pt x="106" y="0"/>
                        <a:pt x="91" y="15"/>
                        <a:pt x="91" y="34"/>
                      </a:cubicBezTo>
                      <a:cubicBezTo>
                        <a:pt x="91" y="53"/>
                        <a:pt x="106" y="68"/>
                        <a:pt x="125" y="68"/>
                      </a:cubicBezTo>
                      <a:close/>
                      <a:moveTo>
                        <a:pt x="125" y="68"/>
                      </a:moveTo>
                      <a:cubicBezTo>
                        <a:pt x="125" y="68"/>
                        <a:pt x="125" y="68"/>
                        <a:pt x="125" y="68"/>
                      </a:cubicBezTo>
                    </a:path>
                  </a:pathLst>
                </a:custGeom>
                <a:solidFill>
                  <a:schemeClr val="accent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cxnSp>
            <p:nvCxnSpPr>
              <p:cNvPr id="21" name="直接箭头连接符 20">
                <a:extLst>
                  <a:ext uri="{FF2B5EF4-FFF2-40B4-BE49-F238E27FC236}">
                    <a16:creationId xmlns:a16="http://schemas.microsoft.com/office/drawing/2014/main" id="{D93756AD-5B47-4C99-9A9F-801DBCF45F6D}"/>
                  </a:ext>
                </a:extLst>
              </p:cNvPr>
              <p:cNvCxnSpPr>
                <a:cxnSpLocks/>
                <a:stCxn id="18" idx="2"/>
                <a:endCxn id="31" idx="6"/>
              </p:cNvCxnSpPr>
              <p:nvPr/>
            </p:nvCxnSpPr>
            <p:spPr>
              <a:xfrm flipH="1">
                <a:off x="4556303" y="3493532"/>
                <a:ext cx="854798" cy="0"/>
              </a:xfrm>
              <a:prstGeom prst="straightConnector1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round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箭头连接符 21">
                <a:extLst>
                  <a:ext uri="{FF2B5EF4-FFF2-40B4-BE49-F238E27FC236}">
                    <a16:creationId xmlns:a16="http://schemas.microsoft.com/office/drawing/2014/main" id="{40F809F7-88AA-4BBC-BF15-6A1DD578438E}"/>
                  </a:ext>
                </a:extLst>
              </p:cNvPr>
              <p:cNvCxnSpPr>
                <a:cxnSpLocks/>
                <a:stCxn id="18" idx="6"/>
                <a:endCxn id="29" idx="2"/>
              </p:cNvCxnSpPr>
              <p:nvPr/>
            </p:nvCxnSpPr>
            <p:spPr>
              <a:xfrm>
                <a:off x="6782701" y="3493532"/>
                <a:ext cx="854797" cy="0"/>
              </a:xfrm>
              <a:prstGeom prst="straightConnector1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round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箭头连接符 22">
                <a:extLst>
                  <a:ext uri="{FF2B5EF4-FFF2-40B4-BE49-F238E27FC236}">
                    <a16:creationId xmlns:a16="http://schemas.microsoft.com/office/drawing/2014/main" id="{DB771DA5-1607-453C-940D-6EEC79163797}"/>
                  </a:ext>
                </a:extLst>
              </p:cNvPr>
              <p:cNvCxnSpPr>
                <a:cxnSpLocks/>
                <a:stCxn id="18" idx="0"/>
                <a:endCxn id="27" idx="4"/>
              </p:cNvCxnSpPr>
              <p:nvPr/>
            </p:nvCxnSpPr>
            <p:spPr>
              <a:xfrm flipH="1" flipV="1">
                <a:off x="6096000" y="2352993"/>
                <a:ext cx="901" cy="454739"/>
              </a:xfrm>
              <a:prstGeom prst="straightConnector1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round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箭头连接符 23">
                <a:extLst>
                  <a:ext uri="{FF2B5EF4-FFF2-40B4-BE49-F238E27FC236}">
                    <a16:creationId xmlns:a16="http://schemas.microsoft.com/office/drawing/2014/main" id="{838B3293-5A1E-4026-8C34-8F7D96AC2BB2}"/>
                  </a:ext>
                </a:extLst>
              </p:cNvPr>
              <p:cNvCxnSpPr>
                <a:cxnSpLocks/>
                <a:stCxn id="18" idx="4"/>
                <a:endCxn id="25" idx="0"/>
              </p:cNvCxnSpPr>
              <p:nvPr/>
            </p:nvCxnSpPr>
            <p:spPr>
              <a:xfrm flipH="1">
                <a:off x="6096000" y="4179332"/>
                <a:ext cx="901" cy="621279"/>
              </a:xfrm>
              <a:prstGeom prst="straightConnector1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round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B6030910-8DD4-4339-BD65-A1E0DBD70731}"/>
                </a:ext>
              </a:extLst>
            </p:cNvPr>
            <p:cNvSpPr/>
            <p:nvPr/>
          </p:nvSpPr>
          <p:spPr bwMode="auto">
            <a:xfrm>
              <a:off x="8611916" y="3335880"/>
              <a:ext cx="2908571" cy="922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</a:t>
              </a:r>
              <a:r>
                <a:rPr lang="en-US" altLang="zh-CN" sz="1100">
                  <a:cs typeface="+mn-ea"/>
                  <a:sym typeface="+mn-lt"/>
                </a:rPr>
                <a:t>to re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ain </a:t>
              </a:r>
              <a:r>
                <a:rPr lang="en-US" altLang="zh-CN" sz="1100" dirty="0">
                  <a:cs typeface="+mn-ea"/>
                  <a:sym typeface="+mn-lt"/>
                </a:rPr>
                <a:t>text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81D15CCE-8050-4898-BFDC-25A409051D42}"/>
                </a:ext>
              </a:extLst>
            </p:cNvPr>
            <p:cNvSpPr txBox="1"/>
            <p:nvPr/>
          </p:nvSpPr>
          <p:spPr bwMode="auto">
            <a:xfrm>
              <a:off x="8611916" y="2833132"/>
              <a:ext cx="2908571" cy="50274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>
                  <a:cs typeface="+mn-ea"/>
                  <a:sym typeface="+mn-lt"/>
                </a:rPr>
                <a:t>Text h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b="1">
                  <a:cs typeface="+mn-ea"/>
                  <a:sym typeface="+mn-lt"/>
                </a:rPr>
                <a:t>ere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27E6DFC5-4059-41AA-8A90-C37211780486}"/>
                </a:ext>
              </a:extLst>
            </p:cNvPr>
            <p:cNvSpPr/>
            <p:nvPr/>
          </p:nvSpPr>
          <p:spPr bwMode="auto">
            <a:xfrm>
              <a:off x="671513" y="3335880"/>
              <a:ext cx="2908571" cy="922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</a:t>
              </a:r>
              <a:r>
                <a:rPr lang="en-US" altLang="zh-CN" sz="1100">
                  <a:cs typeface="+mn-ea"/>
                  <a:sym typeface="+mn-lt"/>
                </a:rPr>
                <a:t>to re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ain </a:t>
              </a:r>
              <a:r>
                <a:rPr lang="en-US" altLang="zh-CN" sz="1100" dirty="0">
                  <a:cs typeface="+mn-ea"/>
                  <a:sym typeface="+mn-lt"/>
                </a:rPr>
                <a:t>text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771449CD-0D4D-46F5-93D3-F4695C556931}"/>
                </a:ext>
              </a:extLst>
            </p:cNvPr>
            <p:cNvSpPr txBox="1"/>
            <p:nvPr/>
          </p:nvSpPr>
          <p:spPr bwMode="auto">
            <a:xfrm>
              <a:off x="671513" y="2833132"/>
              <a:ext cx="2908571" cy="50274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>
                  <a:cs typeface="+mn-ea"/>
                  <a:sym typeface="+mn-lt"/>
                </a:rPr>
                <a:t>Text h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b="1">
                  <a:cs typeface="+mn-ea"/>
                  <a:sym typeface="+mn-lt"/>
                </a:rPr>
                <a:t>ere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44A8250D-A507-4CA0-886F-19A2FBE0F76A}"/>
                </a:ext>
              </a:extLst>
            </p:cNvPr>
            <p:cNvSpPr/>
            <p:nvPr/>
          </p:nvSpPr>
          <p:spPr bwMode="auto">
            <a:xfrm>
              <a:off x="2566527" y="1628147"/>
              <a:ext cx="2908571" cy="922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</a:t>
              </a:r>
              <a:r>
                <a:rPr lang="en-US" altLang="zh-CN" sz="1100">
                  <a:cs typeface="+mn-ea"/>
                  <a:sym typeface="+mn-lt"/>
                </a:rPr>
                <a:t>to re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ain </a:t>
              </a:r>
              <a:r>
                <a:rPr lang="en-US" altLang="zh-CN" sz="1100" dirty="0">
                  <a:cs typeface="+mn-ea"/>
                  <a:sym typeface="+mn-lt"/>
                </a:rPr>
                <a:t>text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B447FDF5-9D7A-4F5B-90C3-85509A313200}"/>
                </a:ext>
              </a:extLst>
            </p:cNvPr>
            <p:cNvSpPr txBox="1"/>
            <p:nvPr/>
          </p:nvSpPr>
          <p:spPr bwMode="auto">
            <a:xfrm>
              <a:off x="2566527" y="1125399"/>
              <a:ext cx="2908571" cy="50274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>
                  <a:cs typeface="+mn-ea"/>
                  <a:sym typeface="+mn-lt"/>
                </a:rPr>
                <a:t>Text h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b="1">
                  <a:cs typeface="+mn-ea"/>
                  <a:sym typeface="+mn-lt"/>
                </a:rPr>
                <a:t>ere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210DC7F3-0D4E-4304-9A41-E84BF3F93186}"/>
                </a:ext>
              </a:extLst>
            </p:cNvPr>
            <p:cNvSpPr/>
            <p:nvPr/>
          </p:nvSpPr>
          <p:spPr bwMode="auto">
            <a:xfrm>
              <a:off x="6584110" y="5264202"/>
              <a:ext cx="2908571" cy="922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</a:t>
              </a:r>
              <a:r>
                <a:rPr lang="en-US" altLang="zh-CN" sz="1100">
                  <a:cs typeface="+mn-ea"/>
                  <a:sym typeface="+mn-lt"/>
                </a:rPr>
                <a:t>to re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ain </a:t>
              </a:r>
              <a:r>
                <a:rPr lang="en-US" altLang="zh-CN" sz="1100" dirty="0">
                  <a:cs typeface="+mn-ea"/>
                  <a:sym typeface="+mn-lt"/>
                </a:rPr>
                <a:t>text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FE4994D9-D524-4FA6-BFB4-24A60BAD7FA9}"/>
                </a:ext>
              </a:extLst>
            </p:cNvPr>
            <p:cNvSpPr txBox="1"/>
            <p:nvPr/>
          </p:nvSpPr>
          <p:spPr bwMode="auto">
            <a:xfrm>
              <a:off x="6584110" y="4761454"/>
              <a:ext cx="2908571" cy="50274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>
                  <a:cs typeface="+mn-ea"/>
                  <a:sym typeface="+mn-lt"/>
                </a:rPr>
                <a:t>Text h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b="1">
                  <a:cs typeface="+mn-ea"/>
                  <a:sym typeface="+mn-lt"/>
                </a:rPr>
                <a:t>ere</a:t>
              </a:r>
              <a:endParaRPr lang="en-US" altLang="zh-CN" b="1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306618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512149" y="2951599"/>
            <a:ext cx="5572087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在家中怎样预防新型冠状病毒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653575" y="23868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02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031995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在家中怎样预防新型冠状病毒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7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51510" y="1344671"/>
            <a:ext cx="12088980" cy="4808479"/>
            <a:chOff x="51510" y="1344671"/>
            <a:chExt cx="12088980" cy="4808479"/>
          </a:xfrm>
        </p:grpSpPr>
        <p:cxnSp>
          <p:nvCxnSpPr>
            <p:cNvPr id="6" name="直接箭头连接符 5"/>
            <p:cNvCxnSpPr/>
            <p:nvPr/>
          </p:nvCxnSpPr>
          <p:spPr>
            <a:xfrm flipH="1">
              <a:off x="2045438" y="2176918"/>
              <a:ext cx="1" cy="2666957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箭头连接符 6"/>
            <p:cNvCxnSpPr/>
            <p:nvPr/>
          </p:nvCxnSpPr>
          <p:spPr>
            <a:xfrm>
              <a:off x="3648753" y="2176918"/>
              <a:ext cx="0" cy="1975982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箭头连接符 7"/>
            <p:cNvCxnSpPr/>
            <p:nvPr/>
          </p:nvCxnSpPr>
          <p:spPr>
            <a:xfrm>
              <a:off x="5285886" y="2176918"/>
              <a:ext cx="0" cy="2307310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箭头连接符 8"/>
            <p:cNvCxnSpPr/>
            <p:nvPr/>
          </p:nvCxnSpPr>
          <p:spPr>
            <a:xfrm>
              <a:off x="6906111" y="2176918"/>
              <a:ext cx="0" cy="1566407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箭头连接符 9"/>
            <p:cNvCxnSpPr/>
            <p:nvPr/>
          </p:nvCxnSpPr>
          <p:spPr>
            <a:xfrm>
              <a:off x="8526337" y="2176918"/>
              <a:ext cx="0" cy="2457686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接箭头连接符 10"/>
            <p:cNvCxnSpPr/>
            <p:nvPr/>
          </p:nvCxnSpPr>
          <p:spPr>
            <a:xfrm>
              <a:off x="10146561" y="2176918"/>
              <a:ext cx="0" cy="2548306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任意多边形: 形状 11"/>
            <p:cNvSpPr/>
            <p:nvPr/>
          </p:nvSpPr>
          <p:spPr>
            <a:xfrm>
              <a:off x="51510" y="4952315"/>
              <a:ext cx="3987857" cy="120083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cubicBezTo>
                    <a:pt x="19999" y="93262"/>
                    <a:pt x="50023" y="546"/>
                    <a:pt x="60626" y="2"/>
                  </a:cubicBezTo>
                  <a:cubicBezTo>
                    <a:pt x="71229" y="-542"/>
                    <a:pt x="100000" y="93262"/>
                    <a:pt x="120000" y="120000"/>
                  </a:cubicBezTo>
                  <a:lnTo>
                    <a:pt x="0" y="120000"/>
                  </a:lnTo>
                  <a:close/>
                </a:path>
              </a:pathLst>
            </a:custGeom>
            <a:solidFill>
              <a:schemeClr val="bg1">
                <a:lumMod val="95000"/>
                <a:alpha val="8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 fontScale="25000" lnSpcReduction="20000"/>
            </a:bodyPr>
            <a:lstStyle/>
            <a:p>
              <a:pPr algn="ctr" defTabSz="457200"/>
              <a:endParaRPr sz="3999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3" name="任意多边形: 形状 12"/>
            <p:cNvSpPr/>
            <p:nvPr/>
          </p:nvSpPr>
          <p:spPr>
            <a:xfrm>
              <a:off x="1671735" y="4239433"/>
              <a:ext cx="3987857" cy="19137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cubicBezTo>
                    <a:pt x="19999" y="93262"/>
                    <a:pt x="50023" y="546"/>
                    <a:pt x="60626" y="2"/>
                  </a:cubicBezTo>
                  <a:cubicBezTo>
                    <a:pt x="71229" y="-542"/>
                    <a:pt x="100000" y="93262"/>
                    <a:pt x="120000" y="120000"/>
                  </a:cubicBezTo>
                  <a:lnTo>
                    <a:pt x="0" y="120000"/>
                  </a:lnTo>
                  <a:close/>
                </a:path>
              </a:pathLst>
            </a:custGeom>
            <a:solidFill>
              <a:schemeClr val="accent2">
                <a:alpha val="8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3999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4" name="任意多边形: 形状 13"/>
            <p:cNvSpPr/>
            <p:nvPr/>
          </p:nvSpPr>
          <p:spPr>
            <a:xfrm>
              <a:off x="3291958" y="4562043"/>
              <a:ext cx="3987857" cy="159110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cubicBezTo>
                    <a:pt x="19999" y="93262"/>
                    <a:pt x="50023" y="546"/>
                    <a:pt x="60626" y="2"/>
                  </a:cubicBezTo>
                  <a:cubicBezTo>
                    <a:pt x="71229" y="-542"/>
                    <a:pt x="100000" y="93262"/>
                    <a:pt x="120000" y="120000"/>
                  </a:cubicBezTo>
                  <a:lnTo>
                    <a:pt x="0" y="120000"/>
                  </a:lnTo>
                  <a:close/>
                </a:path>
              </a:pathLst>
            </a:custGeom>
            <a:solidFill>
              <a:schemeClr val="bg1">
                <a:lumMod val="95000"/>
                <a:alpha val="8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3999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5" name="任意多边形: 形状 14"/>
            <p:cNvSpPr/>
            <p:nvPr/>
          </p:nvSpPr>
          <p:spPr>
            <a:xfrm>
              <a:off x="4912183" y="3816350"/>
              <a:ext cx="3987857" cy="23368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cubicBezTo>
                    <a:pt x="19999" y="93262"/>
                    <a:pt x="50023" y="546"/>
                    <a:pt x="60626" y="2"/>
                  </a:cubicBezTo>
                  <a:cubicBezTo>
                    <a:pt x="71229" y="-542"/>
                    <a:pt x="100000" y="93262"/>
                    <a:pt x="120000" y="120000"/>
                  </a:cubicBezTo>
                  <a:lnTo>
                    <a:pt x="0" y="120000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3999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6" name="任意多边形: 形状 15"/>
            <p:cNvSpPr/>
            <p:nvPr/>
          </p:nvSpPr>
          <p:spPr>
            <a:xfrm>
              <a:off x="6532409" y="4725224"/>
              <a:ext cx="3987857" cy="142792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cubicBezTo>
                    <a:pt x="19999" y="93262"/>
                    <a:pt x="50023" y="546"/>
                    <a:pt x="60626" y="2"/>
                  </a:cubicBezTo>
                  <a:cubicBezTo>
                    <a:pt x="71229" y="-542"/>
                    <a:pt x="100000" y="93262"/>
                    <a:pt x="120000" y="120000"/>
                  </a:cubicBezTo>
                  <a:lnTo>
                    <a:pt x="0" y="120000"/>
                  </a:lnTo>
                  <a:close/>
                </a:path>
              </a:pathLst>
            </a:custGeom>
            <a:solidFill>
              <a:schemeClr val="bg1">
                <a:lumMod val="95000"/>
                <a:alpha val="8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3999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7" name="任意多边形: 形状 16"/>
            <p:cNvSpPr/>
            <p:nvPr/>
          </p:nvSpPr>
          <p:spPr>
            <a:xfrm>
              <a:off x="8152633" y="4843875"/>
              <a:ext cx="3987857" cy="130927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cubicBezTo>
                    <a:pt x="19999" y="93262"/>
                    <a:pt x="50023" y="546"/>
                    <a:pt x="60626" y="2"/>
                  </a:cubicBezTo>
                  <a:cubicBezTo>
                    <a:pt x="71229" y="-542"/>
                    <a:pt x="100000" y="93262"/>
                    <a:pt x="120000" y="120000"/>
                  </a:cubicBezTo>
                  <a:lnTo>
                    <a:pt x="0" y="120000"/>
                  </a:lnTo>
                  <a:close/>
                </a:path>
              </a:pathLst>
            </a:custGeom>
            <a:solidFill>
              <a:schemeClr val="bg1">
                <a:lumMod val="95000"/>
                <a:alpha val="43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3999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grpSp>
          <p:nvGrpSpPr>
            <p:cNvPr id="18" name="组合 17"/>
            <p:cNvGrpSpPr/>
            <p:nvPr/>
          </p:nvGrpSpPr>
          <p:grpSpPr>
            <a:xfrm>
              <a:off x="1304620" y="2380877"/>
              <a:ext cx="1481636" cy="1061297"/>
              <a:chOff x="673101" y="2386753"/>
              <a:chExt cx="1481636" cy="1061297"/>
            </a:xfrm>
            <a:solidFill>
              <a:schemeClr val="bg1"/>
            </a:solidFill>
          </p:grpSpPr>
          <p:sp>
            <p:nvSpPr>
              <p:cNvPr id="46" name="文本框 45">
                <a:extLst>
                  <a:ext uri="{FF2B5EF4-FFF2-40B4-BE49-F238E27FC236}">
                    <a16:creationId xmlns:a16="http://schemas.microsoft.com/office/drawing/2014/main" id="{8163245C-B7EA-4976-89A5-0DBF0C461BA6}"/>
                  </a:ext>
                </a:extLst>
              </p:cNvPr>
              <p:cNvSpPr txBox="1"/>
              <p:nvPr/>
            </p:nvSpPr>
            <p:spPr>
              <a:xfrm>
                <a:off x="673101" y="2833517"/>
                <a:ext cx="1481636" cy="6145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Supporti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ng </a:t>
                </a:r>
                <a:r>
                  <a:rPr lang="en-US" altLang="zh-CN" sz="1100" dirty="0">
                    <a:cs typeface="+mn-ea"/>
                    <a:sym typeface="+mn-lt"/>
                  </a:rPr>
                  <a:t>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47" name="矩形 46">
                <a:extLst>
                  <a:ext uri="{FF2B5EF4-FFF2-40B4-BE49-F238E27FC236}">
                    <a16:creationId xmlns:a16="http://schemas.microsoft.com/office/drawing/2014/main" id="{0B164B65-32ED-4383-9E30-2BB7767DB2E4}"/>
                  </a:ext>
                </a:extLst>
              </p:cNvPr>
              <p:cNvSpPr/>
              <p:nvPr/>
            </p:nvSpPr>
            <p:spPr>
              <a:xfrm>
                <a:off x="673101" y="2386753"/>
                <a:ext cx="1481636" cy="446763"/>
              </a:xfrm>
              <a:prstGeom prst="rect">
                <a:avLst/>
              </a:prstGeom>
              <a:grp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en-US" altLang="zh-CN" b="1">
                    <a:cs typeface="+mn-ea"/>
                    <a:sym typeface="+mn-lt"/>
                  </a:rPr>
                  <a:t>Tex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cs typeface="+mn-ea"/>
                    <a:sym typeface="+mn-lt"/>
                  </a:rPr>
                  <a:t>t </a:t>
                </a:r>
                <a:r>
                  <a:rPr lang="en-US" altLang="zh-CN" b="1" dirty="0">
                    <a:cs typeface="+mn-ea"/>
                    <a:sym typeface="+mn-lt"/>
                  </a:rPr>
                  <a:t>here</a:t>
                </a:r>
                <a:endParaRPr lang="zh-CN" altLang="en-US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924845" y="2380877"/>
              <a:ext cx="1481636" cy="1061297"/>
              <a:chOff x="2488149" y="2386753"/>
              <a:chExt cx="1481636" cy="1061297"/>
            </a:xfrm>
            <a:solidFill>
              <a:schemeClr val="bg1"/>
            </a:solidFill>
          </p:grpSpPr>
          <p:sp>
            <p:nvSpPr>
              <p:cNvPr id="44" name="文本框 43">
                <a:extLst>
                  <a:ext uri="{FF2B5EF4-FFF2-40B4-BE49-F238E27FC236}">
                    <a16:creationId xmlns:a16="http://schemas.microsoft.com/office/drawing/2014/main" id="{F19AB6ED-E19C-4BD1-B944-054677074EE8}"/>
                  </a:ext>
                </a:extLst>
              </p:cNvPr>
              <p:cNvSpPr txBox="1"/>
              <p:nvPr/>
            </p:nvSpPr>
            <p:spPr>
              <a:xfrm>
                <a:off x="2488149" y="2833517"/>
                <a:ext cx="1481636" cy="6145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Supporti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ng </a:t>
                </a:r>
                <a:r>
                  <a:rPr lang="en-US" altLang="zh-CN" sz="1100" dirty="0">
                    <a:cs typeface="+mn-ea"/>
                    <a:sym typeface="+mn-lt"/>
                  </a:rPr>
                  <a:t>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45" name="矩形 44">
                <a:extLst>
                  <a:ext uri="{FF2B5EF4-FFF2-40B4-BE49-F238E27FC236}">
                    <a16:creationId xmlns:a16="http://schemas.microsoft.com/office/drawing/2014/main" id="{1CA32180-4604-4C25-A79D-7FFAEC7A9C30}"/>
                  </a:ext>
                </a:extLst>
              </p:cNvPr>
              <p:cNvSpPr/>
              <p:nvPr/>
            </p:nvSpPr>
            <p:spPr>
              <a:xfrm>
                <a:off x="2488149" y="2386753"/>
                <a:ext cx="1481636" cy="446763"/>
              </a:xfrm>
              <a:prstGeom prst="rect">
                <a:avLst/>
              </a:prstGeom>
              <a:grp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en-US" altLang="zh-CN" b="1">
                    <a:cs typeface="+mn-ea"/>
                    <a:sym typeface="+mn-lt"/>
                  </a:rPr>
                  <a:t>Tex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cs typeface="+mn-ea"/>
                    <a:sym typeface="+mn-lt"/>
                  </a:rPr>
                  <a:t>t </a:t>
                </a:r>
                <a:r>
                  <a:rPr lang="en-US" altLang="zh-CN" b="1" dirty="0">
                    <a:cs typeface="+mn-ea"/>
                    <a:sym typeface="+mn-lt"/>
                  </a:rPr>
                  <a:t>here</a:t>
                </a:r>
                <a:endParaRPr lang="zh-CN" altLang="en-US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20" name="组合 19"/>
            <p:cNvGrpSpPr/>
            <p:nvPr/>
          </p:nvGrpSpPr>
          <p:grpSpPr>
            <a:xfrm>
              <a:off x="4545068" y="2380877"/>
              <a:ext cx="1481636" cy="1061297"/>
              <a:chOff x="4303197" y="2386753"/>
              <a:chExt cx="1481636" cy="1061297"/>
            </a:xfrm>
            <a:solidFill>
              <a:schemeClr val="bg1"/>
            </a:solidFill>
          </p:grpSpPr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B5C610FE-BDBE-4765-A324-F8FFE520D2D9}"/>
                  </a:ext>
                </a:extLst>
              </p:cNvPr>
              <p:cNvSpPr txBox="1"/>
              <p:nvPr/>
            </p:nvSpPr>
            <p:spPr>
              <a:xfrm>
                <a:off x="4303197" y="2833517"/>
                <a:ext cx="1481636" cy="6145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Supporti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ng </a:t>
                </a:r>
                <a:r>
                  <a:rPr lang="en-US" altLang="zh-CN" sz="1100" dirty="0">
                    <a:cs typeface="+mn-ea"/>
                    <a:sym typeface="+mn-lt"/>
                  </a:rPr>
                  <a:t>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43" name="矩形 42">
                <a:extLst>
                  <a:ext uri="{FF2B5EF4-FFF2-40B4-BE49-F238E27FC236}">
                    <a16:creationId xmlns:a16="http://schemas.microsoft.com/office/drawing/2014/main" id="{82ECF60D-67EB-4F91-9B88-9FDCB29C63D5}"/>
                  </a:ext>
                </a:extLst>
              </p:cNvPr>
              <p:cNvSpPr/>
              <p:nvPr/>
            </p:nvSpPr>
            <p:spPr>
              <a:xfrm>
                <a:off x="4303197" y="2386753"/>
                <a:ext cx="1481636" cy="446763"/>
              </a:xfrm>
              <a:prstGeom prst="rect">
                <a:avLst/>
              </a:prstGeom>
              <a:grp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en-US" altLang="zh-CN" b="1">
                    <a:cs typeface="+mn-ea"/>
                    <a:sym typeface="+mn-lt"/>
                  </a:rPr>
                  <a:t>Tex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cs typeface="+mn-ea"/>
                    <a:sym typeface="+mn-lt"/>
                  </a:rPr>
                  <a:t>t </a:t>
                </a:r>
                <a:r>
                  <a:rPr lang="en-US" altLang="zh-CN" b="1" dirty="0">
                    <a:cs typeface="+mn-ea"/>
                    <a:sym typeface="+mn-lt"/>
                  </a:rPr>
                  <a:t>here</a:t>
                </a:r>
                <a:endParaRPr lang="zh-CN" altLang="en-US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21" name="组合 20"/>
            <p:cNvGrpSpPr/>
            <p:nvPr/>
          </p:nvGrpSpPr>
          <p:grpSpPr>
            <a:xfrm>
              <a:off x="6165293" y="2380877"/>
              <a:ext cx="1481636" cy="1061297"/>
              <a:chOff x="6118245" y="2386753"/>
              <a:chExt cx="1481636" cy="1061297"/>
            </a:xfrm>
            <a:solidFill>
              <a:schemeClr val="bg1"/>
            </a:solidFill>
          </p:grpSpPr>
          <p:sp>
            <p:nvSpPr>
              <p:cNvPr id="40" name="文本框 39">
                <a:extLst>
                  <a:ext uri="{FF2B5EF4-FFF2-40B4-BE49-F238E27FC236}">
                    <a16:creationId xmlns:a16="http://schemas.microsoft.com/office/drawing/2014/main" id="{1845C12D-23A2-4C12-ACA7-7186719A3114}"/>
                  </a:ext>
                </a:extLst>
              </p:cNvPr>
              <p:cNvSpPr txBox="1"/>
              <p:nvPr/>
            </p:nvSpPr>
            <p:spPr>
              <a:xfrm>
                <a:off x="6118245" y="2833517"/>
                <a:ext cx="1481636" cy="6145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Supporti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ng </a:t>
                </a:r>
                <a:r>
                  <a:rPr lang="en-US" altLang="zh-CN" sz="1100" dirty="0">
                    <a:cs typeface="+mn-ea"/>
                    <a:sym typeface="+mn-lt"/>
                  </a:rPr>
                  <a:t>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41" name="矩形 40">
                <a:extLst>
                  <a:ext uri="{FF2B5EF4-FFF2-40B4-BE49-F238E27FC236}">
                    <a16:creationId xmlns:a16="http://schemas.microsoft.com/office/drawing/2014/main" id="{BD0A9B74-9318-49EB-A332-8B3406F94C12}"/>
                  </a:ext>
                </a:extLst>
              </p:cNvPr>
              <p:cNvSpPr/>
              <p:nvPr/>
            </p:nvSpPr>
            <p:spPr>
              <a:xfrm>
                <a:off x="6118245" y="2386753"/>
                <a:ext cx="1481636" cy="446763"/>
              </a:xfrm>
              <a:prstGeom prst="rect">
                <a:avLst/>
              </a:prstGeom>
              <a:grp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en-US" altLang="zh-CN" b="1">
                    <a:cs typeface="+mn-ea"/>
                    <a:sym typeface="+mn-lt"/>
                  </a:rPr>
                  <a:t>Tex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cs typeface="+mn-ea"/>
                    <a:sym typeface="+mn-lt"/>
                  </a:rPr>
                  <a:t>t </a:t>
                </a:r>
                <a:r>
                  <a:rPr lang="en-US" altLang="zh-CN" b="1" dirty="0">
                    <a:cs typeface="+mn-ea"/>
                    <a:sym typeface="+mn-lt"/>
                  </a:rPr>
                  <a:t>here</a:t>
                </a:r>
                <a:endParaRPr lang="zh-CN" altLang="en-US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785519" y="2380877"/>
              <a:ext cx="1481636" cy="1061297"/>
              <a:chOff x="7933293" y="2386753"/>
              <a:chExt cx="1481636" cy="1061297"/>
            </a:xfrm>
            <a:solidFill>
              <a:schemeClr val="bg1"/>
            </a:solidFill>
          </p:grpSpPr>
          <p:sp>
            <p:nvSpPr>
              <p:cNvPr id="38" name="文本框 37">
                <a:extLst>
                  <a:ext uri="{FF2B5EF4-FFF2-40B4-BE49-F238E27FC236}">
                    <a16:creationId xmlns:a16="http://schemas.microsoft.com/office/drawing/2014/main" id="{AD0F5F2F-9FAB-4933-B66F-E3FD601041C2}"/>
                  </a:ext>
                </a:extLst>
              </p:cNvPr>
              <p:cNvSpPr txBox="1"/>
              <p:nvPr/>
            </p:nvSpPr>
            <p:spPr>
              <a:xfrm>
                <a:off x="7933293" y="2833517"/>
                <a:ext cx="1481636" cy="6145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Supporti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ng </a:t>
                </a:r>
                <a:r>
                  <a:rPr lang="en-US" altLang="zh-CN" sz="1100" dirty="0">
                    <a:cs typeface="+mn-ea"/>
                    <a:sym typeface="+mn-lt"/>
                  </a:rPr>
                  <a:t>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39" name="矩形 38">
                <a:extLst>
                  <a:ext uri="{FF2B5EF4-FFF2-40B4-BE49-F238E27FC236}">
                    <a16:creationId xmlns:a16="http://schemas.microsoft.com/office/drawing/2014/main" id="{2ACFBDB4-D15A-46E2-BB81-12E9D967D69A}"/>
                  </a:ext>
                </a:extLst>
              </p:cNvPr>
              <p:cNvSpPr/>
              <p:nvPr/>
            </p:nvSpPr>
            <p:spPr>
              <a:xfrm>
                <a:off x="7933293" y="2386753"/>
                <a:ext cx="1481636" cy="446763"/>
              </a:xfrm>
              <a:prstGeom prst="rect">
                <a:avLst/>
              </a:prstGeom>
              <a:grp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en-US" altLang="zh-CN" b="1">
                    <a:cs typeface="+mn-ea"/>
                    <a:sym typeface="+mn-lt"/>
                  </a:rPr>
                  <a:t>Tex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cs typeface="+mn-ea"/>
                    <a:sym typeface="+mn-lt"/>
                  </a:rPr>
                  <a:t>t </a:t>
                </a:r>
                <a:r>
                  <a:rPr lang="en-US" altLang="zh-CN" b="1" dirty="0">
                    <a:cs typeface="+mn-ea"/>
                    <a:sym typeface="+mn-lt"/>
                  </a:rPr>
                  <a:t>here</a:t>
                </a:r>
                <a:endParaRPr lang="zh-CN" altLang="en-US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23" name="组合 22"/>
            <p:cNvGrpSpPr/>
            <p:nvPr/>
          </p:nvGrpSpPr>
          <p:grpSpPr>
            <a:xfrm>
              <a:off x="9405743" y="2380877"/>
              <a:ext cx="1481636" cy="1061297"/>
              <a:chOff x="9748340" y="2386753"/>
              <a:chExt cx="1481636" cy="1061297"/>
            </a:xfrm>
            <a:solidFill>
              <a:schemeClr val="bg1"/>
            </a:solidFill>
          </p:grpSpPr>
          <p:sp>
            <p:nvSpPr>
              <p:cNvPr id="36" name="文本框 35">
                <a:extLst>
                  <a:ext uri="{FF2B5EF4-FFF2-40B4-BE49-F238E27FC236}">
                    <a16:creationId xmlns:a16="http://schemas.microsoft.com/office/drawing/2014/main" id="{0BC82D2F-D613-47FC-97CF-B7B35B44E7D0}"/>
                  </a:ext>
                </a:extLst>
              </p:cNvPr>
              <p:cNvSpPr txBox="1"/>
              <p:nvPr/>
            </p:nvSpPr>
            <p:spPr>
              <a:xfrm>
                <a:off x="9748340" y="2833517"/>
                <a:ext cx="1481636" cy="6145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Supporti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ng </a:t>
                </a:r>
                <a:r>
                  <a:rPr lang="en-US" altLang="zh-CN" sz="1100" dirty="0">
                    <a:cs typeface="+mn-ea"/>
                    <a:sym typeface="+mn-lt"/>
                  </a:rPr>
                  <a:t>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37" name="矩形 36">
                <a:extLst>
                  <a:ext uri="{FF2B5EF4-FFF2-40B4-BE49-F238E27FC236}">
                    <a16:creationId xmlns:a16="http://schemas.microsoft.com/office/drawing/2014/main" id="{32C47EEC-182A-4B4B-9247-FEBED206C96E}"/>
                  </a:ext>
                </a:extLst>
              </p:cNvPr>
              <p:cNvSpPr/>
              <p:nvPr/>
            </p:nvSpPr>
            <p:spPr>
              <a:xfrm>
                <a:off x="9748340" y="2386753"/>
                <a:ext cx="1481636" cy="446763"/>
              </a:xfrm>
              <a:prstGeom prst="rect">
                <a:avLst/>
              </a:prstGeom>
              <a:grp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en-US" altLang="zh-CN" b="1">
                    <a:cs typeface="+mn-ea"/>
                    <a:sym typeface="+mn-lt"/>
                  </a:rPr>
                  <a:t>Tex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cs typeface="+mn-ea"/>
                    <a:sym typeface="+mn-lt"/>
                  </a:rPr>
                  <a:t>t </a:t>
                </a:r>
                <a:r>
                  <a:rPr lang="en-US" altLang="zh-CN" b="1" dirty="0">
                    <a:cs typeface="+mn-ea"/>
                    <a:sym typeface="+mn-lt"/>
                  </a:rPr>
                  <a:t>here</a:t>
                </a:r>
                <a:endParaRPr lang="zh-CN" altLang="en-US" b="1" dirty="0">
                  <a:cs typeface="+mn-ea"/>
                  <a:sym typeface="+mn-lt"/>
                </a:endParaRPr>
              </a:p>
            </p:txBody>
          </p:sp>
        </p:grpSp>
        <p:sp>
          <p:nvSpPr>
            <p:cNvPr id="24" name="椭圆 23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1688643" y="1344671"/>
              <a:ext cx="713590" cy="71359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>
                <a:cs typeface="+mn-ea"/>
                <a:sym typeface="+mn-lt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1822857" y="1492980"/>
              <a:ext cx="445161" cy="416977"/>
            </a:xfrm>
            <a:custGeom>
              <a:avLst/>
              <a:gdLst>
                <a:gd name="T0" fmla="*/ 4791 w 8427"/>
                <a:gd name="T1" fmla="*/ 0 h 7905"/>
                <a:gd name="T2" fmla="*/ 1815 w 8427"/>
                <a:gd name="T3" fmla="*/ 1550 h 7905"/>
                <a:gd name="T4" fmla="*/ 2213 w 8427"/>
                <a:gd name="T5" fmla="*/ 1918 h 7905"/>
                <a:gd name="T6" fmla="*/ 4418 w 8427"/>
                <a:gd name="T7" fmla="*/ 557 h 7905"/>
                <a:gd name="T8" fmla="*/ 4791 w 8427"/>
                <a:gd name="T9" fmla="*/ 1189 h 7905"/>
                <a:gd name="T10" fmla="*/ 5164 w 8427"/>
                <a:gd name="T11" fmla="*/ 557 h 7905"/>
                <a:gd name="T12" fmla="*/ 7870 w 8427"/>
                <a:gd name="T13" fmla="*/ 3263 h 7905"/>
                <a:gd name="T14" fmla="*/ 7238 w 8427"/>
                <a:gd name="T15" fmla="*/ 3636 h 7905"/>
                <a:gd name="T16" fmla="*/ 7870 w 8427"/>
                <a:gd name="T17" fmla="*/ 4009 h 7905"/>
                <a:gd name="T18" fmla="*/ 6448 w 8427"/>
                <a:gd name="T19" fmla="*/ 6254 h 7905"/>
                <a:gd name="T20" fmla="*/ 6529 w 8427"/>
                <a:gd name="T21" fmla="*/ 6597 h 7905"/>
                <a:gd name="T22" fmla="*/ 6506 w 8427"/>
                <a:gd name="T23" fmla="*/ 6841 h 7905"/>
                <a:gd name="T24" fmla="*/ 8427 w 8427"/>
                <a:gd name="T25" fmla="*/ 3636 h 7905"/>
                <a:gd name="T26" fmla="*/ 4791 w 8427"/>
                <a:gd name="T27" fmla="*/ 0 h 7905"/>
                <a:gd name="T28" fmla="*/ 5719 w 8427"/>
                <a:gd name="T29" fmla="*/ 5988 h 7905"/>
                <a:gd name="T30" fmla="*/ 4266 w 8427"/>
                <a:gd name="T31" fmla="*/ 6026 h 7905"/>
                <a:gd name="T32" fmla="*/ 2748 w 8427"/>
                <a:gd name="T33" fmla="*/ 5157 h 7905"/>
                <a:gd name="T34" fmla="*/ 1879 w 8427"/>
                <a:gd name="T35" fmla="*/ 3639 h 7905"/>
                <a:gd name="T36" fmla="*/ 1917 w 8427"/>
                <a:gd name="T37" fmla="*/ 2186 h 7905"/>
                <a:gd name="T38" fmla="*/ 426 w 8427"/>
                <a:gd name="T39" fmla="*/ 2360 h 7905"/>
                <a:gd name="T40" fmla="*/ 1969 w 8427"/>
                <a:gd name="T41" fmla="*/ 5936 h 7905"/>
                <a:gd name="T42" fmla="*/ 5545 w 8427"/>
                <a:gd name="T43" fmla="*/ 7480 h 7905"/>
                <a:gd name="T44" fmla="*/ 5719 w 8427"/>
                <a:gd name="T45" fmla="*/ 5988 h 7905"/>
                <a:gd name="T46" fmla="*/ 3166 w 8427"/>
                <a:gd name="T47" fmla="*/ 4205 h 7905"/>
                <a:gd name="T48" fmla="*/ 4038 w 8427"/>
                <a:gd name="T49" fmla="*/ 3037 h 7905"/>
                <a:gd name="T50" fmla="*/ 3821 w 8427"/>
                <a:gd name="T51" fmla="*/ 2836 h 7905"/>
                <a:gd name="T52" fmla="*/ 3522 w 8427"/>
                <a:gd name="T53" fmla="*/ 3051 h 7905"/>
                <a:gd name="T54" fmla="*/ 3155 w 8427"/>
                <a:gd name="T55" fmla="*/ 2805 h 7905"/>
                <a:gd name="T56" fmla="*/ 3866 w 8427"/>
                <a:gd name="T57" fmla="*/ 2370 h 7905"/>
                <a:gd name="T58" fmla="*/ 4555 w 8427"/>
                <a:gd name="T59" fmla="*/ 2989 h 7905"/>
                <a:gd name="T60" fmla="*/ 3728 w 8427"/>
                <a:gd name="T61" fmla="*/ 3999 h 7905"/>
                <a:gd name="T62" fmla="*/ 4586 w 8427"/>
                <a:gd name="T63" fmla="*/ 3999 h 7905"/>
                <a:gd name="T64" fmla="*/ 4586 w 8427"/>
                <a:gd name="T65" fmla="*/ 4422 h 7905"/>
                <a:gd name="T66" fmla="*/ 3189 w 8427"/>
                <a:gd name="T67" fmla="*/ 4422 h 7905"/>
                <a:gd name="T68" fmla="*/ 3166 w 8427"/>
                <a:gd name="T69" fmla="*/ 4205 h 7905"/>
                <a:gd name="T70" fmla="*/ 4792 w 8427"/>
                <a:gd name="T71" fmla="*/ 3635 h 7905"/>
                <a:gd name="T72" fmla="*/ 5571 w 8427"/>
                <a:gd name="T73" fmla="*/ 2404 h 7905"/>
                <a:gd name="T74" fmla="*/ 6175 w 8427"/>
                <a:gd name="T75" fmla="*/ 2404 h 7905"/>
                <a:gd name="T76" fmla="*/ 6175 w 8427"/>
                <a:gd name="T77" fmla="*/ 3525 h 7905"/>
                <a:gd name="T78" fmla="*/ 6415 w 8427"/>
                <a:gd name="T79" fmla="*/ 3525 h 7905"/>
                <a:gd name="T80" fmla="*/ 6415 w 8427"/>
                <a:gd name="T81" fmla="*/ 3934 h 7905"/>
                <a:gd name="T82" fmla="*/ 6175 w 8427"/>
                <a:gd name="T83" fmla="*/ 3934 h 7905"/>
                <a:gd name="T84" fmla="*/ 6175 w 8427"/>
                <a:gd name="T85" fmla="*/ 4422 h 7905"/>
                <a:gd name="T86" fmla="*/ 5687 w 8427"/>
                <a:gd name="T87" fmla="*/ 4422 h 7905"/>
                <a:gd name="T88" fmla="*/ 5687 w 8427"/>
                <a:gd name="T89" fmla="*/ 3934 h 7905"/>
                <a:gd name="T90" fmla="*/ 4792 w 8427"/>
                <a:gd name="T91" fmla="*/ 3934 h 7905"/>
                <a:gd name="T92" fmla="*/ 4792 w 8427"/>
                <a:gd name="T93" fmla="*/ 3635 h 7905"/>
                <a:gd name="T94" fmla="*/ 4792 w 8427"/>
                <a:gd name="T95" fmla="*/ 3635 h 7905"/>
                <a:gd name="T96" fmla="*/ 5687 w 8427"/>
                <a:gd name="T97" fmla="*/ 3525 h 7905"/>
                <a:gd name="T98" fmla="*/ 5687 w 8427"/>
                <a:gd name="T99" fmla="*/ 3073 h 7905"/>
                <a:gd name="T100" fmla="*/ 5704 w 8427"/>
                <a:gd name="T101" fmla="*/ 2847 h 7905"/>
                <a:gd name="T102" fmla="*/ 5698 w 8427"/>
                <a:gd name="T103" fmla="*/ 2847 h 7905"/>
                <a:gd name="T104" fmla="*/ 5599 w 8427"/>
                <a:gd name="T105" fmla="*/ 3056 h 7905"/>
                <a:gd name="T106" fmla="*/ 5295 w 8427"/>
                <a:gd name="T107" fmla="*/ 3519 h 7905"/>
                <a:gd name="T108" fmla="*/ 5295 w 8427"/>
                <a:gd name="T109" fmla="*/ 3525 h 7905"/>
                <a:gd name="T110" fmla="*/ 5687 w 8427"/>
                <a:gd name="T111" fmla="*/ 3525 h 7905"/>
                <a:gd name="T112" fmla="*/ 5687 w 8427"/>
                <a:gd name="T113" fmla="*/ 3525 h 7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427" h="7905">
                  <a:moveTo>
                    <a:pt x="4791" y="0"/>
                  </a:moveTo>
                  <a:cubicBezTo>
                    <a:pt x="3562" y="0"/>
                    <a:pt x="2474" y="614"/>
                    <a:pt x="1815" y="1550"/>
                  </a:cubicBezTo>
                  <a:cubicBezTo>
                    <a:pt x="1952" y="1639"/>
                    <a:pt x="2085" y="1761"/>
                    <a:pt x="2213" y="1918"/>
                  </a:cubicBezTo>
                  <a:cubicBezTo>
                    <a:pt x="2704" y="1183"/>
                    <a:pt x="3499" y="668"/>
                    <a:pt x="4418" y="557"/>
                  </a:cubicBezTo>
                  <a:lnTo>
                    <a:pt x="4791" y="1189"/>
                  </a:lnTo>
                  <a:lnTo>
                    <a:pt x="5164" y="557"/>
                  </a:lnTo>
                  <a:cubicBezTo>
                    <a:pt x="6577" y="727"/>
                    <a:pt x="7700" y="1850"/>
                    <a:pt x="7870" y="3263"/>
                  </a:cubicBezTo>
                  <a:lnTo>
                    <a:pt x="7238" y="3636"/>
                  </a:lnTo>
                  <a:lnTo>
                    <a:pt x="7870" y="4009"/>
                  </a:lnTo>
                  <a:cubicBezTo>
                    <a:pt x="7756" y="4954"/>
                    <a:pt x="7215" y="5767"/>
                    <a:pt x="6448" y="6254"/>
                  </a:cubicBezTo>
                  <a:cubicBezTo>
                    <a:pt x="6497" y="6366"/>
                    <a:pt x="6524" y="6480"/>
                    <a:pt x="6529" y="6597"/>
                  </a:cubicBezTo>
                  <a:cubicBezTo>
                    <a:pt x="6533" y="6683"/>
                    <a:pt x="6524" y="6764"/>
                    <a:pt x="6506" y="6841"/>
                  </a:cubicBezTo>
                  <a:cubicBezTo>
                    <a:pt x="7648" y="6227"/>
                    <a:pt x="8427" y="5021"/>
                    <a:pt x="8427" y="3636"/>
                  </a:cubicBezTo>
                  <a:cubicBezTo>
                    <a:pt x="8427" y="1631"/>
                    <a:pt x="6796" y="0"/>
                    <a:pt x="4791" y="0"/>
                  </a:cubicBezTo>
                  <a:close/>
                  <a:moveTo>
                    <a:pt x="5719" y="5988"/>
                  </a:moveTo>
                  <a:cubicBezTo>
                    <a:pt x="4881" y="5315"/>
                    <a:pt x="4646" y="5646"/>
                    <a:pt x="4266" y="6026"/>
                  </a:cubicBezTo>
                  <a:cubicBezTo>
                    <a:pt x="4000" y="6292"/>
                    <a:pt x="3328" y="5737"/>
                    <a:pt x="2748" y="5157"/>
                  </a:cubicBezTo>
                  <a:cubicBezTo>
                    <a:pt x="2168" y="4576"/>
                    <a:pt x="1614" y="3905"/>
                    <a:pt x="1879" y="3639"/>
                  </a:cubicBezTo>
                  <a:cubicBezTo>
                    <a:pt x="2259" y="3259"/>
                    <a:pt x="2590" y="3024"/>
                    <a:pt x="1917" y="2186"/>
                  </a:cubicBezTo>
                  <a:cubicBezTo>
                    <a:pt x="1243" y="1348"/>
                    <a:pt x="794" y="1992"/>
                    <a:pt x="426" y="2360"/>
                  </a:cubicBezTo>
                  <a:cubicBezTo>
                    <a:pt x="0" y="2785"/>
                    <a:pt x="403" y="4370"/>
                    <a:pt x="1969" y="5936"/>
                  </a:cubicBezTo>
                  <a:cubicBezTo>
                    <a:pt x="3535" y="7502"/>
                    <a:pt x="5120" y="7905"/>
                    <a:pt x="5545" y="7480"/>
                  </a:cubicBezTo>
                  <a:cubicBezTo>
                    <a:pt x="5913" y="7111"/>
                    <a:pt x="6557" y="6662"/>
                    <a:pt x="5719" y="5988"/>
                  </a:cubicBezTo>
                  <a:close/>
                  <a:moveTo>
                    <a:pt x="3166" y="4205"/>
                  </a:moveTo>
                  <a:cubicBezTo>
                    <a:pt x="3166" y="3460"/>
                    <a:pt x="4038" y="3327"/>
                    <a:pt x="4038" y="3037"/>
                  </a:cubicBezTo>
                  <a:cubicBezTo>
                    <a:pt x="4038" y="2895"/>
                    <a:pt x="3925" y="2836"/>
                    <a:pt x="3821" y="2836"/>
                  </a:cubicBezTo>
                  <a:cubicBezTo>
                    <a:pt x="3629" y="2836"/>
                    <a:pt x="3522" y="3051"/>
                    <a:pt x="3522" y="3051"/>
                  </a:cubicBezTo>
                  <a:lnTo>
                    <a:pt x="3155" y="2805"/>
                  </a:lnTo>
                  <a:cubicBezTo>
                    <a:pt x="3155" y="2805"/>
                    <a:pt x="3341" y="2370"/>
                    <a:pt x="3866" y="2370"/>
                  </a:cubicBezTo>
                  <a:cubicBezTo>
                    <a:pt x="4196" y="2370"/>
                    <a:pt x="4555" y="2560"/>
                    <a:pt x="4555" y="2989"/>
                  </a:cubicBezTo>
                  <a:cubicBezTo>
                    <a:pt x="4555" y="3618"/>
                    <a:pt x="3742" y="3739"/>
                    <a:pt x="3728" y="3999"/>
                  </a:cubicBezTo>
                  <a:lnTo>
                    <a:pt x="4586" y="3999"/>
                  </a:lnTo>
                  <a:lnTo>
                    <a:pt x="4586" y="4422"/>
                  </a:lnTo>
                  <a:lnTo>
                    <a:pt x="3189" y="4422"/>
                  </a:lnTo>
                  <a:cubicBezTo>
                    <a:pt x="3174" y="4343"/>
                    <a:pt x="3166" y="4273"/>
                    <a:pt x="3166" y="4205"/>
                  </a:cubicBezTo>
                  <a:close/>
                  <a:moveTo>
                    <a:pt x="4792" y="3635"/>
                  </a:moveTo>
                  <a:lnTo>
                    <a:pt x="5571" y="2404"/>
                  </a:lnTo>
                  <a:lnTo>
                    <a:pt x="6175" y="2404"/>
                  </a:lnTo>
                  <a:lnTo>
                    <a:pt x="6175" y="3525"/>
                  </a:lnTo>
                  <a:lnTo>
                    <a:pt x="6415" y="3525"/>
                  </a:lnTo>
                  <a:lnTo>
                    <a:pt x="6415" y="3934"/>
                  </a:lnTo>
                  <a:lnTo>
                    <a:pt x="6175" y="3934"/>
                  </a:lnTo>
                  <a:lnTo>
                    <a:pt x="6175" y="4422"/>
                  </a:lnTo>
                  <a:lnTo>
                    <a:pt x="5687" y="4422"/>
                  </a:lnTo>
                  <a:lnTo>
                    <a:pt x="5687" y="3934"/>
                  </a:lnTo>
                  <a:lnTo>
                    <a:pt x="4792" y="3934"/>
                  </a:lnTo>
                  <a:lnTo>
                    <a:pt x="4792" y="3635"/>
                  </a:lnTo>
                  <a:lnTo>
                    <a:pt x="4792" y="3635"/>
                  </a:lnTo>
                  <a:close/>
                  <a:moveTo>
                    <a:pt x="5687" y="3525"/>
                  </a:moveTo>
                  <a:lnTo>
                    <a:pt x="5687" y="3073"/>
                  </a:lnTo>
                  <a:cubicBezTo>
                    <a:pt x="5687" y="2963"/>
                    <a:pt x="5704" y="2847"/>
                    <a:pt x="5704" y="2847"/>
                  </a:cubicBezTo>
                  <a:lnTo>
                    <a:pt x="5698" y="2847"/>
                  </a:lnTo>
                  <a:cubicBezTo>
                    <a:pt x="5698" y="2847"/>
                    <a:pt x="5656" y="2972"/>
                    <a:pt x="5599" y="3056"/>
                  </a:cubicBezTo>
                  <a:lnTo>
                    <a:pt x="5295" y="3519"/>
                  </a:lnTo>
                  <a:lnTo>
                    <a:pt x="5295" y="3525"/>
                  </a:lnTo>
                  <a:lnTo>
                    <a:pt x="5687" y="3525"/>
                  </a:lnTo>
                  <a:lnTo>
                    <a:pt x="5687" y="3525"/>
                  </a:lnTo>
                  <a:close/>
                </a:path>
              </a:pathLst>
            </a:cu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>
                <a:cs typeface="+mn-ea"/>
                <a:sym typeface="+mn-lt"/>
              </a:endParaRPr>
            </a:p>
          </p:txBody>
        </p:sp>
        <p:sp>
          <p:nvSpPr>
            <p:cNvPr id="26" name="椭圆 25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3308868" y="1344671"/>
              <a:ext cx="713590" cy="713596"/>
            </a:xfrm>
            <a:prstGeom prst="ellipse">
              <a:avLst/>
            </a:prstGeom>
            <a:solidFill>
              <a:schemeClr val="accent2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>
                <a:cs typeface="+mn-ea"/>
                <a:sym typeface="+mn-lt"/>
              </a:endParaRPr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3443082" y="1479251"/>
              <a:ext cx="445162" cy="444436"/>
            </a:xfrm>
            <a:custGeom>
              <a:avLst/>
              <a:gdLst>
                <a:gd name="connsiteX0" fmla="*/ 319667 w 606580"/>
                <a:gd name="connsiteY0" fmla="*/ 323876 h 605592"/>
                <a:gd name="connsiteX1" fmla="*/ 319667 w 606580"/>
                <a:gd name="connsiteY1" fmla="*/ 408889 h 605592"/>
                <a:gd name="connsiteX2" fmla="*/ 346316 w 606580"/>
                <a:gd name="connsiteY2" fmla="*/ 393777 h 605592"/>
                <a:gd name="connsiteX3" fmla="*/ 356622 w 606580"/>
                <a:gd name="connsiteY3" fmla="*/ 365316 h 605592"/>
                <a:gd name="connsiteX4" fmla="*/ 347987 w 606580"/>
                <a:gd name="connsiteY4" fmla="*/ 340100 h 605592"/>
                <a:gd name="connsiteX5" fmla="*/ 319667 w 606580"/>
                <a:gd name="connsiteY5" fmla="*/ 323876 h 605592"/>
                <a:gd name="connsiteX6" fmla="*/ 288005 w 606580"/>
                <a:gd name="connsiteY6" fmla="*/ 176843 h 605592"/>
                <a:gd name="connsiteX7" fmla="*/ 267485 w 606580"/>
                <a:gd name="connsiteY7" fmla="*/ 191676 h 605592"/>
                <a:gd name="connsiteX8" fmla="*/ 259871 w 606580"/>
                <a:gd name="connsiteY8" fmla="*/ 214760 h 605592"/>
                <a:gd name="connsiteX9" fmla="*/ 266835 w 606580"/>
                <a:gd name="connsiteY9" fmla="*/ 236268 h 605592"/>
                <a:gd name="connsiteX10" fmla="*/ 288005 w 606580"/>
                <a:gd name="connsiteY10" fmla="*/ 252306 h 605592"/>
                <a:gd name="connsiteX11" fmla="*/ 288005 w 606580"/>
                <a:gd name="connsiteY11" fmla="*/ 107683 h 605592"/>
                <a:gd name="connsiteX12" fmla="*/ 319667 w 606580"/>
                <a:gd name="connsiteY12" fmla="*/ 107683 h 605592"/>
                <a:gd name="connsiteX13" fmla="*/ 319667 w 606580"/>
                <a:gd name="connsiteY13" fmla="*/ 129191 h 605592"/>
                <a:gd name="connsiteX14" fmla="*/ 375006 w 606580"/>
                <a:gd name="connsiteY14" fmla="*/ 152924 h 605592"/>
                <a:gd name="connsiteX15" fmla="*/ 401190 w 606580"/>
                <a:gd name="connsiteY15" fmla="*/ 205118 h 605592"/>
                <a:gd name="connsiteX16" fmla="*/ 345944 w 606580"/>
                <a:gd name="connsiteY16" fmla="*/ 212350 h 605592"/>
                <a:gd name="connsiteX17" fmla="*/ 319667 w 606580"/>
                <a:gd name="connsiteY17" fmla="*/ 177492 h 605592"/>
                <a:gd name="connsiteX18" fmla="*/ 319667 w 606580"/>
                <a:gd name="connsiteY18" fmla="*/ 262782 h 605592"/>
                <a:gd name="connsiteX19" fmla="*/ 391163 w 606580"/>
                <a:gd name="connsiteY19" fmla="*/ 299587 h 605592"/>
                <a:gd name="connsiteX20" fmla="*/ 410197 w 606580"/>
                <a:gd name="connsiteY20" fmla="*/ 357436 h 605592"/>
                <a:gd name="connsiteX21" fmla="*/ 386241 w 606580"/>
                <a:gd name="connsiteY21" fmla="*/ 424000 h 605592"/>
                <a:gd name="connsiteX22" fmla="*/ 319667 w 606580"/>
                <a:gd name="connsiteY22" fmla="*/ 457189 h 605592"/>
                <a:gd name="connsiteX23" fmla="*/ 319667 w 606580"/>
                <a:gd name="connsiteY23" fmla="*/ 497980 h 605592"/>
                <a:gd name="connsiteX24" fmla="*/ 288005 w 606580"/>
                <a:gd name="connsiteY24" fmla="*/ 497980 h 605592"/>
                <a:gd name="connsiteX25" fmla="*/ 288005 w 606580"/>
                <a:gd name="connsiteY25" fmla="*/ 458209 h 605592"/>
                <a:gd name="connsiteX26" fmla="*/ 226631 w 606580"/>
                <a:gd name="connsiteY26" fmla="*/ 430119 h 605592"/>
                <a:gd name="connsiteX27" fmla="*/ 196454 w 606580"/>
                <a:gd name="connsiteY27" fmla="*/ 363555 h 605592"/>
                <a:gd name="connsiteX28" fmla="*/ 253465 w 606580"/>
                <a:gd name="connsiteY28" fmla="*/ 357436 h 605592"/>
                <a:gd name="connsiteX29" fmla="*/ 266557 w 606580"/>
                <a:gd name="connsiteY29" fmla="*/ 387566 h 605592"/>
                <a:gd name="connsiteX30" fmla="*/ 288005 w 606580"/>
                <a:gd name="connsiteY30" fmla="*/ 405922 h 605592"/>
                <a:gd name="connsiteX31" fmla="*/ 288005 w 606580"/>
                <a:gd name="connsiteY31" fmla="*/ 314513 h 605592"/>
                <a:gd name="connsiteX32" fmla="*/ 225238 w 606580"/>
                <a:gd name="connsiteY32" fmla="*/ 277523 h 605592"/>
                <a:gd name="connsiteX33" fmla="*/ 205182 w 606580"/>
                <a:gd name="connsiteY33" fmla="*/ 217356 h 605592"/>
                <a:gd name="connsiteX34" fmla="*/ 227838 w 606580"/>
                <a:gd name="connsiteY34" fmla="*/ 157282 h 605592"/>
                <a:gd name="connsiteX35" fmla="*/ 288005 w 606580"/>
                <a:gd name="connsiteY35" fmla="*/ 129284 h 605592"/>
                <a:gd name="connsiteX36" fmla="*/ 303336 w 606580"/>
                <a:gd name="connsiteY36" fmla="*/ 37820 h 605592"/>
                <a:gd name="connsiteX37" fmla="*/ 37882 w 606580"/>
                <a:gd name="connsiteY37" fmla="*/ 302843 h 605592"/>
                <a:gd name="connsiteX38" fmla="*/ 303336 w 606580"/>
                <a:gd name="connsiteY38" fmla="*/ 567772 h 605592"/>
                <a:gd name="connsiteX39" fmla="*/ 568698 w 606580"/>
                <a:gd name="connsiteY39" fmla="*/ 302843 h 605592"/>
                <a:gd name="connsiteX40" fmla="*/ 303336 w 606580"/>
                <a:gd name="connsiteY40" fmla="*/ 37820 h 605592"/>
                <a:gd name="connsiteX41" fmla="*/ 303336 w 606580"/>
                <a:gd name="connsiteY41" fmla="*/ 0 h 605592"/>
                <a:gd name="connsiteX42" fmla="*/ 606580 w 606580"/>
                <a:gd name="connsiteY42" fmla="*/ 302843 h 605592"/>
                <a:gd name="connsiteX43" fmla="*/ 303336 w 606580"/>
                <a:gd name="connsiteY43" fmla="*/ 605592 h 605592"/>
                <a:gd name="connsiteX44" fmla="*/ 0 w 606580"/>
                <a:gd name="connsiteY44" fmla="*/ 302843 h 605592"/>
                <a:gd name="connsiteX45" fmla="*/ 303336 w 606580"/>
                <a:gd name="connsiteY45" fmla="*/ 0 h 605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06580" h="605592">
                  <a:moveTo>
                    <a:pt x="319667" y="323876"/>
                  </a:moveTo>
                  <a:lnTo>
                    <a:pt x="319667" y="408889"/>
                  </a:lnTo>
                  <a:cubicBezTo>
                    <a:pt x="330624" y="406849"/>
                    <a:pt x="339445" y="401843"/>
                    <a:pt x="346316" y="393777"/>
                  </a:cubicBezTo>
                  <a:cubicBezTo>
                    <a:pt x="353186" y="385712"/>
                    <a:pt x="356622" y="376163"/>
                    <a:pt x="356622" y="365316"/>
                  </a:cubicBezTo>
                  <a:cubicBezTo>
                    <a:pt x="356622" y="355582"/>
                    <a:pt x="353744" y="347146"/>
                    <a:pt x="347987" y="340100"/>
                  </a:cubicBezTo>
                  <a:cubicBezTo>
                    <a:pt x="342230" y="333054"/>
                    <a:pt x="332759" y="327677"/>
                    <a:pt x="319667" y="323876"/>
                  </a:cubicBezTo>
                  <a:close/>
                  <a:moveTo>
                    <a:pt x="288005" y="176843"/>
                  </a:moveTo>
                  <a:cubicBezTo>
                    <a:pt x="279370" y="179717"/>
                    <a:pt x="272592" y="184630"/>
                    <a:pt x="267485" y="191676"/>
                  </a:cubicBezTo>
                  <a:cubicBezTo>
                    <a:pt x="262378" y="198629"/>
                    <a:pt x="259871" y="206324"/>
                    <a:pt x="259871" y="214760"/>
                  </a:cubicBezTo>
                  <a:cubicBezTo>
                    <a:pt x="259871" y="222455"/>
                    <a:pt x="262100" y="229686"/>
                    <a:pt x="266835" y="236268"/>
                  </a:cubicBezTo>
                  <a:cubicBezTo>
                    <a:pt x="271478" y="242850"/>
                    <a:pt x="278534" y="248227"/>
                    <a:pt x="288005" y="252306"/>
                  </a:cubicBezTo>
                  <a:close/>
                  <a:moveTo>
                    <a:pt x="288005" y="107683"/>
                  </a:moveTo>
                  <a:lnTo>
                    <a:pt x="319667" y="107683"/>
                  </a:lnTo>
                  <a:lnTo>
                    <a:pt x="319667" y="129191"/>
                  </a:lnTo>
                  <a:cubicBezTo>
                    <a:pt x="342880" y="131973"/>
                    <a:pt x="361265" y="139853"/>
                    <a:pt x="375006" y="152924"/>
                  </a:cubicBezTo>
                  <a:cubicBezTo>
                    <a:pt x="388656" y="165903"/>
                    <a:pt x="397384" y="183332"/>
                    <a:pt x="401190" y="205118"/>
                  </a:cubicBezTo>
                  <a:lnTo>
                    <a:pt x="345944" y="212350"/>
                  </a:lnTo>
                  <a:cubicBezTo>
                    <a:pt x="342509" y="195199"/>
                    <a:pt x="333781" y="183610"/>
                    <a:pt x="319667" y="177492"/>
                  </a:cubicBezTo>
                  <a:lnTo>
                    <a:pt x="319667" y="262782"/>
                  </a:lnTo>
                  <a:cubicBezTo>
                    <a:pt x="354672" y="272238"/>
                    <a:pt x="378442" y="284476"/>
                    <a:pt x="391163" y="299587"/>
                  </a:cubicBezTo>
                  <a:cubicBezTo>
                    <a:pt x="403790" y="314606"/>
                    <a:pt x="410197" y="333889"/>
                    <a:pt x="410197" y="357436"/>
                  </a:cubicBezTo>
                  <a:cubicBezTo>
                    <a:pt x="410197" y="383765"/>
                    <a:pt x="402212" y="405922"/>
                    <a:pt x="386241" y="424000"/>
                  </a:cubicBezTo>
                  <a:cubicBezTo>
                    <a:pt x="370271" y="442078"/>
                    <a:pt x="348080" y="453110"/>
                    <a:pt x="319667" y="457189"/>
                  </a:cubicBezTo>
                  <a:lnTo>
                    <a:pt x="319667" y="497980"/>
                  </a:lnTo>
                  <a:lnTo>
                    <a:pt x="288005" y="497980"/>
                  </a:lnTo>
                  <a:lnTo>
                    <a:pt x="288005" y="458209"/>
                  </a:lnTo>
                  <a:cubicBezTo>
                    <a:pt x="262842" y="455150"/>
                    <a:pt x="242322" y="445786"/>
                    <a:pt x="226631" y="430119"/>
                  </a:cubicBezTo>
                  <a:cubicBezTo>
                    <a:pt x="210846" y="414358"/>
                    <a:pt x="200818" y="392201"/>
                    <a:pt x="196454" y="363555"/>
                  </a:cubicBezTo>
                  <a:lnTo>
                    <a:pt x="253465" y="357436"/>
                  </a:lnTo>
                  <a:cubicBezTo>
                    <a:pt x="255786" y="369117"/>
                    <a:pt x="260150" y="379130"/>
                    <a:pt x="266557" y="387566"/>
                  </a:cubicBezTo>
                  <a:cubicBezTo>
                    <a:pt x="273056" y="396002"/>
                    <a:pt x="280113" y="402121"/>
                    <a:pt x="288005" y="405922"/>
                  </a:cubicBezTo>
                  <a:lnTo>
                    <a:pt x="288005" y="314513"/>
                  </a:lnTo>
                  <a:cubicBezTo>
                    <a:pt x="259500" y="306355"/>
                    <a:pt x="238516" y="294025"/>
                    <a:pt x="225238" y="277523"/>
                  </a:cubicBezTo>
                  <a:cubicBezTo>
                    <a:pt x="211867" y="261021"/>
                    <a:pt x="205182" y="240903"/>
                    <a:pt x="205182" y="217356"/>
                  </a:cubicBezTo>
                  <a:cubicBezTo>
                    <a:pt x="205182" y="193530"/>
                    <a:pt x="212703" y="173505"/>
                    <a:pt x="227838" y="157282"/>
                  </a:cubicBezTo>
                  <a:cubicBezTo>
                    <a:pt x="242880" y="141058"/>
                    <a:pt x="262935" y="131694"/>
                    <a:pt x="288005" y="129284"/>
                  </a:cubicBezTo>
                  <a:close/>
                  <a:moveTo>
                    <a:pt x="303336" y="37820"/>
                  </a:moveTo>
                  <a:cubicBezTo>
                    <a:pt x="156914" y="37820"/>
                    <a:pt x="37882" y="156752"/>
                    <a:pt x="37882" y="302843"/>
                  </a:cubicBezTo>
                  <a:cubicBezTo>
                    <a:pt x="37882" y="448934"/>
                    <a:pt x="156914" y="567772"/>
                    <a:pt x="303336" y="567772"/>
                  </a:cubicBezTo>
                  <a:cubicBezTo>
                    <a:pt x="449666" y="567772"/>
                    <a:pt x="568698" y="448934"/>
                    <a:pt x="568698" y="302843"/>
                  </a:cubicBezTo>
                  <a:cubicBezTo>
                    <a:pt x="568698" y="156752"/>
                    <a:pt x="449666" y="37820"/>
                    <a:pt x="303336" y="37820"/>
                  </a:cubicBezTo>
                  <a:close/>
                  <a:moveTo>
                    <a:pt x="303336" y="0"/>
                  </a:moveTo>
                  <a:cubicBezTo>
                    <a:pt x="470835" y="0"/>
                    <a:pt x="606580" y="135524"/>
                    <a:pt x="606580" y="302843"/>
                  </a:cubicBezTo>
                  <a:cubicBezTo>
                    <a:pt x="606580" y="470069"/>
                    <a:pt x="470835" y="605592"/>
                    <a:pt x="303336" y="605592"/>
                  </a:cubicBezTo>
                  <a:cubicBezTo>
                    <a:pt x="135745" y="605592"/>
                    <a:pt x="0" y="470069"/>
                    <a:pt x="0" y="302843"/>
                  </a:cubicBezTo>
                  <a:cubicBezTo>
                    <a:pt x="0" y="135524"/>
                    <a:pt x="135745" y="0"/>
                    <a:pt x="303336" y="0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>
                <a:cs typeface="+mn-ea"/>
                <a:sym typeface="+mn-lt"/>
              </a:endParaRPr>
            </a:p>
          </p:txBody>
        </p:sp>
        <p:sp>
          <p:nvSpPr>
            <p:cNvPr id="28" name="椭圆 27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4929091" y="1344671"/>
              <a:ext cx="713590" cy="71359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>
                <a:cs typeface="+mn-ea"/>
                <a:sym typeface="+mn-lt"/>
              </a:endParaRPr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5063305" y="1508720"/>
              <a:ext cx="445162" cy="385498"/>
            </a:xfrm>
            <a:custGeom>
              <a:avLst/>
              <a:gdLst>
                <a:gd name="connsiteX0" fmla="*/ 205065 w 605876"/>
                <a:gd name="connsiteY0" fmla="*/ 428776 h 524672"/>
                <a:gd name="connsiteX1" fmla="*/ 226551 w 605876"/>
                <a:gd name="connsiteY1" fmla="*/ 446081 h 524672"/>
                <a:gd name="connsiteX2" fmla="*/ 233109 w 605876"/>
                <a:gd name="connsiteY2" fmla="*/ 453684 h 524672"/>
                <a:gd name="connsiteX3" fmla="*/ 228349 w 605876"/>
                <a:gd name="connsiteY3" fmla="*/ 499196 h 524672"/>
                <a:gd name="connsiteX4" fmla="*/ 223377 w 605876"/>
                <a:gd name="connsiteY4" fmla="*/ 507538 h 524672"/>
                <a:gd name="connsiteX5" fmla="*/ 141188 w 605876"/>
                <a:gd name="connsiteY5" fmla="*/ 476282 h 524672"/>
                <a:gd name="connsiteX6" fmla="*/ 176835 w 605876"/>
                <a:gd name="connsiteY6" fmla="*/ 430241 h 524672"/>
                <a:gd name="connsiteX7" fmla="*/ 205065 w 605876"/>
                <a:gd name="connsiteY7" fmla="*/ 428776 h 524672"/>
                <a:gd name="connsiteX8" fmla="*/ 481191 w 605876"/>
                <a:gd name="connsiteY8" fmla="*/ 426712 h 524672"/>
                <a:gd name="connsiteX9" fmla="*/ 499583 w 605876"/>
                <a:gd name="connsiteY9" fmla="*/ 434333 h 524672"/>
                <a:gd name="connsiteX10" fmla="*/ 510478 w 605876"/>
                <a:gd name="connsiteY10" fmla="*/ 438454 h 524672"/>
                <a:gd name="connsiteX11" fmla="*/ 526874 w 605876"/>
                <a:gd name="connsiteY11" fmla="*/ 493716 h 524672"/>
                <a:gd name="connsiteX12" fmla="*/ 478851 w 605876"/>
                <a:gd name="connsiteY12" fmla="*/ 524041 h 524672"/>
                <a:gd name="connsiteX13" fmla="*/ 435059 w 605876"/>
                <a:gd name="connsiteY13" fmla="*/ 484629 h 524672"/>
                <a:gd name="connsiteX14" fmla="*/ 460022 w 605876"/>
                <a:gd name="connsiteY14" fmla="*/ 432008 h 524672"/>
                <a:gd name="connsiteX15" fmla="*/ 481191 w 605876"/>
                <a:gd name="connsiteY15" fmla="*/ 426712 h 524672"/>
                <a:gd name="connsiteX16" fmla="*/ 53061 w 605876"/>
                <a:gd name="connsiteY16" fmla="*/ 1 h 524672"/>
                <a:gd name="connsiteX17" fmla="*/ 98044 w 605876"/>
                <a:gd name="connsiteY17" fmla="*/ 2087 h 524672"/>
                <a:gd name="connsiteX18" fmla="*/ 147021 w 605876"/>
                <a:gd name="connsiteY18" fmla="*/ 21735 h 524672"/>
                <a:gd name="connsiteX19" fmla="*/ 159609 w 605876"/>
                <a:gd name="connsiteY19" fmla="*/ 48882 h 524672"/>
                <a:gd name="connsiteX20" fmla="*/ 576919 w 605876"/>
                <a:gd name="connsiteY20" fmla="*/ 34622 h 524672"/>
                <a:gd name="connsiteX21" fmla="*/ 604951 w 605876"/>
                <a:gd name="connsiteY21" fmla="*/ 62508 h 524672"/>
                <a:gd name="connsiteX22" fmla="*/ 551531 w 605876"/>
                <a:gd name="connsiteY22" fmla="*/ 185886 h 524672"/>
                <a:gd name="connsiteX23" fmla="*/ 509959 w 605876"/>
                <a:gd name="connsiteY23" fmla="*/ 288244 h 524672"/>
                <a:gd name="connsiteX24" fmla="*/ 501919 w 605876"/>
                <a:gd name="connsiteY24" fmla="*/ 295532 h 524672"/>
                <a:gd name="connsiteX25" fmla="*/ 486898 w 605876"/>
                <a:gd name="connsiteY25" fmla="*/ 302082 h 524672"/>
                <a:gd name="connsiteX26" fmla="*/ 487216 w 605876"/>
                <a:gd name="connsiteY26" fmla="*/ 302927 h 524672"/>
                <a:gd name="connsiteX27" fmla="*/ 212394 w 605876"/>
                <a:gd name="connsiteY27" fmla="*/ 303772 h 524672"/>
                <a:gd name="connsiteX28" fmla="*/ 198748 w 605876"/>
                <a:gd name="connsiteY28" fmla="*/ 360813 h 524672"/>
                <a:gd name="connsiteX29" fmla="*/ 533865 w 605876"/>
                <a:gd name="connsiteY29" fmla="*/ 360285 h 524672"/>
                <a:gd name="connsiteX30" fmla="*/ 533865 w 605876"/>
                <a:gd name="connsiteY30" fmla="*/ 403594 h 524672"/>
                <a:gd name="connsiteX31" fmla="*/ 167225 w 605876"/>
                <a:gd name="connsiteY31" fmla="*/ 406340 h 524672"/>
                <a:gd name="connsiteX32" fmla="*/ 145434 w 605876"/>
                <a:gd name="connsiteY32" fmla="*/ 377714 h 524672"/>
                <a:gd name="connsiteX33" fmla="*/ 181612 w 605876"/>
                <a:gd name="connsiteY33" fmla="*/ 279793 h 524672"/>
                <a:gd name="connsiteX34" fmla="*/ 181506 w 605876"/>
                <a:gd name="connsiteY34" fmla="*/ 279793 h 524672"/>
                <a:gd name="connsiteX35" fmla="*/ 131789 w 605876"/>
                <a:gd name="connsiteY35" fmla="*/ 122507 h 524672"/>
                <a:gd name="connsiteX36" fmla="*/ 98044 w 605876"/>
                <a:gd name="connsiteY36" fmla="*/ 47298 h 524672"/>
                <a:gd name="connsiteX37" fmla="*/ 30979 w 605876"/>
                <a:gd name="connsiteY37" fmla="*/ 45291 h 524672"/>
                <a:gd name="connsiteX38" fmla="*/ 20824 w 605876"/>
                <a:gd name="connsiteY38" fmla="*/ 47931 h 524672"/>
                <a:gd name="connsiteX39" fmla="*/ 10140 w 605876"/>
                <a:gd name="connsiteY39" fmla="*/ 8214 h 524672"/>
                <a:gd name="connsiteX40" fmla="*/ 53061 w 605876"/>
                <a:gd name="connsiteY40" fmla="*/ 1 h 524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05876" h="524672">
                  <a:moveTo>
                    <a:pt x="205065" y="428776"/>
                  </a:moveTo>
                  <a:cubicBezTo>
                    <a:pt x="214175" y="431298"/>
                    <a:pt x="222161" y="436947"/>
                    <a:pt x="226551" y="446081"/>
                  </a:cubicBezTo>
                  <a:cubicBezTo>
                    <a:pt x="229089" y="448299"/>
                    <a:pt x="231310" y="450833"/>
                    <a:pt x="233109" y="453684"/>
                  </a:cubicBezTo>
                  <a:cubicBezTo>
                    <a:pt x="242100" y="468151"/>
                    <a:pt x="238186" y="486102"/>
                    <a:pt x="228349" y="499196"/>
                  </a:cubicBezTo>
                  <a:cubicBezTo>
                    <a:pt x="226974" y="502047"/>
                    <a:pt x="225493" y="504793"/>
                    <a:pt x="223377" y="507538"/>
                  </a:cubicBezTo>
                  <a:cubicBezTo>
                    <a:pt x="196721" y="542174"/>
                    <a:pt x="136746" y="520527"/>
                    <a:pt x="141188" y="476282"/>
                  </a:cubicBezTo>
                  <a:cubicBezTo>
                    <a:pt x="143198" y="455902"/>
                    <a:pt x="157690" y="437528"/>
                    <a:pt x="176835" y="430241"/>
                  </a:cubicBezTo>
                  <a:cubicBezTo>
                    <a:pt x="185721" y="426862"/>
                    <a:pt x="195955" y="426255"/>
                    <a:pt x="205065" y="428776"/>
                  </a:cubicBezTo>
                  <a:close/>
                  <a:moveTo>
                    <a:pt x="481191" y="426712"/>
                  </a:moveTo>
                  <a:cubicBezTo>
                    <a:pt x="488080" y="427095"/>
                    <a:pt x="494506" y="429631"/>
                    <a:pt x="499583" y="434333"/>
                  </a:cubicBezTo>
                  <a:cubicBezTo>
                    <a:pt x="503391" y="435178"/>
                    <a:pt x="507093" y="436446"/>
                    <a:pt x="510478" y="438454"/>
                  </a:cubicBezTo>
                  <a:cubicBezTo>
                    <a:pt x="529201" y="449548"/>
                    <a:pt x="536499" y="474274"/>
                    <a:pt x="526874" y="493716"/>
                  </a:cubicBezTo>
                  <a:cubicBezTo>
                    <a:pt x="518517" y="510727"/>
                    <a:pt x="498102" y="524886"/>
                    <a:pt x="478851" y="524041"/>
                  </a:cubicBezTo>
                  <a:cubicBezTo>
                    <a:pt x="456743" y="522984"/>
                    <a:pt x="438655" y="505973"/>
                    <a:pt x="435059" y="484629"/>
                  </a:cubicBezTo>
                  <a:cubicBezTo>
                    <a:pt x="431568" y="464024"/>
                    <a:pt x="441723" y="442363"/>
                    <a:pt x="460022" y="432008"/>
                  </a:cubicBezTo>
                  <a:cubicBezTo>
                    <a:pt x="466951" y="428099"/>
                    <a:pt x="474302" y="426329"/>
                    <a:pt x="481191" y="426712"/>
                  </a:cubicBezTo>
                  <a:close/>
                  <a:moveTo>
                    <a:pt x="53061" y="1"/>
                  </a:moveTo>
                  <a:cubicBezTo>
                    <a:pt x="68584" y="54"/>
                    <a:pt x="84451" y="1823"/>
                    <a:pt x="98044" y="2087"/>
                  </a:cubicBezTo>
                  <a:cubicBezTo>
                    <a:pt x="121634" y="2510"/>
                    <a:pt x="134433" y="1453"/>
                    <a:pt x="147021" y="21735"/>
                  </a:cubicBezTo>
                  <a:cubicBezTo>
                    <a:pt x="151887" y="29657"/>
                    <a:pt x="156013" y="38847"/>
                    <a:pt x="159609" y="48882"/>
                  </a:cubicBezTo>
                  <a:cubicBezTo>
                    <a:pt x="300405" y="43072"/>
                    <a:pt x="435700" y="56593"/>
                    <a:pt x="576919" y="34622"/>
                  </a:cubicBezTo>
                  <a:cubicBezTo>
                    <a:pt x="593315" y="31981"/>
                    <a:pt x="610028" y="44340"/>
                    <a:pt x="604951" y="62508"/>
                  </a:cubicBezTo>
                  <a:cubicBezTo>
                    <a:pt x="592363" y="106240"/>
                    <a:pt x="565811" y="142789"/>
                    <a:pt x="551531" y="185886"/>
                  </a:cubicBezTo>
                  <a:cubicBezTo>
                    <a:pt x="539154" y="223175"/>
                    <a:pt x="532279" y="255392"/>
                    <a:pt x="509959" y="288244"/>
                  </a:cubicBezTo>
                  <a:cubicBezTo>
                    <a:pt x="507632" y="291624"/>
                    <a:pt x="504881" y="293948"/>
                    <a:pt x="501919" y="295532"/>
                  </a:cubicBezTo>
                  <a:cubicBezTo>
                    <a:pt x="498217" y="299335"/>
                    <a:pt x="493351" y="302082"/>
                    <a:pt x="486898" y="302082"/>
                  </a:cubicBezTo>
                  <a:lnTo>
                    <a:pt x="487216" y="302927"/>
                  </a:lnTo>
                  <a:cubicBezTo>
                    <a:pt x="404282" y="309581"/>
                    <a:pt x="294481" y="328384"/>
                    <a:pt x="212394" y="303772"/>
                  </a:cubicBezTo>
                  <a:cubicBezTo>
                    <a:pt x="210067" y="323102"/>
                    <a:pt x="204990" y="342010"/>
                    <a:pt x="198748" y="360813"/>
                  </a:cubicBezTo>
                  <a:cubicBezTo>
                    <a:pt x="310348" y="359756"/>
                    <a:pt x="422371" y="356904"/>
                    <a:pt x="533865" y="360285"/>
                  </a:cubicBezTo>
                  <a:cubicBezTo>
                    <a:pt x="561898" y="361024"/>
                    <a:pt x="561686" y="402537"/>
                    <a:pt x="533865" y="403594"/>
                  </a:cubicBezTo>
                  <a:cubicBezTo>
                    <a:pt x="411899" y="408453"/>
                    <a:pt x="289298" y="405706"/>
                    <a:pt x="167225" y="406340"/>
                  </a:cubicBezTo>
                  <a:cubicBezTo>
                    <a:pt x="153157" y="406340"/>
                    <a:pt x="140780" y="391763"/>
                    <a:pt x="145434" y="377714"/>
                  </a:cubicBezTo>
                  <a:cubicBezTo>
                    <a:pt x="156542" y="344440"/>
                    <a:pt x="164793" y="310321"/>
                    <a:pt x="181612" y="279793"/>
                  </a:cubicBezTo>
                  <a:cubicBezTo>
                    <a:pt x="181506" y="279793"/>
                    <a:pt x="181506" y="279793"/>
                    <a:pt x="181506" y="279793"/>
                  </a:cubicBezTo>
                  <a:cubicBezTo>
                    <a:pt x="164369" y="227505"/>
                    <a:pt x="148291" y="174901"/>
                    <a:pt x="131789" y="122507"/>
                  </a:cubicBezTo>
                  <a:cubicBezTo>
                    <a:pt x="125230" y="101698"/>
                    <a:pt x="120470" y="57544"/>
                    <a:pt x="98044" y="47298"/>
                  </a:cubicBezTo>
                  <a:cubicBezTo>
                    <a:pt x="90957" y="44023"/>
                    <a:pt x="37854" y="42016"/>
                    <a:pt x="30979" y="45291"/>
                  </a:cubicBezTo>
                  <a:cubicBezTo>
                    <a:pt x="27488" y="46981"/>
                    <a:pt x="24632" y="47614"/>
                    <a:pt x="20824" y="47931"/>
                  </a:cubicBezTo>
                  <a:cubicBezTo>
                    <a:pt x="-439" y="49410"/>
                    <a:pt x="-7843" y="18037"/>
                    <a:pt x="10140" y="8214"/>
                  </a:cubicBezTo>
                  <a:cubicBezTo>
                    <a:pt x="22358" y="1612"/>
                    <a:pt x="37537" y="-52"/>
                    <a:pt x="53061" y="1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>
                <a:cs typeface="+mn-ea"/>
                <a:sym typeface="+mn-lt"/>
              </a:endParaRPr>
            </a:p>
          </p:txBody>
        </p:sp>
        <p:sp>
          <p:nvSpPr>
            <p:cNvPr id="30" name="椭圆 29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6549316" y="1344671"/>
              <a:ext cx="713590" cy="713596"/>
            </a:xfrm>
            <a:prstGeom prst="ellipse">
              <a:avLst/>
            </a:prstGeom>
            <a:solidFill>
              <a:schemeClr val="accent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>
                <a:cs typeface="+mn-ea"/>
                <a:sym typeface="+mn-lt"/>
              </a:endParaRPr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6690207" y="1478888"/>
              <a:ext cx="431808" cy="445162"/>
            </a:xfrm>
            <a:custGeom>
              <a:avLst/>
              <a:gdLst>
                <a:gd name="T0" fmla="*/ 5363 w 5499"/>
                <a:gd name="T1" fmla="*/ 3729 h 5677"/>
                <a:gd name="T2" fmla="*/ 4520 w 5499"/>
                <a:gd name="T3" fmla="*/ 2649 h 5677"/>
                <a:gd name="T4" fmla="*/ 3673 w 5499"/>
                <a:gd name="T5" fmla="*/ 3040 h 5677"/>
                <a:gd name="T6" fmla="*/ 3023 w 5499"/>
                <a:gd name="T7" fmla="*/ 2741 h 5677"/>
                <a:gd name="T8" fmla="*/ 3454 w 5499"/>
                <a:gd name="T9" fmla="*/ 1972 h 5677"/>
                <a:gd name="T10" fmla="*/ 3507 w 5499"/>
                <a:gd name="T11" fmla="*/ 1328 h 5677"/>
                <a:gd name="T12" fmla="*/ 2170 w 5499"/>
                <a:gd name="T13" fmla="*/ 0 h 5677"/>
                <a:gd name="T14" fmla="*/ 1102 w 5499"/>
                <a:gd name="T15" fmla="*/ 1508 h 5677"/>
                <a:gd name="T16" fmla="*/ 1279 w 5499"/>
                <a:gd name="T17" fmla="*/ 2144 h 5677"/>
                <a:gd name="T18" fmla="*/ 1534 w 5499"/>
                <a:gd name="T19" fmla="*/ 2877 h 5677"/>
                <a:gd name="T20" fmla="*/ 3 w 5499"/>
                <a:gd name="T21" fmla="*/ 5432 h 5677"/>
                <a:gd name="T22" fmla="*/ 4372 w 5499"/>
                <a:gd name="T23" fmla="*/ 5653 h 5677"/>
                <a:gd name="T24" fmla="*/ 4996 w 5499"/>
                <a:gd name="T25" fmla="*/ 5161 h 5677"/>
                <a:gd name="T26" fmla="*/ 5363 w 5499"/>
                <a:gd name="T27" fmla="*/ 3960 h 5677"/>
                <a:gd name="T28" fmla="*/ 2075 w 5499"/>
                <a:gd name="T29" fmla="*/ 3721 h 5677"/>
                <a:gd name="T30" fmla="*/ 1829 w 5499"/>
                <a:gd name="T31" fmla="*/ 3415 h 5677"/>
                <a:gd name="T32" fmla="*/ 1924 w 5499"/>
                <a:gd name="T33" fmla="*/ 2970 h 5677"/>
                <a:gd name="T34" fmla="*/ 2135 w 5499"/>
                <a:gd name="T35" fmla="*/ 3252 h 5677"/>
                <a:gd name="T36" fmla="*/ 2140 w 5499"/>
                <a:gd name="T37" fmla="*/ 3663 h 5677"/>
                <a:gd name="T38" fmla="*/ 2592 w 5499"/>
                <a:gd name="T39" fmla="*/ 3721 h 5677"/>
                <a:gd name="T40" fmla="*/ 2492 w 5499"/>
                <a:gd name="T41" fmla="*/ 3318 h 5677"/>
                <a:gd name="T42" fmla="*/ 2533 w 5499"/>
                <a:gd name="T43" fmla="*/ 3090 h 5677"/>
                <a:gd name="T44" fmla="*/ 2807 w 5499"/>
                <a:gd name="T45" fmla="*/ 2972 h 5677"/>
                <a:gd name="T46" fmla="*/ 2825 w 5499"/>
                <a:gd name="T47" fmla="*/ 3454 h 5677"/>
                <a:gd name="T48" fmla="*/ 1776 w 5499"/>
                <a:gd name="T49" fmla="*/ 2351 h 5677"/>
                <a:gd name="T50" fmla="*/ 1477 w 5499"/>
                <a:gd name="T51" fmla="*/ 1747 h 5677"/>
                <a:gd name="T52" fmla="*/ 1513 w 5499"/>
                <a:gd name="T53" fmla="*/ 1522 h 5677"/>
                <a:gd name="T54" fmla="*/ 1575 w 5499"/>
                <a:gd name="T55" fmla="*/ 1348 h 5677"/>
                <a:gd name="T56" fmla="*/ 2781 w 5499"/>
                <a:gd name="T57" fmla="*/ 1554 h 5677"/>
                <a:gd name="T58" fmla="*/ 3119 w 5499"/>
                <a:gd name="T59" fmla="*/ 1522 h 5677"/>
                <a:gd name="T60" fmla="*/ 3219 w 5499"/>
                <a:gd name="T61" fmla="*/ 1693 h 5677"/>
                <a:gd name="T62" fmla="*/ 3123 w 5499"/>
                <a:gd name="T63" fmla="*/ 1815 h 5677"/>
                <a:gd name="T64" fmla="*/ 5035 w 5499"/>
                <a:gd name="T65" fmla="*/ 4769 h 5677"/>
                <a:gd name="T66" fmla="*/ 4520 w 5499"/>
                <a:gd name="T67" fmla="*/ 5367 h 5677"/>
                <a:gd name="T68" fmla="*/ 3887 w 5499"/>
                <a:gd name="T69" fmla="*/ 4672 h 5677"/>
                <a:gd name="T70" fmla="*/ 4121 w 5499"/>
                <a:gd name="T71" fmla="*/ 4395 h 5677"/>
                <a:gd name="T72" fmla="*/ 4693 w 5499"/>
                <a:gd name="T73" fmla="*/ 4475 h 5677"/>
                <a:gd name="T74" fmla="*/ 3985 w 5499"/>
                <a:gd name="T75" fmla="*/ 4136 h 5677"/>
                <a:gd name="T76" fmla="*/ 4355 w 5499"/>
                <a:gd name="T77" fmla="*/ 3316 h 5677"/>
                <a:gd name="T78" fmla="*/ 4686 w 5499"/>
                <a:gd name="T79" fmla="*/ 3124 h 5677"/>
                <a:gd name="T80" fmla="*/ 5064 w 5499"/>
                <a:gd name="T81" fmla="*/ 3650 h 5677"/>
                <a:gd name="T82" fmla="*/ 4693 w 5499"/>
                <a:gd name="T83" fmla="*/ 3744 h 5677"/>
                <a:gd name="T84" fmla="*/ 4379 w 5499"/>
                <a:gd name="T85" fmla="*/ 3819 h 5677"/>
                <a:gd name="T86" fmla="*/ 5110 w 5499"/>
                <a:gd name="T87" fmla="*/ 4137 h 5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99" h="5677">
                  <a:moveTo>
                    <a:pt x="5363" y="3960"/>
                  </a:moveTo>
                  <a:cubicBezTo>
                    <a:pt x="5342" y="3930"/>
                    <a:pt x="5320" y="3902"/>
                    <a:pt x="5296" y="3876"/>
                  </a:cubicBezTo>
                  <a:cubicBezTo>
                    <a:pt x="5326" y="3832"/>
                    <a:pt x="5349" y="3782"/>
                    <a:pt x="5363" y="3729"/>
                  </a:cubicBezTo>
                  <a:cubicBezTo>
                    <a:pt x="5405" y="3570"/>
                    <a:pt x="5363" y="3403"/>
                    <a:pt x="5251" y="3283"/>
                  </a:cubicBezTo>
                  <a:cubicBezTo>
                    <a:pt x="5178" y="3205"/>
                    <a:pt x="5093" y="3143"/>
                    <a:pt x="4995" y="3096"/>
                  </a:cubicBezTo>
                  <a:cubicBezTo>
                    <a:pt x="4980" y="2847"/>
                    <a:pt x="4773" y="2649"/>
                    <a:pt x="4520" y="2649"/>
                  </a:cubicBezTo>
                  <a:cubicBezTo>
                    <a:pt x="4272" y="2649"/>
                    <a:pt x="4067" y="2841"/>
                    <a:pt x="4047" y="3085"/>
                  </a:cubicBezTo>
                  <a:cubicBezTo>
                    <a:pt x="4017" y="3098"/>
                    <a:pt x="3989" y="3112"/>
                    <a:pt x="3962" y="3128"/>
                  </a:cubicBezTo>
                  <a:lnTo>
                    <a:pt x="3673" y="3040"/>
                  </a:lnTo>
                  <a:cubicBezTo>
                    <a:pt x="3673" y="3040"/>
                    <a:pt x="3673" y="3041"/>
                    <a:pt x="3673" y="3041"/>
                  </a:cubicBezTo>
                  <a:lnTo>
                    <a:pt x="3133" y="2877"/>
                  </a:lnTo>
                  <a:cubicBezTo>
                    <a:pt x="3116" y="2825"/>
                    <a:pt x="3077" y="2779"/>
                    <a:pt x="3023" y="2741"/>
                  </a:cubicBezTo>
                  <a:cubicBezTo>
                    <a:pt x="3083" y="2675"/>
                    <a:pt x="3133" y="2608"/>
                    <a:pt x="3171" y="2553"/>
                  </a:cubicBezTo>
                  <a:cubicBezTo>
                    <a:pt x="3261" y="2421"/>
                    <a:pt x="3337" y="2280"/>
                    <a:pt x="3389" y="2144"/>
                  </a:cubicBezTo>
                  <a:cubicBezTo>
                    <a:pt x="3414" y="2087"/>
                    <a:pt x="3436" y="2029"/>
                    <a:pt x="3454" y="1972"/>
                  </a:cubicBezTo>
                  <a:cubicBezTo>
                    <a:pt x="3524" y="1914"/>
                    <a:pt x="3565" y="1826"/>
                    <a:pt x="3565" y="1734"/>
                  </a:cubicBezTo>
                  <a:lnTo>
                    <a:pt x="3565" y="1508"/>
                  </a:lnTo>
                  <a:cubicBezTo>
                    <a:pt x="3565" y="1443"/>
                    <a:pt x="3545" y="1380"/>
                    <a:pt x="3507" y="1328"/>
                  </a:cubicBezTo>
                  <a:lnTo>
                    <a:pt x="3507" y="1010"/>
                  </a:lnTo>
                  <a:cubicBezTo>
                    <a:pt x="3507" y="453"/>
                    <a:pt x="3054" y="0"/>
                    <a:pt x="2497" y="0"/>
                  </a:cubicBezTo>
                  <a:lnTo>
                    <a:pt x="2170" y="0"/>
                  </a:lnTo>
                  <a:cubicBezTo>
                    <a:pt x="1613" y="0"/>
                    <a:pt x="1160" y="453"/>
                    <a:pt x="1160" y="1010"/>
                  </a:cubicBezTo>
                  <a:lnTo>
                    <a:pt x="1160" y="1328"/>
                  </a:lnTo>
                  <a:cubicBezTo>
                    <a:pt x="1122" y="1380"/>
                    <a:pt x="1102" y="1444"/>
                    <a:pt x="1102" y="1508"/>
                  </a:cubicBezTo>
                  <a:lnTo>
                    <a:pt x="1102" y="1734"/>
                  </a:lnTo>
                  <a:cubicBezTo>
                    <a:pt x="1102" y="1826"/>
                    <a:pt x="1143" y="1914"/>
                    <a:pt x="1213" y="1972"/>
                  </a:cubicBezTo>
                  <a:cubicBezTo>
                    <a:pt x="1231" y="2029"/>
                    <a:pt x="1253" y="2087"/>
                    <a:pt x="1279" y="2144"/>
                  </a:cubicBezTo>
                  <a:cubicBezTo>
                    <a:pt x="1331" y="2280"/>
                    <a:pt x="1406" y="2421"/>
                    <a:pt x="1496" y="2552"/>
                  </a:cubicBezTo>
                  <a:cubicBezTo>
                    <a:pt x="1534" y="2608"/>
                    <a:pt x="1584" y="2674"/>
                    <a:pt x="1644" y="2740"/>
                  </a:cubicBezTo>
                  <a:cubicBezTo>
                    <a:pt x="1590" y="2779"/>
                    <a:pt x="1551" y="2825"/>
                    <a:pt x="1534" y="2877"/>
                  </a:cubicBezTo>
                  <a:lnTo>
                    <a:pt x="814" y="3095"/>
                  </a:lnTo>
                  <a:cubicBezTo>
                    <a:pt x="307" y="3241"/>
                    <a:pt x="3" y="5432"/>
                    <a:pt x="3" y="5432"/>
                  </a:cubicBezTo>
                  <a:lnTo>
                    <a:pt x="3" y="5432"/>
                  </a:lnTo>
                  <a:cubicBezTo>
                    <a:pt x="1" y="5442"/>
                    <a:pt x="0" y="5452"/>
                    <a:pt x="0" y="5462"/>
                  </a:cubicBezTo>
                  <a:cubicBezTo>
                    <a:pt x="0" y="5567"/>
                    <a:pt x="86" y="5653"/>
                    <a:pt x="191" y="5653"/>
                  </a:cubicBezTo>
                  <a:lnTo>
                    <a:pt x="4372" y="5653"/>
                  </a:lnTo>
                  <a:cubicBezTo>
                    <a:pt x="4418" y="5668"/>
                    <a:pt x="4468" y="5677"/>
                    <a:pt x="4520" y="5677"/>
                  </a:cubicBezTo>
                  <a:cubicBezTo>
                    <a:pt x="4783" y="5677"/>
                    <a:pt x="4996" y="5464"/>
                    <a:pt x="4996" y="5202"/>
                  </a:cubicBezTo>
                  <a:lnTo>
                    <a:pt x="4996" y="5161"/>
                  </a:lnTo>
                  <a:cubicBezTo>
                    <a:pt x="5091" y="5119"/>
                    <a:pt x="5175" y="5063"/>
                    <a:pt x="5248" y="4994"/>
                  </a:cubicBezTo>
                  <a:cubicBezTo>
                    <a:pt x="5412" y="4838"/>
                    <a:pt x="5499" y="4635"/>
                    <a:pt x="5499" y="4406"/>
                  </a:cubicBezTo>
                  <a:cubicBezTo>
                    <a:pt x="5499" y="4239"/>
                    <a:pt x="5453" y="4089"/>
                    <a:pt x="5363" y="3960"/>
                  </a:cubicBezTo>
                  <a:close/>
                  <a:moveTo>
                    <a:pt x="2140" y="3663"/>
                  </a:moveTo>
                  <a:cubicBezTo>
                    <a:pt x="2137" y="3689"/>
                    <a:pt x="2118" y="3711"/>
                    <a:pt x="2093" y="3718"/>
                  </a:cubicBezTo>
                  <a:cubicBezTo>
                    <a:pt x="2087" y="3720"/>
                    <a:pt x="2081" y="3721"/>
                    <a:pt x="2075" y="3721"/>
                  </a:cubicBezTo>
                  <a:cubicBezTo>
                    <a:pt x="2055" y="3721"/>
                    <a:pt x="2036" y="3711"/>
                    <a:pt x="2024" y="3695"/>
                  </a:cubicBezTo>
                  <a:lnTo>
                    <a:pt x="1842" y="3454"/>
                  </a:lnTo>
                  <a:cubicBezTo>
                    <a:pt x="1833" y="3442"/>
                    <a:pt x="1829" y="3429"/>
                    <a:pt x="1829" y="3415"/>
                  </a:cubicBezTo>
                  <a:lnTo>
                    <a:pt x="1829" y="3028"/>
                  </a:lnTo>
                  <a:cubicBezTo>
                    <a:pt x="1829" y="3005"/>
                    <a:pt x="1841" y="2984"/>
                    <a:pt x="1860" y="2972"/>
                  </a:cubicBezTo>
                  <a:cubicBezTo>
                    <a:pt x="1880" y="2961"/>
                    <a:pt x="1904" y="2960"/>
                    <a:pt x="1924" y="2970"/>
                  </a:cubicBezTo>
                  <a:cubicBezTo>
                    <a:pt x="1977" y="2998"/>
                    <a:pt x="2030" y="3017"/>
                    <a:pt x="2081" y="3026"/>
                  </a:cubicBezTo>
                  <a:cubicBezTo>
                    <a:pt x="2112" y="3032"/>
                    <a:pt x="2135" y="3059"/>
                    <a:pt x="2135" y="3090"/>
                  </a:cubicBezTo>
                  <a:lnTo>
                    <a:pt x="2135" y="3252"/>
                  </a:lnTo>
                  <a:cubicBezTo>
                    <a:pt x="2144" y="3255"/>
                    <a:pt x="2152" y="3261"/>
                    <a:pt x="2159" y="3268"/>
                  </a:cubicBezTo>
                  <a:cubicBezTo>
                    <a:pt x="2171" y="3282"/>
                    <a:pt x="2177" y="3300"/>
                    <a:pt x="2175" y="3318"/>
                  </a:cubicBezTo>
                  <a:lnTo>
                    <a:pt x="2140" y="3663"/>
                  </a:lnTo>
                  <a:close/>
                  <a:moveTo>
                    <a:pt x="2825" y="3454"/>
                  </a:moveTo>
                  <a:lnTo>
                    <a:pt x="2644" y="3695"/>
                  </a:lnTo>
                  <a:cubicBezTo>
                    <a:pt x="2631" y="3711"/>
                    <a:pt x="2612" y="3721"/>
                    <a:pt x="2592" y="3721"/>
                  </a:cubicBezTo>
                  <a:cubicBezTo>
                    <a:pt x="2586" y="3721"/>
                    <a:pt x="2580" y="3720"/>
                    <a:pt x="2574" y="3718"/>
                  </a:cubicBezTo>
                  <a:cubicBezTo>
                    <a:pt x="2549" y="3711"/>
                    <a:pt x="2530" y="3689"/>
                    <a:pt x="2527" y="3662"/>
                  </a:cubicBezTo>
                  <a:lnTo>
                    <a:pt x="2492" y="3318"/>
                  </a:lnTo>
                  <a:cubicBezTo>
                    <a:pt x="2490" y="3300"/>
                    <a:pt x="2496" y="3282"/>
                    <a:pt x="2508" y="3268"/>
                  </a:cubicBezTo>
                  <a:cubicBezTo>
                    <a:pt x="2515" y="3261"/>
                    <a:pt x="2523" y="3255"/>
                    <a:pt x="2533" y="3252"/>
                  </a:cubicBezTo>
                  <a:lnTo>
                    <a:pt x="2533" y="3090"/>
                  </a:lnTo>
                  <a:cubicBezTo>
                    <a:pt x="2533" y="3059"/>
                    <a:pt x="2555" y="3032"/>
                    <a:pt x="2586" y="3026"/>
                  </a:cubicBezTo>
                  <a:cubicBezTo>
                    <a:pt x="2637" y="3017"/>
                    <a:pt x="2690" y="2998"/>
                    <a:pt x="2743" y="2971"/>
                  </a:cubicBezTo>
                  <a:cubicBezTo>
                    <a:pt x="2763" y="2960"/>
                    <a:pt x="2787" y="2961"/>
                    <a:pt x="2807" y="2972"/>
                  </a:cubicBezTo>
                  <a:cubicBezTo>
                    <a:pt x="2826" y="2984"/>
                    <a:pt x="2838" y="3005"/>
                    <a:pt x="2838" y="3028"/>
                  </a:cubicBezTo>
                  <a:lnTo>
                    <a:pt x="2838" y="3415"/>
                  </a:lnTo>
                  <a:cubicBezTo>
                    <a:pt x="2838" y="3429"/>
                    <a:pt x="2834" y="3442"/>
                    <a:pt x="2825" y="3454"/>
                  </a:cubicBezTo>
                  <a:close/>
                  <a:moveTo>
                    <a:pt x="2508" y="2684"/>
                  </a:moveTo>
                  <a:lnTo>
                    <a:pt x="2160" y="2684"/>
                  </a:lnTo>
                  <a:cubicBezTo>
                    <a:pt x="2083" y="2684"/>
                    <a:pt x="1934" y="2581"/>
                    <a:pt x="1776" y="2351"/>
                  </a:cubicBezTo>
                  <a:cubicBezTo>
                    <a:pt x="1651" y="2170"/>
                    <a:pt x="1564" y="1970"/>
                    <a:pt x="1544" y="1815"/>
                  </a:cubicBezTo>
                  <a:lnTo>
                    <a:pt x="1540" y="1788"/>
                  </a:lnTo>
                  <a:lnTo>
                    <a:pt x="1477" y="1747"/>
                  </a:lnTo>
                  <a:cubicBezTo>
                    <a:pt x="1459" y="1735"/>
                    <a:pt x="1448" y="1715"/>
                    <a:pt x="1448" y="1693"/>
                  </a:cubicBezTo>
                  <a:lnTo>
                    <a:pt x="1448" y="1586"/>
                  </a:lnTo>
                  <a:cubicBezTo>
                    <a:pt x="1448" y="1551"/>
                    <a:pt x="1477" y="1522"/>
                    <a:pt x="1513" y="1522"/>
                  </a:cubicBezTo>
                  <a:lnTo>
                    <a:pt x="1539" y="1522"/>
                  </a:lnTo>
                  <a:lnTo>
                    <a:pt x="1539" y="1406"/>
                  </a:lnTo>
                  <a:cubicBezTo>
                    <a:pt x="1539" y="1382"/>
                    <a:pt x="1553" y="1359"/>
                    <a:pt x="1575" y="1348"/>
                  </a:cubicBezTo>
                  <a:cubicBezTo>
                    <a:pt x="1664" y="1304"/>
                    <a:pt x="1841" y="1229"/>
                    <a:pt x="2024" y="1229"/>
                  </a:cubicBezTo>
                  <a:cubicBezTo>
                    <a:pt x="2170" y="1229"/>
                    <a:pt x="2292" y="1278"/>
                    <a:pt x="2384" y="1374"/>
                  </a:cubicBezTo>
                  <a:cubicBezTo>
                    <a:pt x="2500" y="1493"/>
                    <a:pt x="2633" y="1554"/>
                    <a:pt x="2781" y="1554"/>
                  </a:cubicBezTo>
                  <a:cubicBezTo>
                    <a:pt x="2864" y="1554"/>
                    <a:pt x="2950" y="1534"/>
                    <a:pt x="3037" y="1495"/>
                  </a:cubicBezTo>
                  <a:cubicBezTo>
                    <a:pt x="3057" y="1486"/>
                    <a:pt x="3080" y="1488"/>
                    <a:pt x="3098" y="1500"/>
                  </a:cubicBezTo>
                  <a:cubicBezTo>
                    <a:pt x="3107" y="1506"/>
                    <a:pt x="3114" y="1513"/>
                    <a:pt x="3119" y="1522"/>
                  </a:cubicBezTo>
                  <a:lnTo>
                    <a:pt x="3154" y="1522"/>
                  </a:lnTo>
                  <a:cubicBezTo>
                    <a:pt x="3190" y="1522"/>
                    <a:pt x="3219" y="1551"/>
                    <a:pt x="3219" y="1586"/>
                  </a:cubicBezTo>
                  <a:lnTo>
                    <a:pt x="3219" y="1693"/>
                  </a:lnTo>
                  <a:cubicBezTo>
                    <a:pt x="3219" y="1715"/>
                    <a:pt x="3208" y="1735"/>
                    <a:pt x="3190" y="1747"/>
                  </a:cubicBezTo>
                  <a:lnTo>
                    <a:pt x="3127" y="1788"/>
                  </a:lnTo>
                  <a:lnTo>
                    <a:pt x="3123" y="1815"/>
                  </a:lnTo>
                  <a:cubicBezTo>
                    <a:pt x="3103" y="1970"/>
                    <a:pt x="3016" y="2170"/>
                    <a:pt x="2891" y="2351"/>
                  </a:cubicBezTo>
                  <a:cubicBezTo>
                    <a:pt x="2733" y="2581"/>
                    <a:pt x="2584" y="2684"/>
                    <a:pt x="2508" y="2684"/>
                  </a:cubicBezTo>
                  <a:close/>
                  <a:moveTo>
                    <a:pt x="5035" y="4769"/>
                  </a:moveTo>
                  <a:cubicBezTo>
                    <a:pt x="4947" y="4852"/>
                    <a:pt x="4830" y="4908"/>
                    <a:pt x="4686" y="4935"/>
                  </a:cubicBezTo>
                  <a:lnTo>
                    <a:pt x="4686" y="5202"/>
                  </a:lnTo>
                  <a:cubicBezTo>
                    <a:pt x="4686" y="5293"/>
                    <a:pt x="4612" y="5367"/>
                    <a:pt x="4520" y="5367"/>
                  </a:cubicBezTo>
                  <a:cubicBezTo>
                    <a:pt x="4429" y="5367"/>
                    <a:pt x="4355" y="5293"/>
                    <a:pt x="4355" y="5202"/>
                  </a:cubicBezTo>
                  <a:lnTo>
                    <a:pt x="4355" y="4944"/>
                  </a:lnTo>
                  <a:cubicBezTo>
                    <a:pt x="4144" y="4915"/>
                    <a:pt x="3987" y="4824"/>
                    <a:pt x="3887" y="4672"/>
                  </a:cubicBezTo>
                  <a:cubicBezTo>
                    <a:pt x="3857" y="4626"/>
                    <a:pt x="3851" y="4567"/>
                    <a:pt x="3873" y="4516"/>
                  </a:cubicBezTo>
                  <a:cubicBezTo>
                    <a:pt x="3895" y="4465"/>
                    <a:pt x="3941" y="4428"/>
                    <a:pt x="3995" y="4418"/>
                  </a:cubicBezTo>
                  <a:lnTo>
                    <a:pt x="4121" y="4395"/>
                  </a:lnTo>
                  <a:cubicBezTo>
                    <a:pt x="4185" y="4383"/>
                    <a:pt x="4250" y="4410"/>
                    <a:pt x="4287" y="4463"/>
                  </a:cubicBezTo>
                  <a:cubicBezTo>
                    <a:pt x="4334" y="4531"/>
                    <a:pt x="4414" y="4565"/>
                    <a:pt x="4524" y="4565"/>
                  </a:cubicBezTo>
                  <a:cubicBezTo>
                    <a:pt x="4693" y="4565"/>
                    <a:pt x="4693" y="4498"/>
                    <a:pt x="4693" y="4475"/>
                  </a:cubicBezTo>
                  <a:cubicBezTo>
                    <a:pt x="4693" y="4443"/>
                    <a:pt x="4681" y="4420"/>
                    <a:pt x="4656" y="4402"/>
                  </a:cubicBezTo>
                  <a:cubicBezTo>
                    <a:pt x="4629" y="4384"/>
                    <a:pt x="4581" y="4367"/>
                    <a:pt x="4512" y="4353"/>
                  </a:cubicBezTo>
                  <a:cubicBezTo>
                    <a:pt x="4237" y="4297"/>
                    <a:pt x="4059" y="4224"/>
                    <a:pt x="3985" y="4136"/>
                  </a:cubicBezTo>
                  <a:cubicBezTo>
                    <a:pt x="3909" y="4048"/>
                    <a:pt x="3872" y="3948"/>
                    <a:pt x="3872" y="3833"/>
                  </a:cubicBezTo>
                  <a:cubicBezTo>
                    <a:pt x="3872" y="3707"/>
                    <a:pt x="3914" y="3595"/>
                    <a:pt x="3995" y="3497"/>
                  </a:cubicBezTo>
                  <a:cubicBezTo>
                    <a:pt x="4074" y="3403"/>
                    <a:pt x="4195" y="3342"/>
                    <a:pt x="4355" y="3316"/>
                  </a:cubicBezTo>
                  <a:lnTo>
                    <a:pt x="4355" y="3124"/>
                  </a:lnTo>
                  <a:cubicBezTo>
                    <a:pt x="4355" y="3033"/>
                    <a:pt x="4429" y="2959"/>
                    <a:pt x="4520" y="2959"/>
                  </a:cubicBezTo>
                  <a:cubicBezTo>
                    <a:pt x="4612" y="2959"/>
                    <a:pt x="4686" y="3033"/>
                    <a:pt x="4686" y="3124"/>
                  </a:cubicBezTo>
                  <a:lnTo>
                    <a:pt x="4686" y="3319"/>
                  </a:lnTo>
                  <a:cubicBezTo>
                    <a:pt x="4829" y="3346"/>
                    <a:pt x="4940" y="3404"/>
                    <a:pt x="5024" y="3494"/>
                  </a:cubicBezTo>
                  <a:cubicBezTo>
                    <a:pt x="5063" y="3536"/>
                    <a:pt x="5078" y="3595"/>
                    <a:pt x="5064" y="3650"/>
                  </a:cubicBezTo>
                  <a:cubicBezTo>
                    <a:pt x="5049" y="3705"/>
                    <a:pt x="5007" y="3749"/>
                    <a:pt x="4953" y="3766"/>
                  </a:cubicBezTo>
                  <a:lnTo>
                    <a:pt x="4867" y="3793"/>
                  </a:lnTo>
                  <a:cubicBezTo>
                    <a:pt x="4805" y="3812"/>
                    <a:pt x="4737" y="3793"/>
                    <a:pt x="4693" y="3744"/>
                  </a:cubicBezTo>
                  <a:cubicBezTo>
                    <a:pt x="4650" y="3696"/>
                    <a:pt x="4586" y="3671"/>
                    <a:pt x="4503" y="3671"/>
                  </a:cubicBezTo>
                  <a:cubicBezTo>
                    <a:pt x="4436" y="3671"/>
                    <a:pt x="4356" y="3687"/>
                    <a:pt x="4356" y="3763"/>
                  </a:cubicBezTo>
                  <a:cubicBezTo>
                    <a:pt x="4356" y="3785"/>
                    <a:pt x="4364" y="3804"/>
                    <a:pt x="4379" y="3819"/>
                  </a:cubicBezTo>
                  <a:cubicBezTo>
                    <a:pt x="4396" y="3835"/>
                    <a:pt x="4444" y="3852"/>
                    <a:pt x="4521" y="3870"/>
                  </a:cubicBezTo>
                  <a:cubicBezTo>
                    <a:pt x="4701" y="3909"/>
                    <a:pt x="4832" y="3945"/>
                    <a:pt x="4910" y="3976"/>
                  </a:cubicBezTo>
                  <a:cubicBezTo>
                    <a:pt x="4990" y="4008"/>
                    <a:pt x="5057" y="4062"/>
                    <a:pt x="5110" y="4137"/>
                  </a:cubicBezTo>
                  <a:cubicBezTo>
                    <a:pt x="5162" y="4213"/>
                    <a:pt x="5189" y="4303"/>
                    <a:pt x="5189" y="4406"/>
                  </a:cubicBezTo>
                  <a:cubicBezTo>
                    <a:pt x="5189" y="4550"/>
                    <a:pt x="5137" y="4672"/>
                    <a:pt x="5035" y="4769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>
                <a:cs typeface="+mn-ea"/>
                <a:sym typeface="+mn-lt"/>
              </a:endParaRPr>
            </a:p>
          </p:txBody>
        </p:sp>
        <p:sp>
          <p:nvSpPr>
            <p:cNvPr id="32" name="椭圆 31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8169542" y="1344671"/>
              <a:ext cx="713590" cy="71359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>
                <a:cs typeface="+mn-ea"/>
                <a:sym typeface="+mn-lt"/>
              </a:endParaRPr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8351852" y="1478888"/>
              <a:ext cx="348970" cy="445162"/>
            </a:xfrm>
            <a:custGeom>
              <a:avLst/>
              <a:gdLst>
                <a:gd name="connsiteX0" fmla="*/ 141382 w 471931"/>
                <a:gd name="connsiteY0" fmla="*/ 110908 h 602015"/>
                <a:gd name="connsiteX1" fmla="*/ 176895 w 471931"/>
                <a:gd name="connsiteY1" fmla="*/ 110908 h 602015"/>
                <a:gd name="connsiteX2" fmla="*/ 235654 w 471931"/>
                <a:gd name="connsiteY2" fmla="*/ 218548 h 602015"/>
                <a:gd name="connsiteX3" fmla="*/ 294413 w 471931"/>
                <a:gd name="connsiteY3" fmla="*/ 110908 h 602015"/>
                <a:gd name="connsiteX4" fmla="*/ 329926 w 471931"/>
                <a:gd name="connsiteY4" fmla="*/ 110908 h 602015"/>
                <a:gd name="connsiteX5" fmla="*/ 287956 w 471931"/>
                <a:gd name="connsiteY5" fmla="*/ 181809 h 602015"/>
                <a:gd name="connsiteX6" fmla="*/ 315721 w 471931"/>
                <a:gd name="connsiteY6" fmla="*/ 181809 h 602015"/>
                <a:gd name="connsiteX7" fmla="*/ 315721 w 471931"/>
                <a:gd name="connsiteY7" fmla="*/ 203724 h 602015"/>
                <a:gd name="connsiteX8" fmla="*/ 275042 w 471931"/>
                <a:gd name="connsiteY8" fmla="*/ 203724 h 602015"/>
                <a:gd name="connsiteX9" fmla="*/ 254379 w 471931"/>
                <a:gd name="connsiteY9" fmla="*/ 238529 h 602015"/>
                <a:gd name="connsiteX10" fmla="*/ 310555 w 471931"/>
                <a:gd name="connsiteY10" fmla="*/ 238529 h 602015"/>
                <a:gd name="connsiteX11" fmla="*/ 310555 w 471931"/>
                <a:gd name="connsiteY11" fmla="*/ 259800 h 602015"/>
                <a:gd name="connsiteX12" fmla="*/ 250505 w 471931"/>
                <a:gd name="connsiteY12" fmla="*/ 259800 h 602015"/>
                <a:gd name="connsiteX13" fmla="*/ 250505 w 471931"/>
                <a:gd name="connsiteY13" fmla="*/ 335212 h 602015"/>
                <a:gd name="connsiteX14" fmla="*/ 220157 w 471931"/>
                <a:gd name="connsiteY14" fmla="*/ 335212 h 602015"/>
                <a:gd name="connsiteX15" fmla="*/ 220157 w 471931"/>
                <a:gd name="connsiteY15" fmla="*/ 259800 h 602015"/>
                <a:gd name="connsiteX16" fmla="*/ 162690 w 471931"/>
                <a:gd name="connsiteY16" fmla="*/ 259800 h 602015"/>
                <a:gd name="connsiteX17" fmla="*/ 162690 w 471931"/>
                <a:gd name="connsiteY17" fmla="*/ 238529 h 602015"/>
                <a:gd name="connsiteX18" fmla="*/ 216929 w 471931"/>
                <a:gd name="connsiteY18" fmla="*/ 238529 h 602015"/>
                <a:gd name="connsiteX19" fmla="*/ 196266 w 471931"/>
                <a:gd name="connsiteY19" fmla="*/ 203724 h 602015"/>
                <a:gd name="connsiteX20" fmla="*/ 154942 w 471931"/>
                <a:gd name="connsiteY20" fmla="*/ 203724 h 602015"/>
                <a:gd name="connsiteX21" fmla="*/ 154942 w 471931"/>
                <a:gd name="connsiteY21" fmla="*/ 181809 h 602015"/>
                <a:gd name="connsiteX22" fmla="*/ 183352 w 471931"/>
                <a:gd name="connsiteY22" fmla="*/ 181809 h 602015"/>
                <a:gd name="connsiteX23" fmla="*/ 235643 w 471931"/>
                <a:gd name="connsiteY23" fmla="*/ 58655 h 602015"/>
                <a:gd name="connsiteX24" fmla="*/ 71661 w 471931"/>
                <a:gd name="connsiteY24" fmla="*/ 223016 h 602015"/>
                <a:gd name="connsiteX25" fmla="*/ 235643 w 471931"/>
                <a:gd name="connsiteY25" fmla="*/ 386733 h 602015"/>
                <a:gd name="connsiteX26" fmla="*/ 400270 w 471931"/>
                <a:gd name="connsiteY26" fmla="*/ 223016 h 602015"/>
                <a:gd name="connsiteX27" fmla="*/ 235643 w 471931"/>
                <a:gd name="connsiteY27" fmla="*/ 58655 h 602015"/>
                <a:gd name="connsiteX28" fmla="*/ 235643 w 471931"/>
                <a:gd name="connsiteY28" fmla="*/ 0 h 602015"/>
                <a:gd name="connsiteX29" fmla="*/ 471931 w 471931"/>
                <a:gd name="connsiteY29" fmla="*/ 235907 h 602015"/>
                <a:gd name="connsiteX30" fmla="*/ 235643 w 471931"/>
                <a:gd name="connsiteY30" fmla="*/ 602015 h 602015"/>
                <a:gd name="connsiteX31" fmla="*/ 0 w 471931"/>
                <a:gd name="connsiteY31" fmla="*/ 235907 h 602015"/>
                <a:gd name="connsiteX32" fmla="*/ 235643 w 471931"/>
                <a:gd name="connsiteY32" fmla="*/ 0 h 602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71931" h="602015">
                  <a:moveTo>
                    <a:pt x="141382" y="110908"/>
                  </a:moveTo>
                  <a:lnTo>
                    <a:pt x="176895" y="110908"/>
                  </a:lnTo>
                  <a:lnTo>
                    <a:pt x="235654" y="218548"/>
                  </a:lnTo>
                  <a:lnTo>
                    <a:pt x="294413" y="110908"/>
                  </a:lnTo>
                  <a:lnTo>
                    <a:pt x="329926" y="110908"/>
                  </a:lnTo>
                  <a:lnTo>
                    <a:pt x="287956" y="181809"/>
                  </a:lnTo>
                  <a:lnTo>
                    <a:pt x="315721" y="181809"/>
                  </a:lnTo>
                  <a:lnTo>
                    <a:pt x="315721" y="203724"/>
                  </a:lnTo>
                  <a:lnTo>
                    <a:pt x="275042" y="203724"/>
                  </a:lnTo>
                  <a:lnTo>
                    <a:pt x="254379" y="238529"/>
                  </a:lnTo>
                  <a:lnTo>
                    <a:pt x="310555" y="238529"/>
                  </a:lnTo>
                  <a:lnTo>
                    <a:pt x="310555" y="259800"/>
                  </a:lnTo>
                  <a:lnTo>
                    <a:pt x="250505" y="259800"/>
                  </a:lnTo>
                  <a:lnTo>
                    <a:pt x="250505" y="335212"/>
                  </a:lnTo>
                  <a:lnTo>
                    <a:pt x="220157" y="335212"/>
                  </a:lnTo>
                  <a:lnTo>
                    <a:pt x="220157" y="259800"/>
                  </a:lnTo>
                  <a:lnTo>
                    <a:pt x="162690" y="259800"/>
                  </a:lnTo>
                  <a:lnTo>
                    <a:pt x="162690" y="238529"/>
                  </a:lnTo>
                  <a:lnTo>
                    <a:pt x="216929" y="238529"/>
                  </a:lnTo>
                  <a:lnTo>
                    <a:pt x="196266" y="203724"/>
                  </a:lnTo>
                  <a:lnTo>
                    <a:pt x="154942" y="203724"/>
                  </a:lnTo>
                  <a:lnTo>
                    <a:pt x="154942" y="181809"/>
                  </a:lnTo>
                  <a:lnTo>
                    <a:pt x="183352" y="181809"/>
                  </a:lnTo>
                  <a:close/>
                  <a:moveTo>
                    <a:pt x="235643" y="58655"/>
                  </a:moveTo>
                  <a:cubicBezTo>
                    <a:pt x="145259" y="58655"/>
                    <a:pt x="71661" y="132134"/>
                    <a:pt x="71661" y="223016"/>
                  </a:cubicBezTo>
                  <a:cubicBezTo>
                    <a:pt x="71661" y="313254"/>
                    <a:pt x="145259" y="386733"/>
                    <a:pt x="235643" y="386733"/>
                  </a:cubicBezTo>
                  <a:cubicBezTo>
                    <a:pt x="326672" y="386733"/>
                    <a:pt x="400270" y="313254"/>
                    <a:pt x="400270" y="223016"/>
                  </a:cubicBezTo>
                  <a:cubicBezTo>
                    <a:pt x="400270" y="132134"/>
                    <a:pt x="326672" y="58655"/>
                    <a:pt x="235643" y="58655"/>
                  </a:cubicBezTo>
                  <a:close/>
                  <a:moveTo>
                    <a:pt x="235643" y="0"/>
                  </a:moveTo>
                  <a:cubicBezTo>
                    <a:pt x="366053" y="0"/>
                    <a:pt x="471931" y="105707"/>
                    <a:pt x="471931" y="235907"/>
                  </a:cubicBezTo>
                  <a:cubicBezTo>
                    <a:pt x="471931" y="366108"/>
                    <a:pt x="235643" y="602015"/>
                    <a:pt x="235643" y="602015"/>
                  </a:cubicBezTo>
                  <a:cubicBezTo>
                    <a:pt x="235643" y="602015"/>
                    <a:pt x="0" y="366108"/>
                    <a:pt x="0" y="235907"/>
                  </a:cubicBezTo>
                  <a:cubicBezTo>
                    <a:pt x="0" y="105707"/>
                    <a:pt x="105232" y="0"/>
                    <a:pt x="235643" y="0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>
                <a:cs typeface="+mn-ea"/>
                <a:sym typeface="+mn-lt"/>
              </a:endParaRPr>
            </a:p>
          </p:txBody>
        </p:sp>
        <p:sp>
          <p:nvSpPr>
            <p:cNvPr id="34" name="椭圆 33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9789766" y="1344671"/>
              <a:ext cx="713590" cy="71359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>
                <a:cs typeface="+mn-ea"/>
                <a:sym typeface="+mn-lt"/>
              </a:endParaRPr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9923980" y="1479225"/>
              <a:ext cx="445162" cy="444489"/>
            </a:xfrm>
            <a:custGeom>
              <a:avLst/>
              <a:gdLst>
                <a:gd name="connsiteX0" fmla="*/ 285241 w 606933"/>
                <a:gd name="connsiteY0" fmla="*/ 444068 h 606016"/>
                <a:gd name="connsiteX1" fmla="*/ 303420 w 606933"/>
                <a:gd name="connsiteY1" fmla="*/ 445197 h 606016"/>
                <a:gd name="connsiteX2" fmla="*/ 321693 w 606933"/>
                <a:gd name="connsiteY2" fmla="*/ 444068 h 606016"/>
                <a:gd name="connsiteX3" fmla="*/ 321693 w 606933"/>
                <a:gd name="connsiteY3" fmla="*/ 466921 h 606016"/>
                <a:gd name="connsiteX4" fmla="*/ 321693 w 606933"/>
                <a:gd name="connsiteY4" fmla="*/ 503693 h 606016"/>
                <a:gd name="connsiteX5" fmla="*/ 356356 w 606933"/>
                <a:gd name="connsiteY5" fmla="*/ 553162 h 606016"/>
                <a:gd name="connsiteX6" fmla="*/ 303420 w 606933"/>
                <a:gd name="connsiteY6" fmla="*/ 606016 h 606016"/>
                <a:gd name="connsiteX7" fmla="*/ 250578 w 606933"/>
                <a:gd name="connsiteY7" fmla="*/ 553162 h 606016"/>
                <a:gd name="connsiteX8" fmla="*/ 285241 w 606933"/>
                <a:gd name="connsiteY8" fmla="*/ 503693 h 606016"/>
                <a:gd name="connsiteX9" fmla="*/ 285241 w 606933"/>
                <a:gd name="connsiteY9" fmla="*/ 466921 h 606016"/>
                <a:gd name="connsiteX10" fmla="*/ 416083 w 606933"/>
                <a:gd name="connsiteY10" fmla="*/ 389803 h 606016"/>
                <a:gd name="connsiteX11" fmla="*/ 458471 w 606933"/>
                <a:gd name="connsiteY11" fmla="*/ 432034 h 606016"/>
                <a:gd name="connsiteX12" fmla="*/ 480701 w 606933"/>
                <a:gd name="connsiteY12" fmla="*/ 427143 h 606016"/>
                <a:gd name="connsiteX13" fmla="*/ 533545 w 606933"/>
                <a:gd name="connsiteY13" fmla="*/ 480003 h 606016"/>
                <a:gd name="connsiteX14" fmla="*/ 480701 w 606933"/>
                <a:gd name="connsiteY14" fmla="*/ 532769 h 606016"/>
                <a:gd name="connsiteX15" fmla="*/ 427764 w 606933"/>
                <a:gd name="connsiteY15" fmla="*/ 480003 h 606016"/>
                <a:gd name="connsiteX16" fmla="*/ 432662 w 606933"/>
                <a:gd name="connsiteY16" fmla="*/ 457806 h 606016"/>
                <a:gd name="connsiteX17" fmla="*/ 390368 w 606933"/>
                <a:gd name="connsiteY17" fmla="*/ 415480 h 606016"/>
                <a:gd name="connsiteX18" fmla="*/ 416083 w 606933"/>
                <a:gd name="connsiteY18" fmla="*/ 389803 h 606016"/>
                <a:gd name="connsiteX19" fmla="*/ 190658 w 606933"/>
                <a:gd name="connsiteY19" fmla="*/ 389803 h 606016"/>
                <a:gd name="connsiteX20" fmla="*/ 216283 w 606933"/>
                <a:gd name="connsiteY20" fmla="*/ 415480 h 606016"/>
                <a:gd name="connsiteX21" fmla="*/ 174076 w 606933"/>
                <a:gd name="connsiteY21" fmla="*/ 457806 h 606016"/>
                <a:gd name="connsiteX22" fmla="*/ 178975 w 606933"/>
                <a:gd name="connsiteY22" fmla="*/ 480003 h 606016"/>
                <a:gd name="connsiteX23" fmla="*/ 126123 w 606933"/>
                <a:gd name="connsiteY23" fmla="*/ 532769 h 606016"/>
                <a:gd name="connsiteX24" fmla="*/ 73176 w 606933"/>
                <a:gd name="connsiteY24" fmla="*/ 480003 h 606016"/>
                <a:gd name="connsiteX25" fmla="*/ 126123 w 606933"/>
                <a:gd name="connsiteY25" fmla="*/ 427143 h 606016"/>
                <a:gd name="connsiteX26" fmla="*/ 148357 w 606933"/>
                <a:gd name="connsiteY26" fmla="*/ 432034 h 606016"/>
                <a:gd name="connsiteX27" fmla="*/ 52836 w 606933"/>
                <a:gd name="connsiteY27" fmla="*/ 253330 h 606016"/>
                <a:gd name="connsiteX28" fmla="*/ 102470 w 606933"/>
                <a:gd name="connsiteY28" fmla="*/ 287852 h 606016"/>
                <a:gd name="connsiteX29" fmla="*/ 161711 w 606933"/>
                <a:gd name="connsiteY29" fmla="*/ 287852 h 606016"/>
                <a:gd name="connsiteX30" fmla="*/ 160958 w 606933"/>
                <a:gd name="connsiteY30" fmla="*/ 302997 h 606016"/>
                <a:gd name="connsiteX31" fmla="*/ 162653 w 606933"/>
                <a:gd name="connsiteY31" fmla="*/ 324350 h 606016"/>
                <a:gd name="connsiteX32" fmla="*/ 102470 w 606933"/>
                <a:gd name="connsiteY32" fmla="*/ 324350 h 606016"/>
                <a:gd name="connsiteX33" fmla="*/ 52836 w 606933"/>
                <a:gd name="connsiteY33" fmla="*/ 358966 h 606016"/>
                <a:gd name="connsiteX34" fmla="*/ 0 w 606933"/>
                <a:gd name="connsiteY34" fmla="*/ 306195 h 606016"/>
                <a:gd name="connsiteX35" fmla="*/ 52836 w 606933"/>
                <a:gd name="connsiteY35" fmla="*/ 253330 h 606016"/>
                <a:gd name="connsiteX36" fmla="*/ 553987 w 606933"/>
                <a:gd name="connsiteY36" fmla="*/ 250225 h 606016"/>
                <a:gd name="connsiteX37" fmla="*/ 606933 w 606933"/>
                <a:gd name="connsiteY37" fmla="*/ 302996 h 606016"/>
                <a:gd name="connsiteX38" fmla="*/ 553987 w 606933"/>
                <a:gd name="connsiteY38" fmla="*/ 355861 h 606016"/>
                <a:gd name="connsiteX39" fmla="*/ 505658 w 606933"/>
                <a:gd name="connsiteY39" fmla="*/ 324349 h 606016"/>
                <a:gd name="connsiteX40" fmla="*/ 444139 w 606933"/>
                <a:gd name="connsiteY40" fmla="*/ 324349 h 606016"/>
                <a:gd name="connsiteX41" fmla="*/ 445741 w 606933"/>
                <a:gd name="connsiteY41" fmla="*/ 302996 h 606016"/>
                <a:gd name="connsiteX42" fmla="*/ 444987 w 606933"/>
                <a:gd name="connsiteY42" fmla="*/ 287851 h 606016"/>
                <a:gd name="connsiteX43" fmla="*/ 503397 w 606933"/>
                <a:gd name="connsiteY43" fmla="*/ 287851 h 606016"/>
                <a:gd name="connsiteX44" fmla="*/ 553987 w 606933"/>
                <a:gd name="connsiteY44" fmla="*/ 250225 h 606016"/>
                <a:gd name="connsiteX45" fmla="*/ 303361 w 606933"/>
                <a:gd name="connsiteY45" fmla="*/ 231794 h 606016"/>
                <a:gd name="connsiteX46" fmla="*/ 232049 w 606933"/>
                <a:gd name="connsiteY46" fmla="*/ 302996 h 606016"/>
                <a:gd name="connsiteX47" fmla="*/ 249099 w 606933"/>
                <a:gd name="connsiteY47" fmla="*/ 320115 h 606016"/>
                <a:gd name="connsiteX48" fmla="*/ 266150 w 606933"/>
                <a:gd name="connsiteY48" fmla="*/ 302996 h 606016"/>
                <a:gd name="connsiteX49" fmla="*/ 303455 w 606933"/>
                <a:gd name="connsiteY49" fmla="*/ 265749 h 606016"/>
                <a:gd name="connsiteX50" fmla="*/ 320412 w 606933"/>
                <a:gd name="connsiteY50" fmla="*/ 248819 h 606016"/>
                <a:gd name="connsiteX51" fmla="*/ 303361 w 606933"/>
                <a:gd name="connsiteY51" fmla="*/ 231794 h 606016"/>
                <a:gd name="connsiteX52" fmla="*/ 303455 w 606933"/>
                <a:gd name="connsiteY52" fmla="*/ 188904 h 606016"/>
                <a:gd name="connsiteX53" fmla="*/ 417818 w 606933"/>
                <a:gd name="connsiteY53" fmla="*/ 302996 h 606016"/>
                <a:gd name="connsiteX54" fmla="*/ 303455 w 606933"/>
                <a:gd name="connsiteY54" fmla="*/ 417183 h 606016"/>
                <a:gd name="connsiteX55" fmla="*/ 189186 w 606933"/>
                <a:gd name="connsiteY55" fmla="*/ 302996 h 606016"/>
                <a:gd name="connsiteX56" fmla="*/ 303455 w 606933"/>
                <a:gd name="connsiteY56" fmla="*/ 188904 h 606016"/>
                <a:gd name="connsiteX57" fmla="*/ 480677 w 606933"/>
                <a:gd name="connsiteY57" fmla="*/ 73506 h 606016"/>
                <a:gd name="connsiteX58" fmla="*/ 518018 w 606933"/>
                <a:gd name="connsiteY58" fmla="*/ 88889 h 606016"/>
                <a:gd name="connsiteX59" fmla="*/ 518018 w 606933"/>
                <a:gd name="connsiteY59" fmla="*/ 163406 h 606016"/>
                <a:gd name="connsiteX60" fmla="*/ 458574 w 606933"/>
                <a:gd name="connsiteY60" fmla="*/ 173944 h 606016"/>
                <a:gd name="connsiteX61" fmla="*/ 416275 w 606933"/>
                <a:gd name="connsiteY61" fmla="*/ 216283 h 606016"/>
                <a:gd name="connsiteX62" fmla="*/ 390368 w 606933"/>
                <a:gd name="connsiteY62" fmla="*/ 190503 h 606016"/>
                <a:gd name="connsiteX63" fmla="*/ 405818 w 606933"/>
                <a:gd name="connsiteY63" fmla="*/ 175073 h 606016"/>
                <a:gd name="connsiteX64" fmla="*/ 432855 w 606933"/>
                <a:gd name="connsiteY64" fmla="*/ 148258 h 606016"/>
                <a:gd name="connsiteX65" fmla="*/ 443406 w 606933"/>
                <a:gd name="connsiteY65" fmla="*/ 88889 h 606016"/>
                <a:gd name="connsiteX66" fmla="*/ 480677 w 606933"/>
                <a:gd name="connsiteY66" fmla="*/ 73506 h 606016"/>
                <a:gd name="connsiteX67" fmla="*/ 126232 w 606933"/>
                <a:gd name="connsiteY67" fmla="*/ 73247 h 606016"/>
                <a:gd name="connsiteX68" fmla="*/ 179075 w 606933"/>
                <a:gd name="connsiteY68" fmla="*/ 126039 h 606016"/>
                <a:gd name="connsiteX69" fmla="*/ 174177 w 606933"/>
                <a:gd name="connsiteY69" fmla="*/ 148247 h 606016"/>
                <a:gd name="connsiteX70" fmla="*/ 216565 w 606933"/>
                <a:gd name="connsiteY70" fmla="*/ 190499 h 606016"/>
                <a:gd name="connsiteX71" fmla="*/ 190755 w 606933"/>
                <a:gd name="connsiteY71" fmla="*/ 216283 h 606016"/>
                <a:gd name="connsiteX72" fmla="*/ 148462 w 606933"/>
                <a:gd name="connsiteY72" fmla="*/ 173937 h 606016"/>
                <a:gd name="connsiteX73" fmla="*/ 126232 w 606933"/>
                <a:gd name="connsiteY73" fmla="*/ 178830 h 606016"/>
                <a:gd name="connsiteX74" fmla="*/ 73388 w 606933"/>
                <a:gd name="connsiteY74" fmla="*/ 126039 h 606016"/>
                <a:gd name="connsiteX75" fmla="*/ 126232 w 606933"/>
                <a:gd name="connsiteY75" fmla="*/ 73247 h 606016"/>
                <a:gd name="connsiteX76" fmla="*/ 303420 w 606933"/>
                <a:gd name="connsiteY76" fmla="*/ 0 h 606016"/>
                <a:gd name="connsiteX77" fmla="*/ 356356 w 606933"/>
                <a:gd name="connsiteY77" fmla="*/ 52775 h 606016"/>
                <a:gd name="connsiteX78" fmla="*/ 321693 w 606933"/>
                <a:gd name="connsiteY78" fmla="*/ 102352 h 606016"/>
                <a:gd name="connsiteX79" fmla="*/ 321693 w 606933"/>
                <a:gd name="connsiteY79" fmla="*/ 162089 h 606016"/>
                <a:gd name="connsiteX80" fmla="*/ 303420 w 606933"/>
                <a:gd name="connsiteY80" fmla="*/ 160960 h 606016"/>
                <a:gd name="connsiteX81" fmla="*/ 285241 w 606933"/>
                <a:gd name="connsiteY81" fmla="*/ 162089 h 606016"/>
                <a:gd name="connsiteX82" fmla="*/ 285241 w 606933"/>
                <a:gd name="connsiteY82" fmla="*/ 102352 h 606016"/>
                <a:gd name="connsiteX83" fmla="*/ 250578 w 606933"/>
                <a:gd name="connsiteY83" fmla="*/ 52775 h 606016"/>
                <a:gd name="connsiteX84" fmla="*/ 303420 w 606933"/>
                <a:gd name="connsiteY84" fmla="*/ 0 h 60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606933" h="606016">
                  <a:moveTo>
                    <a:pt x="285241" y="444068"/>
                  </a:moveTo>
                  <a:cubicBezTo>
                    <a:pt x="291175" y="444820"/>
                    <a:pt x="297297" y="445197"/>
                    <a:pt x="303420" y="445197"/>
                  </a:cubicBezTo>
                  <a:cubicBezTo>
                    <a:pt x="309637" y="445197"/>
                    <a:pt x="315665" y="444820"/>
                    <a:pt x="321693" y="444068"/>
                  </a:cubicBezTo>
                  <a:lnTo>
                    <a:pt x="321693" y="466921"/>
                  </a:lnTo>
                  <a:lnTo>
                    <a:pt x="321693" y="503693"/>
                  </a:lnTo>
                  <a:cubicBezTo>
                    <a:pt x="341850" y="511029"/>
                    <a:pt x="356356" y="530497"/>
                    <a:pt x="356356" y="553162"/>
                  </a:cubicBezTo>
                  <a:cubicBezTo>
                    <a:pt x="356356" y="582410"/>
                    <a:pt x="332620" y="606016"/>
                    <a:pt x="303420" y="606016"/>
                  </a:cubicBezTo>
                  <a:cubicBezTo>
                    <a:pt x="274220" y="606016"/>
                    <a:pt x="250578" y="582316"/>
                    <a:pt x="250578" y="553162"/>
                  </a:cubicBezTo>
                  <a:cubicBezTo>
                    <a:pt x="250578" y="530497"/>
                    <a:pt x="264989" y="511029"/>
                    <a:pt x="285241" y="503693"/>
                  </a:cubicBezTo>
                  <a:lnTo>
                    <a:pt x="285241" y="466921"/>
                  </a:lnTo>
                  <a:close/>
                  <a:moveTo>
                    <a:pt x="416083" y="389803"/>
                  </a:moveTo>
                  <a:lnTo>
                    <a:pt x="458471" y="432034"/>
                  </a:lnTo>
                  <a:cubicBezTo>
                    <a:pt x="465253" y="428931"/>
                    <a:pt x="472789" y="427143"/>
                    <a:pt x="480701" y="427143"/>
                  </a:cubicBezTo>
                  <a:cubicBezTo>
                    <a:pt x="509808" y="427143"/>
                    <a:pt x="533451" y="450752"/>
                    <a:pt x="533545" y="480003"/>
                  </a:cubicBezTo>
                  <a:cubicBezTo>
                    <a:pt x="533545" y="509161"/>
                    <a:pt x="509808" y="532769"/>
                    <a:pt x="480701" y="532769"/>
                  </a:cubicBezTo>
                  <a:cubicBezTo>
                    <a:pt x="451407" y="532769"/>
                    <a:pt x="427764" y="509067"/>
                    <a:pt x="427764" y="480003"/>
                  </a:cubicBezTo>
                  <a:cubicBezTo>
                    <a:pt x="427764" y="471914"/>
                    <a:pt x="429553" y="464578"/>
                    <a:pt x="432662" y="457806"/>
                  </a:cubicBezTo>
                  <a:lnTo>
                    <a:pt x="390368" y="415480"/>
                  </a:lnTo>
                  <a:cubicBezTo>
                    <a:pt x="400070" y="408144"/>
                    <a:pt x="408736" y="399491"/>
                    <a:pt x="416083" y="389803"/>
                  </a:cubicBezTo>
                  <a:close/>
                  <a:moveTo>
                    <a:pt x="190658" y="389803"/>
                  </a:moveTo>
                  <a:cubicBezTo>
                    <a:pt x="198194" y="399491"/>
                    <a:pt x="206862" y="408144"/>
                    <a:pt x="216283" y="415480"/>
                  </a:cubicBezTo>
                  <a:lnTo>
                    <a:pt x="174076" y="457806"/>
                  </a:lnTo>
                  <a:cubicBezTo>
                    <a:pt x="177185" y="464578"/>
                    <a:pt x="178975" y="472103"/>
                    <a:pt x="178975" y="480003"/>
                  </a:cubicBezTo>
                  <a:cubicBezTo>
                    <a:pt x="178975" y="509161"/>
                    <a:pt x="155234" y="532769"/>
                    <a:pt x="126123" y="532769"/>
                  </a:cubicBezTo>
                  <a:cubicBezTo>
                    <a:pt x="96823" y="532769"/>
                    <a:pt x="73176" y="509161"/>
                    <a:pt x="73176" y="480003"/>
                  </a:cubicBezTo>
                  <a:cubicBezTo>
                    <a:pt x="73176" y="450752"/>
                    <a:pt x="96917" y="427143"/>
                    <a:pt x="126123" y="427143"/>
                  </a:cubicBezTo>
                  <a:cubicBezTo>
                    <a:pt x="134131" y="427143"/>
                    <a:pt x="141573" y="428931"/>
                    <a:pt x="148357" y="432034"/>
                  </a:cubicBezTo>
                  <a:close/>
                  <a:moveTo>
                    <a:pt x="52836" y="253330"/>
                  </a:moveTo>
                  <a:cubicBezTo>
                    <a:pt x="75628" y="253330"/>
                    <a:pt x="95030" y="267628"/>
                    <a:pt x="102470" y="287852"/>
                  </a:cubicBezTo>
                  <a:lnTo>
                    <a:pt x="161711" y="287852"/>
                  </a:lnTo>
                  <a:cubicBezTo>
                    <a:pt x="161240" y="292838"/>
                    <a:pt x="160958" y="297917"/>
                    <a:pt x="160958" y="302997"/>
                  </a:cubicBezTo>
                  <a:cubicBezTo>
                    <a:pt x="160958" y="310334"/>
                    <a:pt x="161617" y="317483"/>
                    <a:pt x="162653" y="324350"/>
                  </a:cubicBezTo>
                  <a:lnTo>
                    <a:pt x="102470" y="324350"/>
                  </a:lnTo>
                  <a:cubicBezTo>
                    <a:pt x="95030" y="344386"/>
                    <a:pt x="75628" y="358872"/>
                    <a:pt x="52836" y="358966"/>
                  </a:cubicBezTo>
                  <a:cubicBezTo>
                    <a:pt x="23640" y="358966"/>
                    <a:pt x="0" y="335355"/>
                    <a:pt x="0" y="306195"/>
                  </a:cubicBezTo>
                  <a:cubicBezTo>
                    <a:pt x="0" y="276941"/>
                    <a:pt x="23734" y="253330"/>
                    <a:pt x="52836" y="253330"/>
                  </a:cubicBezTo>
                  <a:close/>
                  <a:moveTo>
                    <a:pt x="553987" y="250225"/>
                  </a:moveTo>
                  <a:cubicBezTo>
                    <a:pt x="583192" y="250225"/>
                    <a:pt x="606933" y="273930"/>
                    <a:pt x="606933" y="302996"/>
                  </a:cubicBezTo>
                  <a:cubicBezTo>
                    <a:pt x="606933" y="332250"/>
                    <a:pt x="583192" y="355861"/>
                    <a:pt x="553987" y="355861"/>
                  </a:cubicBezTo>
                  <a:cubicBezTo>
                    <a:pt x="532413" y="355861"/>
                    <a:pt x="513854" y="342880"/>
                    <a:pt x="505658" y="324349"/>
                  </a:cubicBezTo>
                  <a:lnTo>
                    <a:pt x="444139" y="324349"/>
                  </a:lnTo>
                  <a:cubicBezTo>
                    <a:pt x="445270" y="317294"/>
                    <a:pt x="445741" y="310333"/>
                    <a:pt x="445741" y="302996"/>
                  </a:cubicBezTo>
                  <a:cubicBezTo>
                    <a:pt x="445741" y="297916"/>
                    <a:pt x="445458" y="292837"/>
                    <a:pt x="444987" y="287851"/>
                  </a:cubicBezTo>
                  <a:lnTo>
                    <a:pt x="503397" y="287851"/>
                  </a:lnTo>
                  <a:cubicBezTo>
                    <a:pt x="509897" y="266028"/>
                    <a:pt x="530152" y="250225"/>
                    <a:pt x="553987" y="250225"/>
                  </a:cubicBezTo>
                  <a:close/>
                  <a:moveTo>
                    <a:pt x="303361" y="231794"/>
                  </a:moveTo>
                  <a:cubicBezTo>
                    <a:pt x="264078" y="231794"/>
                    <a:pt x="232049" y="263774"/>
                    <a:pt x="232049" y="302996"/>
                  </a:cubicBezTo>
                  <a:cubicBezTo>
                    <a:pt x="232049" y="312402"/>
                    <a:pt x="239679" y="320115"/>
                    <a:pt x="249099" y="320115"/>
                  </a:cubicBezTo>
                  <a:cubicBezTo>
                    <a:pt x="258520" y="320115"/>
                    <a:pt x="266150" y="312402"/>
                    <a:pt x="266150" y="302996"/>
                  </a:cubicBezTo>
                  <a:cubicBezTo>
                    <a:pt x="266150" y="282492"/>
                    <a:pt x="282919" y="265749"/>
                    <a:pt x="303455" y="265749"/>
                  </a:cubicBezTo>
                  <a:cubicBezTo>
                    <a:pt x="312875" y="265749"/>
                    <a:pt x="320600" y="258225"/>
                    <a:pt x="320412" y="248819"/>
                  </a:cubicBezTo>
                  <a:cubicBezTo>
                    <a:pt x="320412" y="239413"/>
                    <a:pt x="312781" y="231794"/>
                    <a:pt x="303361" y="231794"/>
                  </a:cubicBezTo>
                  <a:close/>
                  <a:moveTo>
                    <a:pt x="303455" y="188904"/>
                  </a:moveTo>
                  <a:cubicBezTo>
                    <a:pt x="366665" y="188904"/>
                    <a:pt x="417818" y="239978"/>
                    <a:pt x="417818" y="302996"/>
                  </a:cubicBezTo>
                  <a:cubicBezTo>
                    <a:pt x="417818" y="366109"/>
                    <a:pt x="366665" y="417183"/>
                    <a:pt x="303455" y="417183"/>
                  </a:cubicBezTo>
                  <a:cubicBezTo>
                    <a:pt x="240339" y="417183"/>
                    <a:pt x="189186" y="366109"/>
                    <a:pt x="189186" y="302996"/>
                  </a:cubicBezTo>
                  <a:cubicBezTo>
                    <a:pt x="189186" y="239978"/>
                    <a:pt x="240339" y="188904"/>
                    <a:pt x="303455" y="188904"/>
                  </a:cubicBezTo>
                  <a:close/>
                  <a:moveTo>
                    <a:pt x="480677" y="73506"/>
                  </a:moveTo>
                  <a:cubicBezTo>
                    <a:pt x="494184" y="73506"/>
                    <a:pt x="507702" y="78634"/>
                    <a:pt x="518018" y="88889"/>
                  </a:cubicBezTo>
                  <a:cubicBezTo>
                    <a:pt x="538555" y="109494"/>
                    <a:pt x="538555" y="142895"/>
                    <a:pt x="518018" y="163406"/>
                  </a:cubicBezTo>
                  <a:cubicBezTo>
                    <a:pt x="501909" y="179495"/>
                    <a:pt x="478074" y="182976"/>
                    <a:pt x="458574" y="173944"/>
                  </a:cubicBezTo>
                  <a:lnTo>
                    <a:pt x="416275" y="216283"/>
                  </a:lnTo>
                  <a:cubicBezTo>
                    <a:pt x="408738" y="206592"/>
                    <a:pt x="400071" y="197936"/>
                    <a:pt x="390368" y="190503"/>
                  </a:cubicBezTo>
                  <a:lnTo>
                    <a:pt x="405818" y="175073"/>
                  </a:lnTo>
                  <a:lnTo>
                    <a:pt x="432855" y="148258"/>
                  </a:lnTo>
                  <a:cubicBezTo>
                    <a:pt x="423811" y="128782"/>
                    <a:pt x="427297" y="104978"/>
                    <a:pt x="443406" y="88889"/>
                  </a:cubicBezTo>
                  <a:cubicBezTo>
                    <a:pt x="453674" y="78634"/>
                    <a:pt x="467170" y="73506"/>
                    <a:pt x="480677" y="73506"/>
                  </a:cubicBezTo>
                  <a:close/>
                  <a:moveTo>
                    <a:pt x="126232" y="73247"/>
                  </a:moveTo>
                  <a:cubicBezTo>
                    <a:pt x="155526" y="73247"/>
                    <a:pt x="179075" y="96961"/>
                    <a:pt x="179075" y="126039"/>
                  </a:cubicBezTo>
                  <a:cubicBezTo>
                    <a:pt x="179075" y="134037"/>
                    <a:pt x="177380" y="141471"/>
                    <a:pt x="174177" y="148247"/>
                  </a:cubicBezTo>
                  <a:lnTo>
                    <a:pt x="216565" y="190499"/>
                  </a:lnTo>
                  <a:cubicBezTo>
                    <a:pt x="206863" y="197933"/>
                    <a:pt x="198197" y="206590"/>
                    <a:pt x="190755" y="216283"/>
                  </a:cubicBezTo>
                  <a:lnTo>
                    <a:pt x="148462" y="173937"/>
                  </a:lnTo>
                  <a:cubicBezTo>
                    <a:pt x="141680" y="177136"/>
                    <a:pt x="134144" y="178830"/>
                    <a:pt x="126232" y="178830"/>
                  </a:cubicBezTo>
                  <a:cubicBezTo>
                    <a:pt x="97125" y="178830"/>
                    <a:pt x="73482" y="155304"/>
                    <a:pt x="73388" y="126039"/>
                  </a:cubicBezTo>
                  <a:cubicBezTo>
                    <a:pt x="73388" y="96773"/>
                    <a:pt x="97125" y="73247"/>
                    <a:pt x="126232" y="73247"/>
                  </a:cubicBezTo>
                  <a:close/>
                  <a:moveTo>
                    <a:pt x="303420" y="0"/>
                  </a:moveTo>
                  <a:cubicBezTo>
                    <a:pt x="332714" y="0"/>
                    <a:pt x="356356" y="23707"/>
                    <a:pt x="356356" y="52775"/>
                  </a:cubicBezTo>
                  <a:cubicBezTo>
                    <a:pt x="356356" y="75541"/>
                    <a:pt x="341850" y="94920"/>
                    <a:pt x="321693" y="102352"/>
                  </a:cubicBezTo>
                  <a:lnTo>
                    <a:pt x="321693" y="162089"/>
                  </a:lnTo>
                  <a:cubicBezTo>
                    <a:pt x="315759" y="161336"/>
                    <a:pt x="309637" y="160960"/>
                    <a:pt x="303420" y="160960"/>
                  </a:cubicBezTo>
                  <a:cubicBezTo>
                    <a:pt x="297297" y="160960"/>
                    <a:pt x="291269" y="161336"/>
                    <a:pt x="285241" y="162089"/>
                  </a:cubicBezTo>
                  <a:lnTo>
                    <a:pt x="285241" y="102352"/>
                  </a:lnTo>
                  <a:cubicBezTo>
                    <a:pt x="264989" y="94920"/>
                    <a:pt x="250578" y="75541"/>
                    <a:pt x="250578" y="52775"/>
                  </a:cubicBezTo>
                  <a:cubicBezTo>
                    <a:pt x="250578" y="23613"/>
                    <a:pt x="274314" y="0"/>
                    <a:pt x="303420" y="0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46800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在家中怎样预防新型冠状病毒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8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73100" y="1496057"/>
            <a:ext cx="10851778" cy="4170686"/>
            <a:chOff x="673100" y="1496057"/>
            <a:chExt cx="10851778" cy="4170686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C4DEE7B5-B7D3-4B78-9276-2925B217FCF7}"/>
                </a:ext>
              </a:extLst>
            </p:cNvPr>
            <p:cNvSpPr/>
            <p:nvPr/>
          </p:nvSpPr>
          <p:spPr bwMode="auto">
            <a:xfrm>
              <a:off x="4163215" y="1627796"/>
              <a:ext cx="3865570" cy="390720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80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lnTo>
                    <a:pt x="0" y="0"/>
                  </a:lnTo>
                  <a:cubicBezTo>
                    <a:pt x="3599" y="0"/>
                    <a:pt x="7199" y="0"/>
                    <a:pt x="10800" y="0"/>
                  </a:cubicBezTo>
                </a:path>
              </a:pathLst>
            </a:custGeom>
            <a:pattFill prst="dk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 w="317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sz="2800" i="1">
                  <a:cs typeface="+mn-ea"/>
                  <a:sym typeface="+mn-lt"/>
                </a:rPr>
                <a:t>T</a:t>
              </a:r>
              <a:r>
                <a:rPr lang="en-US" sz="100" i="1">
                  <a:cs typeface="+mn-ea"/>
                  <a:sym typeface="+mn-lt"/>
                </a:rPr>
                <a:t> </a:t>
              </a:r>
              <a:r>
                <a:rPr lang="en-US" sz="2800" i="1">
                  <a:cs typeface="+mn-ea"/>
                  <a:sym typeface="+mn-lt"/>
                </a:rPr>
                <a:t>ext</a:t>
              </a:r>
              <a:endParaRPr sz="2800" i="1" dirty="0">
                <a:cs typeface="+mn-ea"/>
                <a:sym typeface="+mn-lt"/>
              </a:endParaRPr>
            </a:p>
          </p:txBody>
        </p: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DD39268D-D6BE-421F-AC41-86E2221AB814}"/>
                </a:ext>
              </a:extLst>
            </p:cNvPr>
            <p:cNvGrpSpPr/>
            <p:nvPr/>
          </p:nvGrpSpPr>
          <p:grpSpPr>
            <a:xfrm>
              <a:off x="7653125" y="1873914"/>
              <a:ext cx="3871753" cy="1346196"/>
              <a:chOff x="7653125" y="1541855"/>
              <a:chExt cx="3871753" cy="1346196"/>
            </a:xfrm>
          </p:grpSpPr>
          <p:grpSp>
            <p:nvGrpSpPr>
              <p:cNvPr id="30" name="组合 29">
                <a:extLst>
                  <a:ext uri="{FF2B5EF4-FFF2-40B4-BE49-F238E27FC236}">
                    <a16:creationId xmlns:a16="http://schemas.microsoft.com/office/drawing/2014/main" id="{945F3C59-4C88-45D0-834E-63DD2BF94C39}"/>
                  </a:ext>
                </a:extLst>
              </p:cNvPr>
              <p:cNvGrpSpPr/>
              <p:nvPr/>
            </p:nvGrpSpPr>
            <p:grpSpPr>
              <a:xfrm>
                <a:off x="7653125" y="1830688"/>
                <a:ext cx="779671" cy="779669"/>
                <a:chOff x="7653125" y="1830688"/>
                <a:chExt cx="779671" cy="779669"/>
              </a:xfrm>
            </p:grpSpPr>
            <p:sp>
              <p:nvSpPr>
                <p:cNvPr id="33" name="任意多边形: 形状 32">
                  <a:extLst>
                    <a:ext uri="{FF2B5EF4-FFF2-40B4-BE49-F238E27FC236}">
                      <a16:creationId xmlns:a16="http://schemas.microsoft.com/office/drawing/2014/main" id="{9F844233-C122-4912-B453-A2ED236B2275}"/>
                    </a:ext>
                  </a:extLst>
                </p:cNvPr>
                <p:cNvSpPr/>
                <p:nvPr/>
              </p:nvSpPr>
              <p:spPr bwMode="auto">
                <a:xfrm flipH="1">
                  <a:off x="7653125" y="1830688"/>
                  <a:ext cx="779671" cy="779669"/>
                </a:xfrm>
                <a:custGeom>
                  <a:avLst/>
                  <a:gdLst>
                    <a:gd name="T0" fmla="+- 0 10800 961"/>
                    <a:gd name="T1" fmla="*/ T0 w 19679"/>
                    <a:gd name="T2" fmla="+- 0 10800 961"/>
                    <a:gd name="T3" fmla="*/ 10800 h 19679"/>
                    <a:gd name="T4" fmla="+- 0 10800 961"/>
                    <a:gd name="T5" fmla="*/ T4 w 19679"/>
                    <a:gd name="T6" fmla="+- 0 10800 961"/>
                    <a:gd name="T7" fmla="*/ 10800 h 19679"/>
                    <a:gd name="T8" fmla="+- 0 10800 961"/>
                    <a:gd name="T9" fmla="*/ T8 w 19679"/>
                    <a:gd name="T10" fmla="+- 0 10800 961"/>
                    <a:gd name="T11" fmla="*/ 10800 h 19679"/>
                    <a:gd name="T12" fmla="+- 0 10800 961"/>
                    <a:gd name="T13" fmla="*/ T12 w 19679"/>
                    <a:gd name="T14" fmla="+- 0 10800 961"/>
                    <a:gd name="T15" fmla="*/ 10800 h 19679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</a:cxnLst>
                  <a:rect l="0" t="0" r="r" b="b"/>
                  <a:pathLst>
                    <a:path w="19679" h="19679">
                      <a:moveTo>
                        <a:pt x="16796" y="2881"/>
                      </a:moveTo>
                      <a:cubicBezTo>
                        <a:pt x="20638" y="6724"/>
                        <a:pt x="20638" y="12953"/>
                        <a:pt x="16796" y="16796"/>
                      </a:cubicBezTo>
                      <a:cubicBezTo>
                        <a:pt x="12953" y="20638"/>
                        <a:pt x="6724" y="20638"/>
                        <a:pt x="2881" y="16796"/>
                      </a:cubicBezTo>
                      <a:cubicBezTo>
                        <a:pt x="-961" y="12953"/>
                        <a:pt x="-961" y="6724"/>
                        <a:pt x="2881" y="2881"/>
                      </a:cubicBezTo>
                      <a:cubicBezTo>
                        <a:pt x="6724" y="-961"/>
                        <a:pt x="12953" y="-961"/>
                        <a:pt x="16796" y="288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57150">
                  <a:solidFill>
                    <a:schemeClr val="bg1"/>
                  </a:solidFill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4" name="任意多边形: 形状 33">
                  <a:extLst>
                    <a:ext uri="{FF2B5EF4-FFF2-40B4-BE49-F238E27FC236}">
                      <a16:creationId xmlns:a16="http://schemas.microsoft.com/office/drawing/2014/main" id="{8FDF85AD-B087-4815-B404-A01733DBB786}"/>
                    </a:ext>
                  </a:extLst>
                </p:cNvPr>
                <p:cNvSpPr/>
                <p:nvPr/>
              </p:nvSpPr>
              <p:spPr bwMode="auto">
                <a:xfrm>
                  <a:off x="7909176" y="2081423"/>
                  <a:ext cx="278200" cy="278200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12277" y="9428"/>
                      </a:moveTo>
                      <a:lnTo>
                        <a:pt x="12277" y="0"/>
                      </a:lnTo>
                      <a:cubicBezTo>
                        <a:pt x="17448" y="0"/>
                        <a:pt x="21600" y="4151"/>
                        <a:pt x="21600" y="9322"/>
                      </a:cubicBezTo>
                      <a:cubicBezTo>
                        <a:pt x="21600" y="9357"/>
                        <a:pt x="21600" y="9392"/>
                        <a:pt x="21600" y="9428"/>
                      </a:cubicBezTo>
                      <a:cubicBezTo>
                        <a:pt x="21600" y="9428"/>
                        <a:pt x="12277" y="9428"/>
                        <a:pt x="12277" y="9428"/>
                      </a:cubicBezTo>
                      <a:close/>
                      <a:moveTo>
                        <a:pt x="18680" y="12383"/>
                      </a:moveTo>
                      <a:cubicBezTo>
                        <a:pt x="18680" y="12312"/>
                        <a:pt x="18680" y="12277"/>
                        <a:pt x="18680" y="12277"/>
                      </a:cubicBezTo>
                      <a:cubicBezTo>
                        <a:pt x="18680" y="17448"/>
                        <a:pt x="14493" y="21600"/>
                        <a:pt x="9322" y="21600"/>
                      </a:cubicBezTo>
                      <a:cubicBezTo>
                        <a:pt x="4151" y="21600"/>
                        <a:pt x="0" y="17448"/>
                        <a:pt x="0" y="12277"/>
                      </a:cubicBezTo>
                      <a:cubicBezTo>
                        <a:pt x="0" y="7106"/>
                        <a:pt x="4151" y="2919"/>
                        <a:pt x="9322" y="2919"/>
                      </a:cubicBezTo>
                      <a:lnTo>
                        <a:pt x="9322" y="12383"/>
                      </a:lnTo>
                      <a:cubicBezTo>
                        <a:pt x="9322" y="12383"/>
                        <a:pt x="18680" y="12383"/>
                        <a:pt x="18680" y="1238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31" name="矩形 30">
                <a:extLst>
                  <a:ext uri="{FF2B5EF4-FFF2-40B4-BE49-F238E27FC236}">
                    <a16:creationId xmlns:a16="http://schemas.microsoft.com/office/drawing/2014/main" id="{E4A91C73-1604-4B01-8728-6E899BAA5864}"/>
                  </a:ext>
                </a:extLst>
              </p:cNvPr>
              <p:cNvSpPr/>
              <p:nvPr/>
            </p:nvSpPr>
            <p:spPr bwMode="auto">
              <a:xfrm>
                <a:off x="8585199" y="1983661"/>
                <a:ext cx="2939679" cy="9043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</a:t>
                </a:r>
                <a:r>
                  <a:rPr lang="en-US" altLang="zh-CN" sz="1100">
                    <a:cs typeface="+mn-ea"/>
                    <a:sym typeface="+mn-lt"/>
                  </a:rPr>
                  <a:t>paste fon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ts</a:t>
                </a:r>
                <a:r>
                  <a:rPr lang="en-US" altLang="zh-CN" sz="1100" dirty="0">
                    <a:cs typeface="+mn-ea"/>
                    <a:sym typeface="+mn-lt"/>
                  </a:rPr>
                  <a:t>. Choose the only option to retain 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32" name="文本框 31">
                <a:extLst>
                  <a:ext uri="{FF2B5EF4-FFF2-40B4-BE49-F238E27FC236}">
                    <a16:creationId xmlns:a16="http://schemas.microsoft.com/office/drawing/2014/main" id="{A68AADD2-592A-4430-9323-A4A063F55D6E}"/>
                  </a:ext>
                </a:extLst>
              </p:cNvPr>
              <p:cNvSpPr txBox="1"/>
              <p:nvPr/>
            </p:nvSpPr>
            <p:spPr bwMode="auto">
              <a:xfrm>
                <a:off x="8585199" y="1541855"/>
                <a:ext cx="2939679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>
                    <a:cs typeface="+mn-ea"/>
                    <a:sym typeface="+mn-lt"/>
                  </a:rPr>
                  <a:t>Te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cs typeface="+mn-ea"/>
                    <a:sym typeface="+mn-lt"/>
                  </a:rPr>
                  <a:t>xt </a:t>
                </a:r>
                <a:r>
                  <a:rPr lang="en-US" altLang="zh-CN" b="1" dirty="0">
                    <a:cs typeface="+mn-ea"/>
                    <a:sym typeface="+mn-lt"/>
                  </a:rPr>
                  <a:t>here</a:t>
                </a:r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03012AA2-A813-4FC9-9CE1-6B302EA221C8}"/>
                </a:ext>
              </a:extLst>
            </p:cNvPr>
            <p:cNvGrpSpPr/>
            <p:nvPr/>
          </p:nvGrpSpPr>
          <p:grpSpPr>
            <a:xfrm>
              <a:off x="673100" y="1873914"/>
              <a:ext cx="3865775" cy="1346196"/>
              <a:chOff x="673100" y="1541855"/>
              <a:chExt cx="3865775" cy="1346196"/>
            </a:xfrm>
          </p:grpSpPr>
          <p:grpSp>
            <p:nvGrpSpPr>
              <p:cNvPr id="25" name="组合 24">
                <a:extLst>
                  <a:ext uri="{FF2B5EF4-FFF2-40B4-BE49-F238E27FC236}">
                    <a16:creationId xmlns:a16="http://schemas.microsoft.com/office/drawing/2014/main" id="{023960F2-84E1-4AD9-BEF1-0134B4283070}"/>
                  </a:ext>
                </a:extLst>
              </p:cNvPr>
              <p:cNvGrpSpPr/>
              <p:nvPr/>
            </p:nvGrpSpPr>
            <p:grpSpPr>
              <a:xfrm>
                <a:off x="3759204" y="1830688"/>
                <a:ext cx="779671" cy="779669"/>
                <a:chOff x="3759204" y="1830688"/>
                <a:chExt cx="779671" cy="779669"/>
              </a:xfrm>
            </p:grpSpPr>
            <p:sp>
              <p:nvSpPr>
                <p:cNvPr id="28" name="任意多边形: 形状 27">
                  <a:extLst>
                    <a:ext uri="{FF2B5EF4-FFF2-40B4-BE49-F238E27FC236}">
                      <a16:creationId xmlns:a16="http://schemas.microsoft.com/office/drawing/2014/main" id="{1C3B51D6-6B16-41CB-ACD9-FED92C38CB00}"/>
                    </a:ext>
                  </a:extLst>
                </p:cNvPr>
                <p:cNvSpPr/>
                <p:nvPr/>
              </p:nvSpPr>
              <p:spPr bwMode="auto">
                <a:xfrm>
                  <a:off x="3759204" y="1830688"/>
                  <a:ext cx="779671" cy="779669"/>
                </a:xfrm>
                <a:custGeom>
                  <a:avLst/>
                  <a:gdLst>
                    <a:gd name="T0" fmla="+- 0 10800 961"/>
                    <a:gd name="T1" fmla="*/ T0 w 19679"/>
                    <a:gd name="T2" fmla="+- 0 10800 961"/>
                    <a:gd name="T3" fmla="*/ 10800 h 19679"/>
                    <a:gd name="T4" fmla="+- 0 10800 961"/>
                    <a:gd name="T5" fmla="*/ T4 w 19679"/>
                    <a:gd name="T6" fmla="+- 0 10800 961"/>
                    <a:gd name="T7" fmla="*/ 10800 h 19679"/>
                    <a:gd name="T8" fmla="+- 0 10800 961"/>
                    <a:gd name="T9" fmla="*/ T8 w 19679"/>
                    <a:gd name="T10" fmla="+- 0 10800 961"/>
                    <a:gd name="T11" fmla="*/ 10800 h 19679"/>
                    <a:gd name="T12" fmla="+- 0 10800 961"/>
                    <a:gd name="T13" fmla="*/ T12 w 19679"/>
                    <a:gd name="T14" fmla="+- 0 10800 961"/>
                    <a:gd name="T15" fmla="*/ 10800 h 19679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</a:cxnLst>
                  <a:rect l="0" t="0" r="r" b="b"/>
                  <a:pathLst>
                    <a:path w="19679" h="19679">
                      <a:moveTo>
                        <a:pt x="16796" y="2881"/>
                      </a:moveTo>
                      <a:cubicBezTo>
                        <a:pt x="20638" y="6724"/>
                        <a:pt x="20638" y="12953"/>
                        <a:pt x="16796" y="16796"/>
                      </a:cubicBezTo>
                      <a:cubicBezTo>
                        <a:pt x="12953" y="20638"/>
                        <a:pt x="6724" y="20638"/>
                        <a:pt x="2881" y="16796"/>
                      </a:cubicBezTo>
                      <a:cubicBezTo>
                        <a:pt x="-961" y="12953"/>
                        <a:pt x="-961" y="6724"/>
                        <a:pt x="2881" y="2881"/>
                      </a:cubicBezTo>
                      <a:cubicBezTo>
                        <a:pt x="6724" y="-961"/>
                        <a:pt x="12953" y="-961"/>
                        <a:pt x="16796" y="288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57150">
                  <a:solidFill>
                    <a:schemeClr val="bg1"/>
                  </a:solidFill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29" name="任意多边形: 形状 28">
                  <a:extLst>
                    <a:ext uri="{FF2B5EF4-FFF2-40B4-BE49-F238E27FC236}">
                      <a16:creationId xmlns:a16="http://schemas.microsoft.com/office/drawing/2014/main" id="{C4522186-447F-4C30-A420-9D9F8408009D}"/>
                    </a:ext>
                  </a:extLst>
                </p:cNvPr>
                <p:cNvSpPr/>
                <p:nvPr/>
              </p:nvSpPr>
              <p:spPr bwMode="auto">
                <a:xfrm>
                  <a:off x="4020571" y="2085853"/>
                  <a:ext cx="246305" cy="270226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21600" y="21600"/>
                      </a:moveTo>
                      <a:lnTo>
                        <a:pt x="15882" y="21600"/>
                      </a:lnTo>
                      <a:lnTo>
                        <a:pt x="15882" y="0"/>
                      </a:lnTo>
                      <a:lnTo>
                        <a:pt x="21600" y="0"/>
                      </a:lnTo>
                      <a:cubicBezTo>
                        <a:pt x="21600" y="0"/>
                        <a:pt x="21600" y="21600"/>
                        <a:pt x="21600" y="21600"/>
                      </a:cubicBezTo>
                      <a:close/>
                      <a:moveTo>
                        <a:pt x="13658" y="21600"/>
                      </a:moveTo>
                      <a:lnTo>
                        <a:pt x="7941" y="21600"/>
                      </a:lnTo>
                      <a:lnTo>
                        <a:pt x="7941" y="9983"/>
                      </a:lnTo>
                      <a:lnTo>
                        <a:pt x="13658" y="9983"/>
                      </a:lnTo>
                      <a:cubicBezTo>
                        <a:pt x="13658" y="9983"/>
                        <a:pt x="13658" y="21600"/>
                        <a:pt x="13658" y="21600"/>
                      </a:cubicBezTo>
                      <a:close/>
                      <a:moveTo>
                        <a:pt x="5717" y="21600"/>
                      </a:moveTo>
                      <a:lnTo>
                        <a:pt x="0" y="21600"/>
                      </a:lnTo>
                      <a:lnTo>
                        <a:pt x="0" y="5989"/>
                      </a:lnTo>
                      <a:lnTo>
                        <a:pt x="5717" y="5989"/>
                      </a:lnTo>
                      <a:cubicBezTo>
                        <a:pt x="5717" y="5989"/>
                        <a:pt x="5717" y="21600"/>
                        <a:pt x="5717" y="2160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26" name="矩形 25">
                <a:extLst>
                  <a:ext uri="{FF2B5EF4-FFF2-40B4-BE49-F238E27FC236}">
                    <a16:creationId xmlns:a16="http://schemas.microsoft.com/office/drawing/2014/main" id="{DA36A495-CEF9-441C-8AD3-990783832F5B}"/>
                  </a:ext>
                </a:extLst>
              </p:cNvPr>
              <p:cNvSpPr/>
              <p:nvPr/>
            </p:nvSpPr>
            <p:spPr bwMode="auto">
              <a:xfrm>
                <a:off x="673100" y="1983661"/>
                <a:ext cx="2939679" cy="9043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</a:t>
                </a:r>
                <a:r>
                  <a:rPr lang="en-US" altLang="zh-CN" sz="1100">
                    <a:cs typeface="+mn-ea"/>
                    <a:sym typeface="+mn-lt"/>
                  </a:rPr>
                  <a:t>paste fon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ts</a:t>
                </a:r>
                <a:r>
                  <a:rPr lang="en-US" altLang="zh-CN" sz="1100" dirty="0">
                    <a:cs typeface="+mn-ea"/>
                    <a:sym typeface="+mn-lt"/>
                  </a:rPr>
                  <a:t>. Choose the only option to retain text.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7F18D395-4AC7-426E-897E-25C60C1406CB}"/>
                  </a:ext>
                </a:extLst>
              </p:cNvPr>
              <p:cNvSpPr txBox="1"/>
              <p:nvPr/>
            </p:nvSpPr>
            <p:spPr bwMode="auto">
              <a:xfrm>
                <a:off x="673100" y="1541855"/>
                <a:ext cx="2939679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>
                    <a:cs typeface="+mn-ea"/>
                    <a:sym typeface="+mn-lt"/>
                  </a:rPr>
                  <a:t>Te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cs typeface="+mn-ea"/>
                    <a:sym typeface="+mn-lt"/>
                  </a:rPr>
                  <a:t>xt </a:t>
                </a:r>
                <a:r>
                  <a:rPr lang="en-US" altLang="zh-CN" b="1" dirty="0">
                    <a:cs typeface="+mn-ea"/>
                    <a:sym typeface="+mn-lt"/>
                  </a:rPr>
                  <a:t>here</a:t>
                </a: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AA705DEE-FFF1-4158-8415-9050744DDD90}"/>
                </a:ext>
              </a:extLst>
            </p:cNvPr>
            <p:cNvGrpSpPr/>
            <p:nvPr/>
          </p:nvGrpSpPr>
          <p:grpSpPr>
            <a:xfrm>
              <a:off x="7653125" y="3942691"/>
              <a:ext cx="3871753" cy="1346196"/>
              <a:chOff x="7653125" y="4409551"/>
              <a:chExt cx="3871753" cy="1346196"/>
            </a:xfrm>
          </p:grpSpPr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5C357E8D-C6A7-4848-A684-6359C67C888C}"/>
                  </a:ext>
                </a:extLst>
              </p:cNvPr>
              <p:cNvGrpSpPr/>
              <p:nvPr/>
            </p:nvGrpSpPr>
            <p:grpSpPr>
              <a:xfrm>
                <a:off x="7653125" y="4540039"/>
                <a:ext cx="779671" cy="779669"/>
                <a:chOff x="7653125" y="4540039"/>
                <a:chExt cx="779671" cy="779669"/>
              </a:xfrm>
            </p:grpSpPr>
            <p:sp>
              <p:nvSpPr>
                <p:cNvPr id="23" name="任意多边形: 形状 22">
                  <a:extLst>
                    <a:ext uri="{FF2B5EF4-FFF2-40B4-BE49-F238E27FC236}">
                      <a16:creationId xmlns:a16="http://schemas.microsoft.com/office/drawing/2014/main" id="{2721A403-55FE-4B95-8DB6-4BFC1B305D37}"/>
                    </a:ext>
                  </a:extLst>
                </p:cNvPr>
                <p:cNvSpPr/>
                <p:nvPr/>
              </p:nvSpPr>
              <p:spPr bwMode="auto">
                <a:xfrm flipH="1">
                  <a:off x="7653125" y="4540039"/>
                  <a:ext cx="779671" cy="779669"/>
                </a:xfrm>
                <a:custGeom>
                  <a:avLst/>
                  <a:gdLst>
                    <a:gd name="T0" fmla="+- 0 10800 961"/>
                    <a:gd name="T1" fmla="*/ T0 w 19679"/>
                    <a:gd name="T2" fmla="+- 0 10800 961"/>
                    <a:gd name="T3" fmla="*/ 10800 h 19679"/>
                    <a:gd name="T4" fmla="+- 0 10800 961"/>
                    <a:gd name="T5" fmla="*/ T4 w 19679"/>
                    <a:gd name="T6" fmla="+- 0 10800 961"/>
                    <a:gd name="T7" fmla="*/ 10800 h 19679"/>
                    <a:gd name="T8" fmla="+- 0 10800 961"/>
                    <a:gd name="T9" fmla="*/ T8 w 19679"/>
                    <a:gd name="T10" fmla="+- 0 10800 961"/>
                    <a:gd name="T11" fmla="*/ 10800 h 19679"/>
                    <a:gd name="T12" fmla="+- 0 10800 961"/>
                    <a:gd name="T13" fmla="*/ T12 w 19679"/>
                    <a:gd name="T14" fmla="+- 0 10800 961"/>
                    <a:gd name="T15" fmla="*/ 10800 h 19679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</a:cxnLst>
                  <a:rect l="0" t="0" r="r" b="b"/>
                  <a:pathLst>
                    <a:path w="19679" h="19679">
                      <a:moveTo>
                        <a:pt x="16796" y="2881"/>
                      </a:moveTo>
                      <a:cubicBezTo>
                        <a:pt x="20638" y="6724"/>
                        <a:pt x="20638" y="12953"/>
                        <a:pt x="16796" y="16796"/>
                      </a:cubicBezTo>
                      <a:cubicBezTo>
                        <a:pt x="12953" y="20638"/>
                        <a:pt x="6724" y="20638"/>
                        <a:pt x="2881" y="16796"/>
                      </a:cubicBezTo>
                      <a:cubicBezTo>
                        <a:pt x="-961" y="12953"/>
                        <a:pt x="-961" y="6724"/>
                        <a:pt x="2881" y="2881"/>
                      </a:cubicBezTo>
                      <a:cubicBezTo>
                        <a:pt x="6724" y="-961"/>
                        <a:pt x="12953" y="-961"/>
                        <a:pt x="16796" y="288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57150">
                  <a:solidFill>
                    <a:schemeClr val="bg1"/>
                  </a:solidFill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24" name="任意多边形: 形状 23">
                  <a:extLst>
                    <a:ext uri="{FF2B5EF4-FFF2-40B4-BE49-F238E27FC236}">
                      <a16:creationId xmlns:a16="http://schemas.microsoft.com/office/drawing/2014/main" id="{1A0CE65E-A5CF-4902-AA9A-24B4CEAE94A6}"/>
                    </a:ext>
                  </a:extLst>
                </p:cNvPr>
                <p:cNvSpPr/>
                <p:nvPr/>
              </p:nvSpPr>
              <p:spPr bwMode="auto">
                <a:xfrm>
                  <a:off x="7891457" y="4820011"/>
                  <a:ext cx="313640" cy="219725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21600" y="2303"/>
                      </a:moveTo>
                      <a:lnTo>
                        <a:pt x="21600" y="19991"/>
                      </a:lnTo>
                      <a:lnTo>
                        <a:pt x="15324" y="10736"/>
                      </a:lnTo>
                      <a:cubicBezTo>
                        <a:pt x="15324" y="10736"/>
                        <a:pt x="21600" y="2303"/>
                        <a:pt x="21600" y="2303"/>
                      </a:cubicBezTo>
                      <a:close/>
                      <a:moveTo>
                        <a:pt x="20046" y="0"/>
                      </a:moveTo>
                      <a:lnTo>
                        <a:pt x="10784" y="12560"/>
                      </a:lnTo>
                      <a:lnTo>
                        <a:pt x="1523" y="0"/>
                      </a:lnTo>
                      <a:cubicBezTo>
                        <a:pt x="1523" y="0"/>
                        <a:pt x="20046" y="0"/>
                        <a:pt x="20046" y="0"/>
                      </a:cubicBezTo>
                      <a:close/>
                      <a:moveTo>
                        <a:pt x="20412" y="21599"/>
                      </a:moveTo>
                      <a:lnTo>
                        <a:pt x="1188" y="21599"/>
                      </a:lnTo>
                      <a:lnTo>
                        <a:pt x="7494" y="12430"/>
                      </a:lnTo>
                      <a:lnTo>
                        <a:pt x="10784" y="16862"/>
                      </a:lnTo>
                      <a:lnTo>
                        <a:pt x="14136" y="12342"/>
                      </a:lnTo>
                      <a:cubicBezTo>
                        <a:pt x="14136" y="12342"/>
                        <a:pt x="20412" y="21599"/>
                        <a:pt x="20412" y="21599"/>
                      </a:cubicBezTo>
                      <a:close/>
                      <a:moveTo>
                        <a:pt x="0" y="2303"/>
                      </a:moveTo>
                      <a:lnTo>
                        <a:pt x="6306" y="10778"/>
                      </a:lnTo>
                      <a:lnTo>
                        <a:pt x="0" y="19991"/>
                      </a:lnTo>
                      <a:cubicBezTo>
                        <a:pt x="0" y="19991"/>
                        <a:pt x="0" y="2303"/>
                        <a:pt x="0" y="230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 fontScale="5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7D7AF400-D16A-4A54-8243-6B55A809A1DC}"/>
                  </a:ext>
                </a:extLst>
              </p:cNvPr>
              <p:cNvSpPr/>
              <p:nvPr/>
            </p:nvSpPr>
            <p:spPr bwMode="auto">
              <a:xfrm>
                <a:off x="8585199" y="4851357"/>
                <a:ext cx="2939679" cy="9043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</a:t>
                </a:r>
                <a:r>
                  <a:rPr lang="en-US" altLang="zh-CN" sz="1100">
                    <a:cs typeface="+mn-ea"/>
                    <a:sym typeface="+mn-lt"/>
                  </a:rPr>
                  <a:t>paste fon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ts</a:t>
                </a:r>
                <a:r>
                  <a:rPr lang="en-US" altLang="zh-CN" sz="1100" dirty="0">
                    <a:cs typeface="+mn-ea"/>
                    <a:sym typeface="+mn-lt"/>
                  </a:rPr>
                  <a:t>. Choose the only option to retain 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5FC67E34-4EE1-4BB8-862B-18C05F2D9DB6}"/>
                  </a:ext>
                </a:extLst>
              </p:cNvPr>
              <p:cNvSpPr txBox="1"/>
              <p:nvPr/>
            </p:nvSpPr>
            <p:spPr bwMode="auto">
              <a:xfrm>
                <a:off x="8585199" y="4409551"/>
                <a:ext cx="2939679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>
                    <a:cs typeface="+mn-ea"/>
                    <a:sym typeface="+mn-lt"/>
                  </a:rPr>
                  <a:t>Te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cs typeface="+mn-ea"/>
                    <a:sym typeface="+mn-lt"/>
                  </a:rPr>
                  <a:t>xt </a:t>
                </a:r>
                <a:r>
                  <a:rPr lang="en-US" altLang="zh-CN" b="1" dirty="0">
                    <a:cs typeface="+mn-ea"/>
                    <a:sym typeface="+mn-lt"/>
                  </a:rPr>
                  <a:t>here</a:t>
                </a: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D10536FB-3D81-4725-B19D-F8523B0FFA57}"/>
                </a:ext>
              </a:extLst>
            </p:cNvPr>
            <p:cNvGrpSpPr/>
            <p:nvPr/>
          </p:nvGrpSpPr>
          <p:grpSpPr>
            <a:xfrm>
              <a:off x="673100" y="3942691"/>
              <a:ext cx="3865775" cy="1346196"/>
              <a:chOff x="673100" y="4409551"/>
              <a:chExt cx="3865775" cy="1346196"/>
            </a:xfrm>
          </p:grpSpPr>
          <p:grpSp>
            <p:nvGrpSpPr>
              <p:cNvPr id="15" name="组合 14">
                <a:extLst>
                  <a:ext uri="{FF2B5EF4-FFF2-40B4-BE49-F238E27FC236}">
                    <a16:creationId xmlns:a16="http://schemas.microsoft.com/office/drawing/2014/main" id="{B4589030-C237-4BE6-9E7E-38A29F53AFDA}"/>
                  </a:ext>
                </a:extLst>
              </p:cNvPr>
              <p:cNvGrpSpPr/>
              <p:nvPr/>
            </p:nvGrpSpPr>
            <p:grpSpPr>
              <a:xfrm>
                <a:off x="3759204" y="4540039"/>
                <a:ext cx="779671" cy="779669"/>
                <a:chOff x="3759204" y="4540039"/>
                <a:chExt cx="779671" cy="779669"/>
              </a:xfrm>
            </p:grpSpPr>
            <p:sp>
              <p:nvSpPr>
                <p:cNvPr id="18" name="任意多边形: 形状 17">
                  <a:extLst>
                    <a:ext uri="{FF2B5EF4-FFF2-40B4-BE49-F238E27FC236}">
                      <a16:creationId xmlns:a16="http://schemas.microsoft.com/office/drawing/2014/main" id="{B945DC12-2DAD-4B27-B5C7-992B649295A6}"/>
                    </a:ext>
                  </a:extLst>
                </p:cNvPr>
                <p:cNvSpPr/>
                <p:nvPr/>
              </p:nvSpPr>
              <p:spPr bwMode="auto">
                <a:xfrm>
                  <a:off x="3759204" y="4540039"/>
                  <a:ext cx="779671" cy="779669"/>
                </a:xfrm>
                <a:custGeom>
                  <a:avLst/>
                  <a:gdLst>
                    <a:gd name="T0" fmla="+- 0 10800 961"/>
                    <a:gd name="T1" fmla="*/ T0 w 19679"/>
                    <a:gd name="T2" fmla="+- 0 10800 961"/>
                    <a:gd name="T3" fmla="*/ 10800 h 19679"/>
                    <a:gd name="T4" fmla="+- 0 10800 961"/>
                    <a:gd name="T5" fmla="*/ T4 w 19679"/>
                    <a:gd name="T6" fmla="+- 0 10800 961"/>
                    <a:gd name="T7" fmla="*/ 10800 h 19679"/>
                    <a:gd name="T8" fmla="+- 0 10800 961"/>
                    <a:gd name="T9" fmla="*/ T8 w 19679"/>
                    <a:gd name="T10" fmla="+- 0 10800 961"/>
                    <a:gd name="T11" fmla="*/ 10800 h 19679"/>
                    <a:gd name="T12" fmla="+- 0 10800 961"/>
                    <a:gd name="T13" fmla="*/ T12 w 19679"/>
                    <a:gd name="T14" fmla="+- 0 10800 961"/>
                    <a:gd name="T15" fmla="*/ 10800 h 19679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</a:cxnLst>
                  <a:rect l="0" t="0" r="r" b="b"/>
                  <a:pathLst>
                    <a:path w="19679" h="19679">
                      <a:moveTo>
                        <a:pt x="16796" y="2881"/>
                      </a:moveTo>
                      <a:cubicBezTo>
                        <a:pt x="20638" y="6724"/>
                        <a:pt x="20638" y="12953"/>
                        <a:pt x="16796" y="16796"/>
                      </a:cubicBezTo>
                      <a:cubicBezTo>
                        <a:pt x="12953" y="20638"/>
                        <a:pt x="6724" y="20638"/>
                        <a:pt x="2881" y="16796"/>
                      </a:cubicBezTo>
                      <a:cubicBezTo>
                        <a:pt x="-961" y="12953"/>
                        <a:pt x="-961" y="6724"/>
                        <a:pt x="2881" y="2881"/>
                      </a:cubicBezTo>
                      <a:cubicBezTo>
                        <a:pt x="6724" y="-961"/>
                        <a:pt x="12953" y="-961"/>
                        <a:pt x="16796" y="288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57150">
                  <a:solidFill>
                    <a:schemeClr val="bg1"/>
                  </a:solidFill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19" name="任意多边形: 形状 18">
                  <a:extLst>
                    <a:ext uri="{FF2B5EF4-FFF2-40B4-BE49-F238E27FC236}">
                      <a16:creationId xmlns:a16="http://schemas.microsoft.com/office/drawing/2014/main" id="{5A54573D-C9A8-4D6F-9D65-F421881CCEF3}"/>
                    </a:ext>
                  </a:extLst>
                </p:cNvPr>
                <p:cNvSpPr/>
                <p:nvPr/>
              </p:nvSpPr>
              <p:spPr bwMode="auto">
                <a:xfrm>
                  <a:off x="3986904" y="4783686"/>
                  <a:ext cx="313640" cy="291490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19188" y="12491"/>
                      </a:moveTo>
                      <a:lnTo>
                        <a:pt x="19188" y="9719"/>
                      </a:lnTo>
                      <a:lnTo>
                        <a:pt x="16141" y="9719"/>
                      </a:lnTo>
                      <a:lnTo>
                        <a:pt x="16141" y="12491"/>
                      </a:lnTo>
                      <a:cubicBezTo>
                        <a:pt x="16141" y="12491"/>
                        <a:pt x="19188" y="12491"/>
                        <a:pt x="19188" y="12491"/>
                      </a:cubicBezTo>
                      <a:close/>
                      <a:moveTo>
                        <a:pt x="19188" y="6551"/>
                      </a:moveTo>
                      <a:lnTo>
                        <a:pt x="16141" y="6299"/>
                      </a:lnTo>
                      <a:lnTo>
                        <a:pt x="16141" y="8891"/>
                      </a:lnTo>
                      <a:lnTo>
                        <a:pt x="19188" y="8891"/>
                      </a:lnTo>
                      <a:cubicBezTo>
                        <a:pt x="19188" y="8891"/>
                        <a:pt x="19188" y="6551"/>
                        <a:pt x="19188" y="6551"/>
                      </a:cubicBezTo>
                      <a:close/>
                      <a:moveTo>
                        <a:pt x="18217" y="16775"/>
                      </a:moveTo>
                      <a:cubicBezTo>
                        <a:pt x="17011" y="16775"/>
                        <a:pt x="16007" y="17855"/>
                        <a:pt x="16007" y="19188"/>
                      </a:cubicBezTo>
                      <a:cubicBezTo>
                        <a:pt x="16007" y="20519"/>
                        <a:pt x="17011" y="21599"/>
                        <a:pt x="18217" y="21599"/>
                      </a:cubicBezTo>
                      <a:cubicBezTo>
                        <a:pt x="19456" y="21599"/>
                        <a:pt x="20460" y="20519"/>
                        <a:pt x="20460" y="19188"/>
                      </a:cubicBezTo>
                      <a:cubicBezTo>
                        <a:pt x="20427" y="17855"/>
                        <a:pt x="19456" y="16775"/>
                        <a:pt x="18217" y="16775"/>
                      </a:cubicBezTo>
                      <a:close/>
                      <a:moveTo>
                        <a:pt x="11720" y="9719"/>
                      </a:moveTo>
                      <a:lnTo>
                        <a:pt x="11720" y="12491"/>
                      </a:lnTo>
                      <a:lnTo>
                        <a:pt x="15069" y="12491"/>
                      </a:lnTo>
                      <a:lnTo>
                        <a:pt x="15069" y="9719"/>
                      </a:lnTo>
                      <a:cubicBezTo>
                        <a:pt x="15069" y="9719"/>
                        <a:pt x="11720" y="9719"/>
                        <a:pt x="11720" y="9719"/>
                      </a:cubicBezTo>
                      <a:close/>
                      <a:moveTo>
                        <a:pt x="15069" y="8891"/>
                      </a:moveTo>
                      <a:lnTo>
                        <a:pt x="15069" y="6228"/>
                      </a:lnTo>
                      <a:lnTo>
                        <a:pt x="11720" y="5975"/>
                      </a:lnTo>
                      <a:lnTo>
                        <a:pt x="11720" y="8891"/>
                      </a:lnTo>
                      <a:cubicBezTo>
                        <a:pt x="11720" y="8891"/>
                        <a:pt x="15069" y="8891"/>
                        <a:pt x="15069" y="8891"/>
                      </a:cubicBezTo>
                      <a:close/>
                      <a:moveTo>
                        <a:pt x="8438" y="12491"/>
                      </a:moveTo>
                      <a:lnTo>
                        <a:pt x="10649" y="12491"/>
                      </a:lnTo>
                      <a:lnTo>
                        <a:pt x="10649" y="9719"/>
                      </a:lnTo>
                      <a:lnTo>
                        <a:pt x="7635" y="9719"/>
                      </a:lnTo>
                      <a:cubicBezTo>
                        <a:pt x="7635" y="9719"/>
                        <a:pt x="8438" y="12491"/>
                        <a:pt x="8438" y="12491"/>
                      </a:cubicBezTo>
                      <a:close/>
                      <a:moveTo>
                        <a:pt x="6362" y="5616"/>
                      </a:moveTo>
                      <a:lnTo>
                        <a:pt x="7367" y="8891"/>
                      </a:lnTo>
                      <a:lnTo>
                        <a:pt x="10649" y="8891"/>
                      </a:lnTo>
                      <a:lnTo>
                        <a:pt x="10649" y="5904"/>
                      </a:lnTo>
                      <a:cubicBezTo>
                        <a:pt x="10649" y="5904"/>
                        <a:pt x="6362" y="5616"/>
                        <a:pt x="6362" y="5616"/>
                      </a:cubicBezTo>
                      <a:close/>
                      <a:moveTo>
                        <a:pt x="7367" y="16775"/>
                      </a:moveTo>
                      <a:cubicBezTo>
                        <a:pt x="6127" y="16775"/>
                        <a:pt x="5124" y="17855"/>
                        <a:pt x="5124" y="19188"/>
                      </a:cubicBezTo>
                      <a:cubicBezTo>
                        <a:pt x="5124" y="20519"/>
                        <a:pt x="6127" y="21599"/>
                        <a:pt x="7367" y="21599"/>
                      </a:cubicBezTo>
                      <a:cubicBezTo>
                        <a:pt x="8606" y="21599"/>
                        <a:pt x="9610" y="20519"/>
                        <a:pt x="9610" y="19188"/>
                      </a:cubicBezTo>
                      <a:cubicBezTo>
                        <a:pt x="9610" y="17855"/>
                        <a:pt x="8606" y="16775"/>
                        <a:pt x="7367" y="16775"/>
                      </a:cubicBezTo>
                      <a:close/>
                      <a:moveTo>
                        <a:pt x="21599" y="5508"/>
                      </a:moveTo>
                      <a:lnTo>
                        <a:pt x="21599" y="13607"/>
                      </a:lnTo>
                      <a:cubicBezTo>
                        <a:pt x="21599" y="14436"/>
                        <a:pt x="20996" y="15083"/>
                        <a:pt x="20226" y="15083"/>
                      </a:cubicBezTo>
                      <a:lnTo>
                        <a:pt x="7434" y="15083"/>
                      </a:lnTo>
                      <a:cubicBezTo>
                        <a:pt x="6797" y="15083"/>
                        <a:pt x="6228" y="14543"/>
                        <a:pt x="6127" y="13860"/>
                      </a:cubicBezTo>
                      <a:lnTo>
                        <a:pt x="3750" y="4715"/>
                      </a:lnTo>
                      <a:cubicBezTo>
                        <a:pt x="3750" y="4715"/>
                        <a:pt x="3348" y="3060"/>
                        <a:pt x="2645" y="2843"/>
                      </a:cubicBezTo>
                      <a:cubicBezTo>
                        <a:pt x="1540" y="2519"/>
                        <a:pt x="0" y="3168"/>
                        <a:pt x="0" y="1259"/>
                      </a:cubicBezTo>
                      <a:cubicBezTo>
                        <a:pt x="0" y="36"/>
                        <a:pt x="1037" y="36"/>
                        <a:pt x="1037" y="36"/>
                      </a:cubicBezTo>
                      <a:cubicBezTo>
                        <a:pt x="1071" y="36"/>
                        <a:pt x="1272" y="0"/>
                        <a:pt x="1540" y="0"/>
                      </a:cubicBezTo>
                      <a:cubicBezTo>
                        <a:pt x="3147" y="0"/>
                        <a:pt x="5056" y="647"/>
                        <a:pt x="5793" y="2951"/>
                      </a:cubicBezTo>
                      <a:lnTo>
                        <a:pt x="20293" y="4068"/>
                      </a:lnTo>
                      <a:cubicBezTo>
                        <a:pt x="21030" y="4103"/>
                        <a:pt x="21599" y="4715"/>
                        <a:pt x="21599" y="550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16" name="矩形 15">
                <a:extLst>
                  <a:ext uri="{FF2B5EF4-FFF2-40B4-BE49-F238E27FC236}">
                    <a16:creationId xmlns:a16="http://schemas.microsoft.com/office/drawing/2014/main" id="{217FEAEB-63DE-4449-8AAE-3F24883A39B5}"/>
                  </a:ext>
                </a:extLst>
              </p:cNvPr>
              <p:cNvSpPr/>
              <p:nvPr/>
            </p:nvSpPr>
            <p:spPr bwMode="auto">
              <a:xfrm>
                <a:off x="673100" y="4851357"/>
                <a:ext cx="2939679" cy="9043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</a:t>
                </a:r>
                <a:r>
                  <a:rPr lang="en-US" altLang="zh-CN" sz="1100">
                    <a:cs typeface="+mn-ea"/>
                    <a:sym typeface="+mn-lt"/>
                  </a:rPr>
                  <a:t>paste fon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ts</a:t>
                </a:r>
                <a:r>
                  <a:rPr lang="en-US" altLang="zh-CN" sz="1100" dirty="0">
                    <a:cs typeface="+mn-ea"/>
                    <a:sym typeface="+mn-lt"/>
                  </a:rPr>
                  <a:t>. Choose the only option to retain text.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84E21356-9EDD-4973-B3DA-B52F1637288E}"/>
                  </a:ext>
                </a:extLst>
              </p:cNvPr>
              <p:cNvSpPr txBox="1"/>
              <p:nvPr/>
            </p:nvSpPr>
            <p:spPr bwMode="auto">
              <a:xfrm>
                <a:off x="673100" y="4409551"/>
                <a:ext cx="2939679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>
                    <a:cs typeface="+mn-ea"/>
                    <a:sym typeface="+mn-lt"/>
                  </a:rPr>
                  <a:t>Te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cs typeface="+mn-ea"/>
                    <a:sym typeface="+mn-lt"/>
                  </a:rPr>
                  <a:t>xt </a:t>
                </a:r>
                <a:r>
                  <a:rPr lang="en-US" altLang="zh-CN" b="1" dirty="0">
                    <a:cs typeface="+mn-ea"/>
                    <a:sym typeface="+mn-lt"/>
                  </a:rPr>
                  <a:t>here</a:t>
                </a:r>
              </a:p>
            </p:txBody>
          </p:sp>
        </p:grpSp>
        <p:sp>
          <p:nvSpPr>
            <p:cNvPr id="11" name="箭头: V 形 10">
              <a:extLst>
                <a:ext uri="{FF2B5EF4-FFF2-40B4-BE49-F238E27FC236}">
                  <a16:creationId xmlns:a16="http://schemas.microsoft.com/office/drawing/2014/main" id="{B3D7BBED-BE23-48A9-9D8B-528346BCB675}"/>
                </a:ext>
              </a:extLst>
            </p:cNvPr>
            <p:cNvSpPr/>
            <p:nvPr/>
          </p:nvSpPr>
          <p:spPr>
            <a:xfrm>
              <a:off x="5981700" y="1496057"/>
              <a:ext cx="266700" cy="266700"/>
            </a:xfrm>
            <a:prstGeom prst="chevron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2" name="箭头: V 形 11">
              <a:extLst>
                <a:ext uri="{FF2B5EF4-FFF2-40B4-BE49-F238E27FC236}">
                  <a16:creationId xmlns:a16="http://schemas.microsoft.com/office/drawing/2014/main" id="{16C480F7-E5DC-4180-B6F0-A63C0E9DB650}"/>
                </a:ext>
              </a:extLst>
            </p:cNvPr>
            <p:cNvSpPr/>
            <p:nvPr/>
          </p:nvSpPr>
          <p:spPr>
            <a:xfrm flipH="1">
              <a:off x="5981700" y="5400043"/>
              <a:ext cx="266700" cy="266700"/>
            </a:xfrm>
            <a:prstGeom prst="chevron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3" name="箭头: V 形 12">
              <a:extLst>
                <a:ext uri="{FF2B5EF4-FFF2-40B4-BE49-F238E27FC236}">
                  <a16:creationId xmlns:a16="http://schemas.microsoft.com/office/drawing/2014/main" id="{DA5BB813-9808-469C-9BD1-7BBE7C1B2B99}"/>
                </a:ext>
              </a:extLst>
            </p:cNvPr>
            <p:cNvSpPr/>
            <p:nvPr/>
          </p:nvSpPr>
          <p:spPr>
            <a:xfrm rot="5400000">
              <a:off x="7900590" y="3448050"/>
              <a:ext cx="266700" cy="266700"/>
            </a:xfrm>
            <a:prstGeom prst="chevron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4" name="箭头: V 形 13">
              <a:extLst>
                <a:ext uri="{FF2B5EF4-FFF2-40B4-BE49-F238E27FC236}">
                  <a16:creationId xmlns:a16="http://schemas.microsoft.com/office/drawing/2014/main" id="{25B0D42F-B669-4D7D-BEDD-C31E518CBA8A}"/>
                </a:ext>
              </a:extLst>
            </p:cNvPr>
            <p:cNvSpPr/>
            <p:nvPr/>
          </p:nvSpPr>
          <p:spPr>
            <a:xfrm rot="16200000" flipV="1">
              <a:off x="4021144" y="3448050"/>
              <a:ext cx="266700" cy="266700"/>
            </a:xfrm>
            <a:prstGeom prst="chevron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25392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512149" y="2951599"/>
            <a:ext cx="6553955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新型冠状病毒感染的肺炎流行期间的饮食卫生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653575" y="23868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03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490544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0c465f44-ac6e-42a8-93c1-ad6c8d51a448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3B5FDE"/>
      </a:accent1>
      <a:accent2>
        <a:srgbClr val="FAA900"/>
      </a:accent2>
      <a:accent3>
        <a:srgbClr val="A4BF4B"/>
      </a:accent3>
      <a:accent4>
        <a:srgbClr val="ED5151"/>
      </a:accent4>
      <a:accent5>
        <a:srgbClr val="CCBFA3"/>
      </a:accent5>
      <a:accent6>
        <a:srgbClr val="C9C9C9"/>
      </a:accent6>
      <a:hlink>
        <a:srgbClr val="3B5FDE"/>
      </a:hlink>
      <a:folHlink>
        <a:srgbClr val="BFBFBF"/>
      </a:folHlink>
    </a:clrScheme>
    <a:fontScheme name="pm3vh35r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3B5FDE"/>
    </a:accent1>
    <a:accent2>
      <a:srgbClr val="FAA900"/>
    </a:accent2>
    <a:accent3>
      <a:srgbClr val="A4BF4B"/>
    </a:accent3>
    <a:accent4>
      <a:srgbClr val="ED5151"/>
    </a:accent4>
    <a:accent5>
      <a:srgbClr val="CCBFA3"/>
    </a:accent5>
    <a:accent6>
      <a:srgbClr val="C9C9C9"/>
    </a:accent6>
    <a:hlink>
      <a:srgbClr val="3B5FDE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3B5FDE"/>
    </a:accent1>
    <a:accent2>
      <a:srgbClr val="FAA900"/>
    </a:accent2>
    <a:accent3>
      <a:srgbClr val="A4BF4B"/>
    </a:accent3>
    <a:accent4>
      <a:srgbClr val="ED5151"/>
    </a:accent4>
    <a:accent5>
      <a:srgbClr val="CCBFA3"/>
    </a:accent5>
    <a:accent6>
      <a:srgbClr val="C9C9C9"/>
    </a:accent6>
    <a:hlink>
      <a:srgbClr val="3B5FDE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3B5FDE"/>
    </a:accent1>
    <a:accent2>
      <a:srgbClr val="FAA900"/>
    </a:accent2>
    <a:accent3>
      <a:srgbClr val="A4BF4B"/>
    </a:accent3>
    <a:accent4>
      <a:srgbClr val="ED5151"/>
    </a:accent4>
    <a:accent5>
      <a:srgbClr val="CCBFA3"/>
    </a:accent5>
    <a:accent6>
      <a:srgbClr val="C9C9C9"/>
    </a:accent6>
    <a:hlink>
      <a:srgbClr val="3B5FDE"/>
    </a:hlink>
    <a:folHlink>
      <a:srgbClr val="BFBFBF"/>
    </a:folHlink>
  </a:clrScheme>
</a:themeOverrid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va</Template>
  <TotalTime>1</TotalTime>
  <Words>1225</Words>
  <Application>Microsoft Office PowerPoint</Application>
  <PresentationFormat>宽屏</PresentationFormat>
  <Paragraphs>223</Paragraphs>
  <Slides>1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3" baseType="lpstr">
      <vt:lpstr>等线</vt:lpstr>
      <vt:lpstr>Arial</vt:lpstr>
      <vt:lpstr>Calibri</vt:lpstr>
      <vt:lpstr>主题5</vt:lpstr>
      <vt:lpstr>think-cell Slide</vt:lpstr>
      <vt:lpstr>新型冠状病毒 个人及居家防护知识</vt:lpstr>
      <vt:lpstr>PowerPoint 演示文稿</vt:lpstr>
      <vt:lpstr>口罩的正确使用</vt:lpstr>
      <vt:lpstr>口罩的正确使用</vt:lpstr>
      <vt:lpstr>口罩的正确使用</vt:lpstr>
      <vt:lpstr>在家中怎样预防新型冠状病毒</vt:lpstr>
      <vt:lpstr>在家中怎样预防新型冠状病毒</vt:lpstr>
      <vt:lpstr>在家中怎样预防新型冠状病毒</vt:lpstr>
      <vt:lpstr>新型冠状病毒感染的肺炎流行期间的饮食卫生</vt:lpstr>
      <vt:lpstr>新型冠状病毒感染的肺炎流行期间的饮食卫生</vt:lpstr>
      <vt:lpstr>新型冠状病毒感染的肺炎流行期间的饮食卫生</vt:lpstr>
      <vt:lpstr>前往公共场所应该怎样预防</vt:lpstr>
      <vt:lpstr>前往公共场所应该怎样预防</vt:lpstr>
      <vt:lpstr>前往公共场所应该怎样预防</vt:lpstr>
      <vt:lpstr>轻症发热病例的居家隔离建议</vt:lpstr>
      <vt:lpstr>轻症发热病例的居家隔离建议</vt:lpstr>
      <vt:lpstr>轻症发热病例的居家隔离建议</vt:lpstr>
      <vt:lpstr>Thanks And Your 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va</dc:creator>
  <cp:lastModifiedBy>Soleil Yi</cp:lastModifiedBy>
  <cp:revision>2</cp:revision>
  <cp:lastPrinted>2020-02-10T16:00:00Z</cp:lastPrinted>
  <dcterms:created xsi:type="dcterms:W3CDTF">2020-02-10T16:00:00Z</dcterms:created>
  <dcterms:modified xsi:type="dcterms:W3CDTF">2022-09-14T00:49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